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
  </p:sldMasterIdLst>
  <p:notesMasterIdLst>
    <p:notesMasterId r:id="rId20"/>
  </p:notesMasterIdLst>
  <p:handoutMasterIdLst>
    <p:handoutMasterId r:id="rId21"/>
  </p:handoutMasterIdLst>
  <p:sldIdLst>
    <p:sldId id="947" r:id="rId2"/>
    <p:sldId id="1038" r:id="rId3"/>
    <p:sldId id="1053" r:id="rId4"/>
    <p:sldId id="1055" r:id="rId5"/>
    <p:sldId id="996" r:id="rId6"/>
    <p:sldId id="979" r:id="rId7"/>
    <p:sldId id="1058" r:id="rId8"/>
    <p:sldId id="1017" r:id="rId9"/>
    <p:sldId id="1027" r:id="rId10"/>
    <p:sldId id="983" r:id="rId11"/>
    <p:sldId id="1022" r:id="rId12"/>
    <p:sldId id="1032" r:id="rId13"/>
    <p:sldId id="990" r:id="rId14"/>
    <p:sldId id="998" r:id="rId15"/>
    <p:sldId id="1059" r:id="rId16"/>
    <p:sldId id="1060" r:id="rId17"/>
    <p:sldId id="1033" r:id="rId18"/>
    <p:sldId id="972" r:id="rId19"/>
  </p:sldIdLst>
  <p:sldSz cx="12198350" cy="6858000"/>
  <p:notesSz cx="7099300" cy="10234613"/>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7D7CD"/>
    <a:srgbClr val="879BAA"/>
    <a:srgbClr val="ADBECB"/>
    <a:srgbClr val="233746"/>
    <a:srgbClr val="AFB9C3"/>
    <a:srgbClr val="646E78"/>
    <a:srgbClr val="505A64"/>
    <a:srgbClr val="990000"/>
    <a:srgbClr val="0064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2" autoAdjust="0"/>
    <p:restoredTop sz="89876" autoAdjust="0"/>
  </p:normalViewPr>
  <p:slideViewPr>
    <p:cSldViewPr snapToObjects="1" showGuides="1">
      <p:cViewPr>
        <p:scale>
          <a:sx n="66" d="100"/>
          <a:sy n="66" d="100"/>
        </p:scale>
        <p:origin x="-912" y="-102"/>
      </p:cViewPr>
      <p:guideLst>
        <p:guide orient="horz" pos="3884"/>
        <p:guide orient="horz" pos="3521"/>
        <p:guide orient="horz" pos="2432"/>
        <p:guide orient="horz" pos="2341"/>
        <p:guide orient="horz" pos="890"/>
        <p:guide orient="horz" pos="799"/>
        <p:guide pos="395"/>
        <p:guide pos="213"/>
        <p:guide pos="3842"/>
        <p:guide pos="3933"/>
        <p:guide pos="7380"/>
        <p:guide pos="5566"/>
        <p:guide pos="2663"/>
        <p:guide pos="2753"/>
      </p:guideLst>
    </p:cSldViewPr>
  </p:slideViewPr>
  <p:outlineViewPr>
    <p:cViewPr>
      <p:scale>
        <a:sx n="33" d="100"/>
        <a:sy n="33" d="100"/>
      </p:scale>
      <p:origin x="0" y="5826"/>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47" d="100"/>
          <a:sy n="47" d="100"/>
        </p:scale>
        <p:origin x="-2910" y="-96"/>
      </p:cViewPr>
      <p:guideLst>
        <p:guide orient="horz" pos="3224"/>
        <p:guide pos="2236"/>
      </p:guideLst>
    </p:cSldViewPr>
  </p:notesViewPr>
  <p:gridSpacing cx="144018" cy="14401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en-US"/>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smtClean="0">
                <a:latin typeface="Arial" pitchFamily="34" charset="0"/>
              </a:rPr>
              <a:t>Handout </a:t>
            </a:r>
            <a:fld id="{BFC713D8-7968-482B-A79F-9C586FE5053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38987114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smtClean="0">
                <a:latin typeface="Arial" pitchFamily="34" charset="0"/>
              </a:rPr>
              <a:t>Notice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73330115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a:t>
            </a:fld>
            <a:endParaRPr lang="en-US" dirty="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Slide Image Placeholder 1"/>
          <p:cNvSpPr>
            <a:spLocks noGrp="1" noRot="1" noChangeAspect="1" noTextEdit="1"/>
          </p:cNvSpPr>
          <p:nvPr>
            <p:ph type="sldImg"/>
          </p:nvPr>
        </p:nvSpPr>
        <p:spPr>
          <a:xfrm>
            <a:off x="138113" y="768350"/>
            <a:ext cx="6824662" cy="3836988"/>
          </a:xfrm>
          <a:ln/>
        </p:spPr>
      </p:sp>
      <p:sp>
        <p:nvSpPr>
          <p:cNvPr id="182274" name="Notes Placeholder 2"/>
          <p:cNvSpPr>
            <a:spLocks noGrp="1"/>
          </p:cNvSpPr>
          <p:nvPr>
            <p:ph type="body" idx="1"/>
          </p:nvPr>
        </p:nvSpPr>
        <p:spPr>
          <a:noFill/>
          <a:ln/>
        </p:spPr>
        <p:txBody>
          <a:bodyPr>
            <a:noAutofit/>
          </a:bodyPr>
          <a:lstStyle/>
          <a:p>
            <a:pPr eaLnBrk="1" hangingPunct="1"/>
            <a:endParaRPr lang="en-US" dirty="0" smtClean="0">
              <a:latin typeface="Arial" charset="0"/>
              <a:ea typeface="ＭＳ Ｐゴシック"/>
            </a:endParaRPr>
          </a:p>
        </p:txBody>
      </p:sp>
      <p:sp>
        <p:nvSpPr>
          <p:cNvPr id="182275" name="Slide Number Placeholder 3"/>
          <p:cNvSpPr>
            <a:spLocks noGrp="1"/>
          </p:cNvSpPr>
          <p:nvPr>
            <p:ph type="sldNum" sz="quarter" idx="5"/>
          </p:nvPr>
        </p:nvSpPr>
        <p:spPr>
          <a:noFill/>
        </p:spPr>
        <p:txBody>
          <a:bodyPr/>
          <a:lstStyle/>
          <a:p>
            <a:fld id="{F6D2D357-803B-4AF0-A934-86D9C8C291DD}" type="slidenum">
              <a:rPr lang="en-US" smtClean="0">
                <a:latin typeface="Arial" charset="0"/>
                <a:ea typeface="ＭＳ Ｐゴシック"/>
                <a:cs typeface="ＭＳ Ｐゴシック"/>
              </a:rPr>
              <a:pPr/>
              <a:t>12</a:t>
            </a:fld>
            <a:endParaRPr lang="en-US" dirty="0">
              <a:latin typeface="Arial" charset="0"/>
              <a:ea typeface="ＭＳ Ｐゴシック"/>
              <a:cs typeface="ＭＳ Ｐゴシック"/>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a:ln>
            <a:miter lim="800000"/>
            <a:headEnd/>
            <a:tailEnd/>
          </a:ln>
        </p:spPr>
        <p:txBody>
          <a:bodyPr/>
          <a:lstStyle/>
          <a:p>
            <a:fld id="{E3702125-153F-4D17-B7C1-9E2F6E6E70BF}" type="slidenum">
              <a:rPr lang="zh-CN" altLang="de-DE">
                <a:latin typeface="Arial" charset="0"/>
              </a:rPr>
              <a:pPr/>
              <a:t>13</a:t>
            </a:fld>
            <a:endParaRPr lang="de-DE" altLang="zh-CN">
              <a:latin typeface="Arial" charset="0"/>
            </a:endParaRPr>
          </a:p>
        </p:txBody>
      </p:sp>
      <p:sp>
        <p:nvSpPr>
          <p:cNvPr id="55299" name="Rectangle 7"/>
          <p:cNvSpPr txBox="1">
            <a:spLocks noGrp="1" noChangeArrowheads="1"/>
          </p:cNvSpPr>
          <p:nvPr/>
        </p:nvSpPr>
        <p:spPr bwMode="auto">
          <a:xfrm>
            <a:off x="4021141" y="9721674"/>
            <a:ext cx="3076476" cy="511327"/>
          </a:xfrm>
          <a:prstGeom prst="rect">
            <a:avLst/>
          </a:prstGeom>
          <a:noFill/>
          <a:ln w="9525">
            <a:noFill/>
            <a:miter lim="800000"/>
            <a:headEnd/>
            <a:tailEnd/>
          </a:ln>
        </p:spPr>
        <p:txBody>
          <a:bodyPr lIns="104526" tIns="52262" rIns="104526" bIns="52262" anchor="b"/>
          <a:lstStyle/>
          <a:p>
            <a:pPr algn="r" defTabSz="1045505">
              <a:spcBef>
                <a:spcPct val="0"/>
              </a:spcBef>
            </a:pPr>
            <a:fld id="{357395E4-CC7B-4E11-97E4-77A3F994C6CE}" type="slidenum">
              <a:rPr lang="en-US" sz="1400">
                <a:latin typeface="Siemens Sans" pitchFamily="2" charset="0"/>
              </a:rPr>
              <a:pPr algn="r" defTabSz="1045505">
                <a:spcBef>
                  <a:spcPct val="0"/>
                </a:spcBef>
              </a:pPr>
              <a:t>13</a:t>
            </a:fld>
            <a:endParaRPr lang="en-US" sz="1400">
              <a:latin typeface="Siemens Sans" pitchFamily="2" charset="0"/>
            </a:endParaRPr>
          </a:p>
        </p:txBody>
      </p:sp>
      <p:sp>
        <p:nvSpPr>
          <p:cNvPr id="55300" name="Rectangle 2"/>
          <p:cNvSpPr>
            <a:spLocks noGrp="1" noRot="1" noChangeAspect="1" noChangeArrowheads="1" noTextEdit="1"/>
          </p:cNvSpPr>
          <p:nvPr>
            <p:ph type="sldImg"/>
          </p:nvPr>
        </p:nvSpPr>
        <p:spPr>
          <a:xfrm>
            <a:off x="139700" y="768350"/>
            <a:ext cx="6824663" cy="3838575"/>
          </a:xfrm>
          <a:ln/>
        </p:spPr>
      </p:sp>
      <p:sp>
        <p:nvSpPr>
          <p:cNvPr id="55301" name="Rectangle 3"/>
          <p:cNvSpPr>
            <a:spLocks noGrp="1" noChangeArrowheads="1"/>
          </p:cNvSpPr>
          <p:nvPr>
            <p:ph type="body" idx="1"/>
          </p:nvPr>
        </p:nvSpPr>
        <p:spPr>
          <a:xfrm>
            <a:off x="708921" y="4858417"/>
            <a:ext cx="5681461" cy="4608399"/>
          </a:xfrm>
          <a:noFill/>
        </p:spPr>
        <p:txBody>
          <a:bodyPr lIns="104526" tIns="52262" rIns="104526" bIns="52262"/>
          <a:lstStyle/>
          <a:p>
            <a:pPr eaLnBrk="1" hangingPunct="1"/>
            <a:r>
              <a:rPr lang="en-US" altLang="zh-CN">
                <a:latin typeface="Arial" charset="0"/>
              </a:rPr>
              <a:t>Different levels of data details are needed by different applications but … </a:t>
            </a:r>
          </a:p>
          <a:p>
            <a:pPr eaLnBrk="1" hangingPunct="1"/>
            <a:r>
              <a:rPr lang="en-US" altLang="zh-CN">
                <a:latin typeface="Arial" charset="0"/>
              </a:rPr>
              <a:t>… MES &amp; PLM must exchange Master at the highest level of detail in order to enable higher benefits</a:t>
            </a:r>
          </a:p>
          <a:p>
            <a:pPr eaLnBrk="1" hangingPunct="1"/>
            <a:r>
              <a:rPr lang="en-US" altLang="zh-CN" smtClean="0">
                <a:latin typeface="Arial" charset="0"/>
              </a:rPr>
              <a:t>Our lifecycle data and process architecture is the underpinning for this integrated environment of product and production. We’ve built in data items that know how to represent the requirements, the electronics, the software but also the production processes and resources.  We want to utilize this data foundation and leverage this down into production so that we can configure a work cell, we can configure a factory so that there is a single source of information that is synchronized across the set of disciplines so that decisions are made effectively.  Having the granularity of product and production data reliably managed and available across the lifecycle is critical.</a:t>
            </a:r>
          </a:p>
          <a:p>
            <a:pPr eaLnBrk="1" hangingPunct="1"/>
            <a:r>
              <a:rPr lang="en-US" altLang="zh-CN" smtClean="0">
                <a:latin typeface="Arial" charset="0"/>
              </a:rPr>
              <a:t>As we continue to extend the richness of the data model we will be able to make the detailed product and production data available to support the needs of a broader set of enterprise applications.  This will extend the value of both the upstream and downstream functions as they will benefit from a greater level of data granularity relative to the product and production environment.  And our open data model allows for the free flow of information back and forth across these other enterprise applications.</a:t>
            </a:r>
          </a:p>
          <a:p>
            <a:pPr eaLnBrk="1" hangingPunct="1"/>
            <a:endParaRPr lang="en-US" altLang="zh-CN">
              <a:latin typeface="Arial" charset="0"/>
            </a:endParaRPr>
          </a:p>
          <a:p>
            <a:pPr eaLnBrk="1" hangingPunct="1"/>
            <a:endParaRPr lang="en-US" altLang="zh-CN"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4662" cy="3836988"/>
          </a:xfrm>
        </p:spPr>
      </p:sp>
      <p:sp>
        <p:nvSpPr>
          <p:cNvPr id="3" name="Notizenplatzhalter 2"/>
          <p:cNvSpPr>
            <a:spLocks noGrp="1"/>
          </p:cNvSpPr>
          <p:nvPr>
            <p:ph type="body" idx="1"/>
          </p:nvPr>
        </p:nvSpPr>
        <p:spPr>
          <a:xfrm>
            <a:off x="770598" y="5557524"/>
            <a:ext cx="5617252" cy="2955503"/>
          </a:xfrm>
        </p:spPr>
        <p:txBody>
          <a:bodyPr>
            <a:noAutofit/>
          </a:bodyPr>
          <a:lstStyle/>
          <a:p>
            <a:r>
              <a:rPr lang="en-US" b="1" dirty="0" smtClean="0"/>
              <a:t>By simply focusing on the automation of manufacturing processes, it is not possible to meet all the requirements of the evolving Internet economy.  A holistic approach stretching over the complete value- added chain, and of course including suppliers, is necessary.</a:t>
            </a:r>
          </a:p>
          <a:p>
            <a:endParaRPr lang="en-US" b="1" dirty="0" smtClean="0"/>
          </a:p>
          <a:p>
            <a:r>
              <a:rPr lang="en-US" b="1" dirty="0" smtClean="0"/>
              <a:t>The manufacturing industry has definitely entered the stage where the automation of their complete workflows is the only way to ensure a long-term defendable competitive position. </a:t>
            </a:r>
          </a:p>
          <a:p>
            <a:endParaRPr lang="en-US" b="1" dirty="0" smtClean="0"/>
          </a:p>
          <a:p>
            <a:r>
              <a:rPr lang="zh-CN" altLang="en-US" b="1" dirty="0" smtClean="0"/>
              <a:t>仅通过单纯聚焦在制造流程的自动化，并不能满足不断发展的互联网经济之需求。</a:t>
            </a:r>
            <a:endParaRPr lang="en-US" altLang="zh-CN" b="1" dirty="0" smtClean="0"/>
          </a:p>
          <a:p>
            <a:endParaRPr lang="en-US" altLang="zh-CN" b="1" dirty="0" smtClean="0"/>
          </a:p>
          <a:p>
            <a:r>
              <a:rPr lang="zh-CN" altLang="en-US" b="1" dirty="0" smtClean="0"/>
              <a:t>对延伸于整个价值增值链的全面研究分析是必要的，当然也包括供应商。</a:t>
            </a:r>
            <a:endParaRPr lang="en-US" altLang="zh-CN" b="1" dirty="0" smtClean="0"/>
          </a:p>
          <a:p>
            <a:endParaRPr lang="en-US" altLang="zh-CN" b="1" dirty="0" smtClean="0"/>
          </a:p>
          <a:p>
            <a:r>
              <a:rPr lang="zh-CN" altLang="en-US" b="1" dirty="0" smtClean="0"/>
              <a:t>制造业已经明确的进入到舞台之中。在这舞台上，制造业为了确保其长期不败的竞争地位，只有其全部工作流自动化一条路可选择。</a:t>
            </a:r>
            <a:endParaRPr lang="en-US" altLang="zh-CN" b="1" dirty="0" smtClean="0"/>
          </a:p>
          <a:p>
            <a:endParaRPr lang="en-US" altLang="zh-CN" b="1" dirty="0" smtClean="0"/>
          </a:p>
          <a:p>
            <a:endParaRPr lang="en-US" altLang="zh-CN" b="1" dirty="0" smtClean="0"/>
          </a:p>
          <a:p>
            <a:endParaRPr lang="en-US" altLang="zh-CN" b="1" dirty="0" smtClean="0"/>
          </a:p>
          <a:p>
            <a:endParaRPr lang="en-US" altLang="zh-CN" b="1" dirty="0" smtClean="0"/>
          </a:p>
          <a:p>
            <a:endParaRPr lang="en-US" altLang="zh-CN" b="1" dirty="0" smtClean="0"/>
          </a:p>
          <a:p>
            <a:endParaRPr lang="en-US" b="1" dirty="0" smtClean="0"/>
          </a:p>
          <a:p>
            <a:endParaRPr lang="en-US" b="1"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1312972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8</a:t>
            </a:fld>
            <a:endParaRPr lang="en-US" dirty="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Image Placeholder 1"/>
          <p:cNvSpPr>
            <a:spLocks noGrp="1" noRot="1" noChangeAspect="1"/>
          </p:cNvSpPr>
          <p:nvPr>
            <p:ph type="sldImg"/>
          </p:nvPr>
        </p:nvSpPr>
        <p:spPr bwMode="auto">
          <a:xfrm>
            <a:off x="138113" y="768350"/>
            <a:ext cx="6824662" cy="3836988"/>
          </a:xfrm>
          <a:noFill/>
          <a:ln>
            <a:solidFill>
              <a:srgbClr val="000000"/>
            </a:solidFill>
            <a:miter lim="800000"/>
            <a:headEnd/>
            <a:tailEnd/>
          </a:ln>
        </p:spPr>
      </p:sp>
      <p:sp>
        <p:nvSpPr>
          <p:cNvPr id="880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ltLang="zh-CN" dirty="0" smtClean="0"/>
              <a:t>Siemens is committed to this strategy and has changed its organizational structure to be flatter and more market driven and to support these growth areas</a:t>
            </a:r>
          </a:p>
          <a:p>
            <a:pPr>
              <a:spcBef>
                <a:spcPct val="0"/>
              </a:spcBef>
            </a:pPr>
            <a:endParaRPr lang="en-US" altLang="zh-CN" dirty="0" smtClean="0"/>
          </a:p>
          <a:p>
            <a:pPr>
              <a:spcBef>
                <a:spcPct val="0"/>
              </a:spcBef>
            </a:pPr>
            <a:r>
              <a:rPr lang="en-US" altLang="zh-CN" dirty="0" smtClean="0"/>
              <a:t>The new Digital Factory division replaces today’s IA division in the Industry sector and will further reinforce the vision set forth following Siemens’ acquisition of UGS. This vision for the future of manufacturing streamlines the entire design-to-manufacturing process.</a:t>
            </a:r>
          </a:p>
          <a:p>
            <a:pPr>
              <a:spcBef>
                <a:spcPct val="0"/>
              </a:spcBef>
            </a:pPr>
            <a:endParaRPr lang="en-US" altLang="zh-CN" dirty="0" smtClean="0"/>
          </a:p>
          <a:p>
            <a:pPr>
              <a:spcBef>
                <a:spcPct val="0"/>
              </a:spcBef>
            </a:pPr>
            <a:r>
              <a:rPr lang="en-US" altLang="zh-CN" b="1" dirty="0" smtClean="0"/>
              <a:t>“With our new organizational setup, we are the first Company worldwide -- let me emphasize the term worldwide -- to bundle all the capabilities needed for the digital factory under one roof.</a:t>
            </a:r>
            <a:r>
              <a:rPr lang="en-US" altLang="zh-CN" dirty="0" smtClean="0"/>
              <a:t> That's an ideal  prerequisite for strengthening our leading role in the realization of Industry 4.0. </a:t>
            </a:r>
            <a:r>
              <a:rPr lang="en-US" altLang="zh-CN" b="1" dirty="0" smtClean="0"/>
              <a:t>Others write books and talk, but we are setting up the strategic approach for the digital factory.” – Joe </a:t>
            </a:r>
            <a:r>
              <a:rPr lang="en-US" altLang="zh-CN" b="1" dirty="0" err="1" smtClean="0"/>
              <a:t>Kaeser</a:t>
            </a:r>
            <a:endParaRPr lang="en-US" altLang="zh-CN" dirty="0" smtClean="0"/>
          </a:p>
          <a:p>
            <a:pPr>
              <a:spcBef>
                <a:spcPct val="0"/>
              </a:spcBef>
            </a:pPr>
            <a:endParaRPr lang="en-US" altLang="zh-CN" dirty="0" smtClean="0"/>
          </a:p>
        </p:txBody>
      </p:sp>
      <p:sp>
        <p:nvSpPr>
          <p:cNvPr id="880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de-DE" altLang="zh-CN">
                <a:solidFill>
                  <a:srgbClr val="000000"/>
                </a:solidFill>
                <a:latin typeface="Arial" charset="0"/>
                <a:ea typeface="ＭＳ Ｐゴシック" pitchFamily="34" charset="-128"/>
              </a:rPr>
              <a:t>Notizen </a:t>
            </a:r>
            <a:fld id="{9704E34C-BC4A-4FF8-B555-C9316C1DACDB}" type="slidenum">
              <a:rPr lang="de-DE" altLang="zh-CN">
                <a:solidFill>
                  <a:srgbClr val="000000"/>
                </a:solidFill>
                <a:latin typeface="Arial" charset="0"/>
                <a:ea typeface="ＭＳ Ｐゴシック" pitchFamily="34" charset="-128"/>
              </a:rPr>
              <a:pPr fontAlgn="base">
                <a:spcBef>
                  <a:spcPct val="0"/>
                </a:spcBef>
                <a:spcAft>
                  <a:spcPct val="0"/>
                </a:spcAft>
              </a:pPr>
              <a:t>2</a:t>
            </a:fld>
            <a:endParaRPr lang="de-DE" altLang="zh-CN">
              <a:solidFill>
                <a:srgbClr val="000000"/>
              </a:solidFill>
              <a:latin typeface="Arial"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7D93DA3-EC3C-4F7C-8866-ED32CE6FED52}" type="slidenum">
              <a:rPr lang="en-US" altLang="zh-CN">
                <a:solidFill>
                  <a:srgbClr val="000000"/>
                </a:solidFill>
                <a:latin typeface="Arial" charset="0"/>
                <a:ea typeface="ＭＳ Ｐゴシック" pitchFamily="34" charset="-128"/>
              </a:rPr>
              <a:pPr fontAlgn="base">
                <a:spcBef>
                  <a:spcPct val="0"/>
                </a:spcBef>
                <a:spcAft>
                  <a:spcPct val="0"/>
                </a:spcAft>
              </a:pPr>
              <a:t>3</a:t>
            </a:fld>
            <a:endParaRPr lang="en-US" altLang="zh-CN">
              <a:solidFill>
                <a:srgbClr val="000000"/>
              </a:solidFill>
              <a:latin typeface="Arial" charset="0"/>
              <a:ea typeface="ＭＳ Ｐゴシック" pitchFamily="34" charset="-128"/>
            </a:endParaRPr>
          </a:p>
        </p:txBody>
      </p:sp>
      <p:sp>
        <p:nvSpPr>
          <p:cNvPr id="90114" name="Rectangle 7"/>
          <p:cNvSpPr txBox="1">
            <a:spLocks noGrp="1" noChangeArrowheads="1"/>
          </p:cNvSpPr>
          <p:nvPr/>
        </p:nvSpPr>
        <p:spPr bwMode="auto">
          <a:xfrm>
            <a:off x="3986784" y="10499365"/>
            <a:ext cx="3048427" cy="550821"/>
          </a:xfrm>
          <a:prstGeom prst="rect">
            <a:avLst/>
          </a:prstGeom>
          <a:noFill/>
          <a:ln w="9525">
            <a:noFill/>
            <a:miter lim="800000"/>
            <a:headEnd/>
            <a:tailEnd/>
          </a:ln>
        </p:spPr>
        <p:txBody>
          <a:bodyPr lIns="92556" tIns="46280" rIns="92556" bIns="46280" anchor="b"/>
          <a:lstStyle/>
          <a:p>
            <a:pPr algn="r" defTabSz="963039"/>
            <a:fld id="{66B8F8FF-F1E8-4401-89A8-6231CD72B1DD}" type="slidenum">
              <a:rPr lang="en-US" altLang="zh-CN" sz="1200">
                <a:solidFill>
                  <a:srgbClr val="000000"/>
                </a:solidFill>
                <a:ea typeface="ＭＳ Ｐゴシック" pitchFamily="34" charset="-128"/>
              </a:rPr>
              <a:pPr algn="r" defTabSz="963039"/>
              <a:t>3</a:t>
            </a:fld>
            <a:endParaRPr lang="en-US" altLang="zh-CN" sz="1200">
              <a:solidFill>
                <a:srgbClr val="000000"/>
              </a:solidFill>
              <a:ea typeface="ＭＳ Ｐゴシック" pitchFamily="34" charset="-128"/>
            </a:endParaRPr>
          </a:p>
        </p:txBody>
      </p:sp>
      <p:sp>
        <p:nvSpPr>
          <p:cNvPr id="90115" name="Rectangle 7"/>
          <p:cNvSpPr txBox="1">
            <a:spLocks noGrp="1" noChangeArrowheads="1"/>
          </p:cNvSpPr>
          <p:nvPr/>
        </p:nvSpPr>
        <p:spPr bwMode="auto">
          <a:xfrm>
            <a:off x="3986784" y="10499365"/>
            <a:ext cx="3048427" cy="550821"/>
          </a:xfrm>
          <a:prstGeom prst="rect">
            <a:avLst/>
          </a:prstGeom>
          <a:noFill/>
          <a:ln w="9525">
            <a:noFill/>
            <a:miter lim="800000"/>
            <a:headEnd/>
            <a:tailEnd/>
          </a:ln>
        </p:spPr>
        <p:txBody>
          <a:bodyPr lIns="88592" tIns="44295" rIns="88592" bIns="44295" anchor="b"/>
          <a:lstStyle/>
          <a:p>
            <a:pPr algn="r" defTabSz="923906"/>
            <a:fld id="{63A62302-4580-4206-A665-4BF4205328BB}" type="slidenum">
              <a:rPr lang="en-US" altLang="zh-CN" sz="1200">
                <a:solidFill>
                  <a:srgbClr val="000000"/>
                </a:solidFill>
                <a:ea typeface="ＭＳ Ｐゴシック" pitchFamily="34" charset="-128"/>
                <a:cs typeface="Arial" charset="0"/>
              </a:rPr>
              <a:pPr algn="r" defTabSz="923906"/>
              <a:t>3</a:t>
            </a:fld>
            <a:endParaRPr lang="en-US" altLang="zh-CN" sz="1200">
              <a:solidFill>
                <a:srgbClr val="000000"/>
              </a:solidFill>
              <a:ea typeface="ＭＳ Ｐゴシック" pitchFamily="34" charset="-128"/>
              <a:cs typeface="Arial" charset="0"/>
            </a:endParaRPr>
          </a:p>
        </p:txBody>
      </p:sp>
      <p:sp>
        <p:nvSpPr>
          <p:cNvPr id="90116" name="Folienbildplatzhalter 2"/>
          <p:cNvSpPr>
            <a:spLocks noGrp="1" noRot="1" noChangeAspect="1"/>
          </p:cNvSpPr>
          <p:nvPr>
            <p:ph type="sldImg"/>
          </p:nvPr>
        </p:nvSpPr>
        <p:spPr bwMode="auto">
          <a:xfrm>
            <a:off x="-165100" y="830263"/>
            <a:ext cx="7369175" cy="4143375"/>
          </a:xfrm>
          <a:noFill/>
          <a:ln>
            <a:solidFill>
              <a:srgbClr val="000000"/>
            </a:solidFill>
            <a:miter lim="800000"/>
            <a:headEnd/>
            <a:tailEnd/>
          </a:ln>
        </p:spPr>
      </p:sp>
      <p:sp>
        <p:nvSpPr>
          <p:cNvPr id="90117" name="Notizenplatzhalter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altLang="zh-CN"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4662" cy="3836988"/>
          </a:xfrm>
        </p:spPr>
      </p:sp>
      <p:sp>
        <p:nvSpPr>
          <p:cNvPr id="3" name="Notizenplatzhalter 2"/>
          <p:cNvSpPr>
            <a:spLocks noGrp="1"/>
          </p:cNvSpPr>
          <p:nvPr>
            <p:ph type="body" idx="1"/>
          </p:nvPr>
        </p:nvSpPr>
        <p:spPr>
          <a:xfrm>
            <a:off x="910861" y="5159791"/>
            <a:ext cx="5279270" cy="4253173"/>
          </a:xfrm>
        </p:spPr>
        <p:txBody>
          <a:bodyPr>
            <a:noAutofit/>
          </a:bodyPr>
          <a:lstStyle/>
          <a:p>
            <a:pPr marL="182234" indent="-182234">
              <a:spcBef>
                <a:spcPts val="1913"/>
              </a:spcBef>
              <a:buFont typeface="Arial" panose="020B0604020202020204" pitchFamily="34" charset="0"/>
              <a:buChar char="•"/>
            </a:pPr>
            <a:r>
              <a:rPr lang="de-DE" b="1" dirty="0" smtClean="0"/>
              <a:t>The </a:t>
            </a:r>
            <a:r>
              <a:rPr lang="de-DE" b="1" dirty="0"/>
              <a:t>I</a:t>
            </a:r>
            <a:r>
              <a:rPr lang="de-DE" b="1" dirty="0" smtClean="0"/>
              <a:t>nternet </a:t>
            </a:r>
            <a:r>
              <a:rPr lang="de-DE" b="1" dirty="0" err="1" smtClean="0"/>
              <a:t>is</a:t>
            </a:r>
            <a:r>
              <a:rPr lang="de-DE" b="1" dirty="0" smtClean="0"/>
              <a:t> </a:t>
            </a:r>
            <a:r>
              <a:rPr lang="de-DE" b="1" dirty="0" err="1" smtClean="0"/>
              <a:t>revolutionizing</a:t>
            </a:r>
            <a:r>
              <a:rPr lang="de-DE" b="1" dirty="0" smtClean="0"/>
              <a:t> </a:t>
            </a:r>
            <a:r>
              <a:rPr lang="de-DE" b="1" dirty="0" err="1" smtClean="0"/>
              <a:t>the</a:t>
            </a:r>
            <a:r>
              <a:rPr lang="de-DE" b="1" dirty="0" smtClean="0"/>
              <a:t> </a:t>
            </a:r>
            <a:r>
              <a:rPr lang="de-DE" b="1" dirty="0" err="1" smtClean="0"/>
              <a:t>business</a:t>
            </a:r>
            <a:r>
              <a:rPr lang="de-DE" b="1" dirty="0" smtClean="0"/>
              <a:t> </a:t>
            </a:r>
            <a:r>
              <a:rPr lang="de-DE" b="1" dirty="0" err="1" smtClean="0"/>
              <a:t>world</a:t>
            </a:r>
            <a:r>
              <a:rPr lang="de-DE" b="1" dirty="0" smtClean="0"/>
              <a:t> and </a:t>
            </a:r>
            <a:r>
              <a:rPr lang="de-DE" b="1" dirty="0" err="1" smtClean="0"/>
              <a:t>creating</a:t>
            </a:r>
            <a:r>
              <a:rPr lang="de-DE" b="1" dirty="0" smtClean="0"/>
              <a:t>   </a:t>
            </a:r>
            <a:r>
              <a:rPr lang="de-DE" b="1" dirty="0" err="1" smtClean="0"/>
              <a:t>major</a:t>
            </a:r>
            <a:r>
              <a:rPr lang="de-DE" b="1" dirty="0" smtClean="0"/>
              <a:t> </a:t>
            </a:r>
            <a:r>
              <a:rPr lang="de-DE" b="1" dirty="0" err="1" smtClean="0"/>
              <a:t>challenges</a:t>
            </a:r>
            <a:r>
              <a:rPr lang="de-DE" b="1" dirty="0" smtClean="0"/>
              <a:t> </a:t>
            </a:r>
            <a:r>
              <a:rPr lang="de-DE" b="1" dirty="0" err="1" smtClean="0"/>
              <a:t>for</a:t>
            </a:r>
            <a:r>
              <a:rPr lang="de-DE" b="1" dirty="0" smtClean="0"/>
              <a:t> </a:t>
            </a:r>
            <a:r>
              <a:rPr lang="de-DE" b="1" dirty="0" err="1" smtClean="0"/>
              <a:t>manufacturing</a:t>
            </a:r>
            <a:r>
              <a:rPr lang="de-DE" b="1" dirty="0" smtClean="0"/>
              <a:t> </a:t>
            </a:r>
            <a:r>
              <a:rPr lang="de-DE" b="1" dirty="0" err="1" smtClean="0"/>
              <a:t>companies</a:t>
            </a:r>
            <a:r>
              <a:rPr lang="de-DE" b="1" dirty="0" smtClean="0"/>
              <a:t>.</a:t>
            </a:r>
          </a:p>
          <a:p>
            <a:pPr marL="182234" indent="-182234">
              <a:spcBef>
                <a:spcPts val="1913"/>
              </a:spcBef>
              <a:buFont typeface="Arial" panose="020B0604020202020204" pitchFamily="34" charset="0"/>
              <a:buChar char="•"/>
            </a:pPr>
            <a:r>
              <a:rPr lang="de-DE" b="1" dirty="0" smtClean="0"/>
              <a:t>Customers </a:t>
            </a:r>
            <a:r>
              <a:rPr lang="de-DE" b="1" dirty="0" err="1" smtClean="0"/>
              <a:t>are</a:t>
            </a:r>
            <a:r>
              <a:rPr lang="de-DE" b="1" dirty="0" smtClean="0"/>
              <a:t> </a:t>
            </a:r>
            <a:r>
              <a:rPr lang="de-DE" b="1" dirty="0" err="1" smtClean="0"/>
              <a:t>increasingly</a:t>
            </a:r>
            <a:r>
              <a:rPr lang="de-DE" b="1" dirty="0" smtClean="0"/>
              <a:t> </a:t>
            </a:r>
            <a:r>
              <a:rPr lang="de-DE" b="1" dirty="0" err="1" smtClean="0"/>
              <a:t>able</a:t>
            </a:r>
            <a:r>
              <a:rPr lang="de-DE" b="1" dirty="0" smtClean="0"/>
              <a:t> </a:t>
            </a:r>
            <a:r>
              <a:rPr lang="de-DE" b="1" dirty="0" err="1" smtClean="0"/>
              <a:t>to</a:t>
            </a:r>
            <a:r>
              <a:rPr lang="de-DE" b="1" dirty="0" smtClean="0"/>
              <a:t> </a:t>
            </a:r>
            <a:r>
              <a:rPr lang="de-DE" b="1" dirty="0" err="1" smtClean="0"/>
              <a:t>tell</a:t>
            </a:r>
            <a:r>
              <a:rPr lang="de-DE" b="1" dirty="0" smtClean="0"/>
              <a:t> </a:t>
            </a:r>
            <a:r>
              <a:rPr lang="de-DE" b="1" dirty="0" err="1" smtClean="0"/>
              <a:t>their</a:t>
            </a:r>
            <a:r>
              <a:rPr lang="de-DE" b="1" dirty="0" smtClean="0"/>
              <a:t> </a:t>
            </a:r>
            <a:r>
              <a:rPr lang="de-DE" b="1" dirty="0" err="1" smtClean="0"/>
              <a:t>manufacturers</a:t>
            </a:r>
            <a:r>
              <a:rPr lang="de-DE" b="1" dirty="0" smtClean="0"/>
              <a:t> </a:t>
            </a:r>
            <a:r>
              <a:rPr lang="de-DE" b="1" dirty="0" err="1" smtClean="0"/>
              <a:t>directly</a:t>
            </a:r>
            <a:r>
              <a:rPr lang="de-DE" b="1" dirty="0" smtClean="0"/>
              <a:t> via </a:t>
            </a:r>
            <a:r>
              <a:rPr lang="de-DE" b="1" dirty="0" err="1" smtClean="0"/>
              <a:t>the</a:t>
            </a:r>
            <a:r>
              <a:rPr lang="de-DE" b="1" dirty="0" smtClean="0"/>
              <a:t> </a:t>
            </a:r>
            <a:r>
              <a:rPr lang="de-DE" b="1" dirty="0" err="1" smtClean="0"/>
              <a:t>net</a:t>
            </a:r>
            <a:r>
              <a:rPr lang="de-DE" b="1" dirty="0" smtClean="0"/>
              <a:t> </a:t>
            </a:r>
            <a:r>
              <a:rPr lang="de-DE" b="1" dirty="0" err="1" smtClean="0"/>
              <a:t>what</a:t>
            </a:r>
            <a:r>
              <a:rPr lang="de-DE" b="1" dirty="0" smtClean="0"/>
              <a:t> </a:t>
            </a:r>
            <a:r>
              <a:rPr lang="de-DE" b="1" dirty="0" err="1" smtClean="0"/>
              <a:t>exactly</a:t>
            </a:r>
            <a:r>
              <a:rPr lang="de-DE" b="1" dirty="0" smtClean="0"/>
              <a:t> </a:t>
            </a:r>
            <a:r>
              <a:rPr lang="de-DE" b="1" dirty="0" err="1" smtClean="0"/>
              <a:t>they</a:t>
            </a:r>
            <a:r>
              <a:rPr lang="de-DE" b="1" dirty="0" smtClean="0"/>
              <a:t> </a:t>
            </a:r>
            <a:r>
              <a:rPr lang="de-DE" b="1" dirty="0" err="1" smtClean="0"/>
              <a:t>want</a:t>
            </a:r>
            <a:r>
              <a:rPr lang="de-DE" b="1" dirty="0" smtClean="0"/>
              <a:t> and </a:t>
            </a:r>
            <a:r>
              <a:rPr lang="de-DE" b="1" dirty="0" err="1" smtClean="0"/>
              <a:t>when</a:t>
            </a:r>
            <a:r>
              <a:rPr lang="de-DE" b="1" dirty="0" smtClean="0"/>
              <a:t>. </a:t>
            </a:r>
          </a:p>
          <a:p>
            <a:pPr marL="182234" indent="-182234">
              <a:spcBef>
                <a:spcPts val="1913"/>
              </a:spcBef>
              <a:buFont typeface="Arial" panose="020B0604020202020204" pitchFamily="34" charset="0"/>
              <a:buChar char="•"/>
            </a:pPr>
            <a:r>
              <a:rPr lang="de-DE" b="1" dirty="0" smtClean="0"/>
              <a:t>Alternatives can </a:t>
            </a:r>
            <a:r>
              <a:rPr lang="de-DE" b="1" dirty="0" err="1" smtClean="0"/>
              <a:t>often</a:t>
            </a:r>
            <a:r>
              <a:rPr lang="de-DE" b="1" dirty="0" smtClean="0"/>
              <a:t> </a:t>
            </a:r>
            <a:r>
              <a:rPr lang="de-DE" b="1" dirty="0" err="1" smtClean="0"/>
              <a:t>be</a:t>
            </a:r>
            <a:r>
              <a:rPr lang="de-DE" b="1" dirty="0" smtClean="0"/>
              <a:t> </a:t>
            </a:r>
            <a:r>
              <a:rPr lang="de-DE" b="1" dirty="0" err="1" smtClean="0"/>
              <a:t>found</a:t>
            </a:r>
            <a:r>
              <a:rPr lang="de-DE" b="1" dirty="0" smtClean="0"/>
              <a:t> </a:t>
            </a:r>
            <a:r>
              <a:rPr lang="de-DE" b="1" dirty="0" err="1" smtClean="0"/>
              <a:t>easily</a:t>
            </a:r>
            <a:r>
              <a:rPr lang="de-DE" b="1" dirty="0" smtClean="0"/>
              <a:t> and potential </a:t>
            </a:r>
            <a:r>
              <a:rPr lang="de-DE" b="1" dirty="0" err="1" smtClean="0"/>
              <a:t>business</a:t>
            </a:r>
            <a:r>
              <a:rPr lang="de-DE" b="1" dirty="0" smtClean="0"/>
              <a:t> can </a:t>
            </a:r>
            <a:r>
              <a:rPr lang="de-DE" b="1" dirty="0" err="1" smtClean="0"/>
              <a:t>be</a:t>
            </a:r>
            <a:r>
              <a:rPr lang="de-DE" b="1" dirty="0" smtClean="0"/>
              <a:t> </a:t>
            </a:r>
            <a:r>
              <a:rPr lang="de-DE" b="1" dirty="0" err="1" smtClean="0"/>
              <a:t>quickly</a:t>
            </a:r>
            <a:r>
              <a:rPr lang="de-DE" b="1" dirty="0" smtClean="0"/>
              <a:t> lost.</a:t>
            </a:r>
          </a:p>
          <a:p>
            <a:pPr marL="182234" indent="-182234">
              <a:spcBef>
                <a:spcPts val="1913"/>
              </a:spcBef>
              <a:buFont typeface="Arial" panose="020B0604020202020204" pitchFamily="34" charset="0"/>
              <a:buChar char="•"/>
            </a:pPr>
            <a:endParaRPr lang="de-DE" altLang="en-US" sz="1900" b="1" dirty="0">
              <a:solidFill>
                <a:schemeClr val="dk2"/>
              </a:solidFill>
              <a:latin typeface="黑体" pitchFamily="49" charset="-122"/>
              <a:ea typeface="黑体" pitchFamily="49" charset="-122"/>
              <a:cs typeface="Arial" pitchFamily="34" charset="0"/>
            </a:endParaRPr>
          </a:p>
          <a:p>
            <a:pPr marL="182234" indent="-182234">
              <a:spcBef>
                <a:spcPts val="1913"/>
              </a:spcBef>
              <a:buFont typeface="Arial" panose="020B0604020202020204" pitchFamily="34" charset="0"/>
              <a:buChar char="•"/>
            </a:pPr>
            <a:r>
              <a:rPr lang="zh-CN" altLang="en-US" sz="1900" dirty="0">
                <a:latin typeface="黑体" pitchFamily="49" charset="-122"/>
                <a:ea typeface="黑体" pitchFamily="49" charset="-122"/>
              </a:rPr>
              <a:t>互联网正在造就商业变革，并向制造业提出了新的挑战</a:t>
            </a:r>
            <a:endParaRPr lang="en-US" altLang="zh-CN" sz="1900" dirty="0">
              <a:latin typeface="黑体" pitchFamily="49" charset="-122"/>
              <a:ea typeface="黑体" pitchFamily="49" charset="-122"/>
            </a:endParaRPr>
          </a:p>
          <a:p>
            <a:pPr marL="182234" indent="-182234">
              <a:spcBef>
                <a:spcPts val="1913"/>
              </a:spcBef>
              <a:buFont typeface="Arial" panose="020B0604020202020204" pitchFamily="34" charset="0"/>
              <a:buChar char="•"/>
            </a:pPr>
            <a:r>
              <a:rPr lang="zh-CN" altLang="en-US" sz="1900" dirty="0">
                <a:latin typeface="黑体" pitchFamily="49" charset="-122"/>
                <a:ea typeface="黑体" pitchFamily="49" charset="-122"/>
              </a:rPr>
              <a:t>客户正在更加容易地通过网络向他们的制造商直接提出他们对产品特性和交付时间的真切需求。</a:t>
            </a:r>
            <a:r>
              <a:rPr lang="en-US" altLang="zh-CN" sz="1900" dirty="0">
                <a:latin typeface="黑体" pitchFamily="49" charset="-122"/>
                <a:ea typeface="黑体" pitchFamily="49" charset="-122"/>
              </a:rPr>
              <a:t> </a:t>
            </a:r>
          </a:p>
          <a:p>
            <a:pPr marL="182234" indent="-182234">
              <a:spcBef>
                <a:spcPts val="1913"/>
              </a:spcBef>
              <a:buFont typeface="Arial" panose="020B0604020202020204" pitchFamily="34" charset="0"/>
              <a:buChar char="•"/>
            </a:pPr>
            <a:r>
              <a:rPr lang="zh-CN" altLang="en-US" sz="1900" dirty="0">
                <a:latin typeface="黑体" pitchFamily="49" charset="-122"/>
                <a:ea typeface="黑体" pitchFamily="49" charset="-122"/>
              </a:rPr>
              <a:t>在此条件下，替代品很容易被找到，潜在业务机会稍纵即逝</a:t>
            </a:r>
            <a:r>
              <a:rPr lang="en-US" altLang="zh-CN" sz="1900" dirty="0">
                <a:latin typeface="黑体" pitchFamily="49" charset="-122"/>
                <a:ea typeface="黑体" pitchFamily="49" charset="-122"/>
              </a:rPr>
              <a:t> </a:t>
            </a:r>
            <a:endParaRPr lang="de-DE" dirty="0"/>
          </a:p>
          <a:p>
            <a:pPr>
              <a:spcBef>
                <a:spcPts val="1275"/>
              </a:spcBef>
              <a:tabLst>
                <a:tab pos="188984" algn="l"/>
                <a:tab pos="283475" algn="l"/>
              </a:tabLst>
            </a:pPr>
            <a:endParaRPr lang="de-DE" sz="500" dirty="0"/>
          </a:p>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5</a:t>
            </a:fld>
            <a:endParaRPr lang="en-US" dirty="0">
              <a:latin typeface="Arial" pitchFamily="34" charset="0"/>
            </a:endParaRPr>
          </a:p>
        </p:txBody>
      </p:sp>
    </p:spTree>
    <p:extLst>
      <p:ext uri="{BB962C8B-B14F-4D97-AF65-F5344CB8AC3E}">
        <p14:creationId xmlns:p14="http://schemas.microsoft.com/office/powerpoint/2010/main" val="2764570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8113" y="768350"/>
            <a:ext cx="6824662" cy="3836988"/>
          </a:xfrm>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66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微软雅黑" panose="020B0503020204020204" pitchFamily="34" charset="-122"/>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8113" y="768350"/>
            <a:ext cx="6824662" cy="3836988"/>
          </a:xfrm>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66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微软雅黑" panose="020B0503020204020204" pitchFamily="34" charset="-122"/>
              <a:ea typeface="ＭＳ Ｐゴシック"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2325" y="769938"/>
            <a:ext cx="5622925" cy="3160712"/>
          </a:xfrm>
        </p:spPr>
      </p:sp>
      <p:sp>
        <p:nvSpPr>
          <p:cNvPr id="3" name="Notes Placeholder 2"/>
          <p:cNvSpPr>
            <a:spLocks noGrp="1"/>
          </p:cNvSpPr>
          <p:nvPr>
            <p:ph type="body" idx="1"/>
          </p:nvPr>
        </p:nvSpPr>
        <p:spPr/>
        <p:txBody>
          <a:bodyPr>
            <a:noAutofit/>
          </a:bodyPr>
          <a:lstStyle/>
          <a:p>
            <a:pPr rtl="0" fontAlgn="ctr"/>
            <a:r>
              <a:rPr lang="zh-CN" altLang="en-US" sz="1200" kern="1200" dirty="0" smtClean="0">
                <a:solidFill>
                  <a:schemeClr val="tx1"/>
                </a:solidFill>
                <a:effectLst/>
                <a:latin typeface="Arial" pitchFamily="34" charset="0"/>
                <a:ea typeface="ＭＳ Ｐゴシック" charset="-128"/>
                <a:cs typeface="+mn-cs"/>
              </a:rPr>
              <a:t>大家都知道，人类工业的发展经历了四个阶段，及机械化、电气化、自动化和智能化四个阶段。工业</a:t>
            </a:r>
            <a:r>
              <a:rPr lang="en-US" sz="1200" kern="1200" dirty="0" smtClean="0">
                <a:solidFill>
                  <a:schemeClr val="tx1"/>
                </a:solidFill>
                <a:effectLst/>
                <a:latin typeface="Arial" pitchFamily="34" charset="0"/>
                <a:ea typeface="ＭＳ Ｐゴシック" charset="-128"/>
                <a:cs typeface="+mn-cs"/>
              </a:rPr>
              <a:t>4.0</a:t>
            </a:r>
            <a:r>
              <a:rPr lang="zh-CN" altLang="en-US" sz="1200" kern="1200" dirty="0" smtClean="0">
                <a:solidFill>
                  <a:schemeClr val="tx1"/>
                </a:solidFill>
                <a:effectLst/>
                <a:latin typeface="Arial" pitchFamily="34" charset="0"/>
                <a:ea typeface="ＭＳ Ｐゴシック" charset="-128"/>
                <a:cs typeface="+mn-cs"/>
              </a:rPr>
              <a:t>的本质是由于智能化技术的发展，使得经济发生新的飞跃。以无人驾驶汽车为例，整个行业的业务模式都将发生质的变化，例如，</a:t>
            </a:r>
            <a:endParaRPr 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最终用户可以通过移动互联网参与到新产品的开发和销售</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整车企业利用智能化的产品模型进行早期仿真验证，并将经过验证的模型完整的传递到下游的采购、制造、服务部门</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智能的产品可以和智能的生产设备进行通信，实现自我组织的制造</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无人驾驶汽车可以通过手机进行预约，实现自动驾驶和自动泊车</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消费者的消费行为和特征通过车联网传递到云端，实现产品的持续改进</a:t>
            </a:r>
            <a:endParaRPr lang="zh-CN" altLang="en-US" dirty="0" smtClean="0">
              <a:effectLst/>
            </a:endParaRPr>
          </a:p>
          <a:p>
            <a:endParaRPr lang="en-US" dirty="0"/>
          </a:p>
        </p:txBody>
      </p:sp>
      <p:sp>
        <p:nvSpPr>
          <p:cNvPr id="4" name="Slide Number Placeholder 3"/>
          <p:cNvSpPr>
            <a:spLocks noGrp="1"/>
          </p:cNvSpPr>
          <p:nvPr>
            <p:ph type="sldNum" sz="quarter" idx="10"/>
          </p:nvPr>
        </p:nvSpPr>
        <p:spPr/>
        <p:txBody>
          <a:bodyPr>
            <a:noAutofit/>
          </a:bodyPr>
          <a:lstStyle/>
          <a:p>
            <a:endParaRPr lang="en-US" dirty="0">
              <a:latin typeface="Arial"/>
            </a:endParaRPr>
          </a:p>
        </p:txBody>
      </p:sp>
    </p:spTree>
    <p:extLst>
      <p:ext uri="{BB962C8B-B14F-4D97-AF65-F5344CB8AC3E}">
        <p14:creationId xmlns:p14="http://schemas.microsoft.com/office/powerpoint/2010/main" val="2573999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zh-CN" altLang="en-US" sz="1200" kern="1200" dirty="0" smtClean="0">
                <a:solidFill>
                  <a:schemeClr val="tx1"/>
                </a:solidFill>
                <a:effectLst/>
                <a:latin typeface="Arial" pitchFamily="34" charset="0"/>
                <a:ea typeface="ＭＳ Ｐゴシック" charset="-128"/>
                <a:cs typeface="+mn-cs"/>
              </a:rPr>
              <a:t>站在制造环节，未来的智能制造需要具备三大特征</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智能的产品模型：所有专业的产品模型，包括机械、电气、控制、软件等，都将在研发阶段早期得到仿真和验证</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虚拟世界和现实世界无缝集成：经过验证的产品模型将传递到下游，作为采购、制造、质量检测、服务的基础</a:t>
            </a:r>
            <a:endParaRPr lang="zh-CN" altLang="en-US" dirty="0" smtClean="0">
              <a:effectLst/>
            </a:endParaRPr>
          </a:p>
          <a:p>
            <a:pPr lvl="1" rtl="0" fontAlgn="ctr"/>
            <a:r>
              <a:rPr lang="zh-CN" altLang="en-US" sz="1200" kern="1200" dirty="0" smtClean="0">
                <a:solidFill>
                  <a:schemeClr val="tx1"/>
                </a:solidFill>
                <a:effectLst/>
                <a:latin typeface="Arial" pitchFamily="34" charset="0"/>
                <a:ea typeface="ＭＳ Ｐゴシック" charset="-128"/>
                <a:cs typeface="+mn-cs"/>
              </a:rPr>
              <a:t>智能的、自组织的生产：智能的产品和智能的生产系统进行通信，实现自组织的生产</a:t>
            </a:r>
            <a:endParaRPr lang="zh-CN" altLang="en-US" dirty="0" smtClean="0">
              <a:effectLst/>
            </a:endParaRPr>
          </a:p>
          <a:p>
            <a:endParaRPr lang="en-US" dirty="0"/>
          </a:p>
        </p:txBody>
      </p:sp>
      <p:sp>
        <p:nvSpPr>
          <p:cNvPr id="4" name="Slide Number Placeholder 3"/>
          <p:cNvSpPr>
            <a:spLocks noGrp="1"/>
          </p:cNvSpPr>
          <p:nvPr>
            <p:ph type="sldNum" sz="quarter" idx="10"/>
          </p:nvPr>
        </p:nvSpPr>
        <p:spPr/>
        <p:txBody>
          <a:bodyPr/>
          <a:lstStyle/>
          <a:p>
            <a:r>
              <a:rPr lang="de-DE" smtClean="0">
                <a:solidFill>
                  <a:srgbClr val="EEECE1"/>
                </a:solidFill>
              </a:rPr>
              <a:t>Notizen </a:t>
            </a:r>
            <a:fld id="{AD141568-5488-4AC9-B82D-9F5CE1225E2A}" type="slidenum">
              <a:rPr lang="de-DE" smtClean="0">
                <a:solidFill>
                  <a:srgbClr val="EEECE1"/>
                </a:solidFill>
              </a:rPr>
              <a:pPr/>
              <a:t>9</a:t>
            </a:fld>
            <a:endParaRPr lang="de-DE" dirty="0">
              <a:solidFill>
                <a:srgbClr val="EEECE1"/>
              </a:solidFill>
            </a:endParaRPr>
          </a:p>
        </p:txBody>
      </p:sp>
    </p:spTree>
    <p:extLst>
      <p:ext uri="{BB962C8B-B14F-4D97-AF65-F5344CB8AC3E}">
        <p14:creationId xmlns:p14="http://schemas.microsoft.com/office/powerpoint/2010/main" val="497323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7890" name="Folienbildplatzhalter 1"/>
          <p:cNvSpPr>
            <a:spLocks noGrp="1" noRot="1" noChangeAspect="1" noChangeArrowheads="1" noTextEdit="1"/>
          </p:cNvSpPr>
          <p:nvPr>
            <p:ph type="sldImg" idx="4294967295"/>
          </p:nvPr>
        </p:nvSpPr>
        <p:spPr>
          <a:xfrm>
            <a:off x="107950" y="741363"/>
            <a:ext cx="6583363" cy="3702050"/>
          </a:xfrm>
        </p:spPr>
      </p:sp>
      <p:sp>
        <p:nvSpPr>
          <p:cNvPr id="37891" name="Notizenplatzhalter 2"/>
          <p:cNvSpPr>
            <a:spLocks noGrp="1" noRot="1" noChangeAspect="1" noChangeArrowheads="1" noTextEdit="1"/>
          </p:cNvSpPr>
          <p:nvPr>
            <p:ph type="body" idx="1"/>
          </p:nvPr>
        </p:nvSpPr>
        <p:spPr bwMode="auto">
          <a:xfrm>
            <a:off x="871538" y="5418138"/>
            <a:ext cx="5156200" cy="2500312"/>
          </a:xfrm>
          <a:prstGeom prst="rect">
            <a:avLst/>
          </a:prstGeom>
          <a:noFill/>
          <a:ln>
            <a:miter lim="800000"/>
            <a:headEnd/>
            <a:tailEnd/>
          </a:ln>
        </p:spPr>
        <p:txBody>
          <a:bodyPr/>
          <a:lstStyle/>
          <a:p>
            <a:endParaRPr lang="zh-CN" altLang="en-US" dirty="0"/>
          </a:p>
        </p:txBody>
      </p:sp>
    </p:spTree>
    <p:extLst>
      <p:ext uri="{BB962C8B-B14F-4D97-AF65-F5344CB8AC3E}">
        <p14:creationId xmlns:p14="http://schemas.microsoft.com/office/powerpoint/2010/main" val="3597868947"/>
      </p:ext>
    </p:extLst>
  </p:cSld>
  <p:clrMapOvr>
    <a:overrideClrMapping bg1="lt1" tx1="dk1" bg2="lt2" tx2="dk2" accent1="accent1" accent2="accent2" accent3="accent3" accent4="accent4" accent5="accent5" accent6="accent6" hlink="hlink" folHlink="folHlink"/>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8" name="Rectangle 15"/>
          <p:cNvSpPr>
            <a:spLocks noChangeArrowheads="1"/>
          </p:cNvSpPr>
          <p:nvPr userDrawn="1"/>
        </p:nvSpPr>
        <p:spPr bwMode="auto">
          <a:xfrm>
            <a:off x="0" y="1"/>
            <a:ext cx="12198350" cy="4149725"/>
          </a:xfrm>
          <a:prstGeom prst="rect">
            <a:avLst/>
          </a:prstGeom>
          <a:solidFill>
            <a:srgbClr val="D7D7CD"/>
          </a:solidFill>
          <a:ln w="9525">
            <a:noFill/>
            <a:miter lim="800000"/>
            <a:headEnd/>
            <a:tailEnd/>
          </a:ln>
          <a:effectLst/>
        </p:spPr>
        <p:txBody>
          <a:bodyPr wrap="none" anchor="ctr"/>
          <a:lstStyle/>
          <a:p>
            <a:endParaRPr lang="en-US" noProof="0"/>
          </a:p>
        </p:txBody>
      </p:sp>
      <p:pic>
        <p:nvPicPr>
          <p:cNvPr id="12" name="Grafik 11" descr="Image_Titel.jpg"/>
          <p:cNvPicPr>
            <a:picLocks noChangeAspect="1"/>
          </p:cNvPicPr>
          <p:nvPr userDrawn="1"/>
        </p:nvPicPr>
        <p:blipFill>
          <a:blip r:embed="rId2" cstate="screen"/>
          <a:stretch>
            <a:fillRect/>
          </a:stretch>
        </p:blipFill>
        <p:spPr>
          <a:xfrm>
            <a:off x="253" y="25"/>
            <a:ext cx="12197844" cy="4151290"/>
          </a:xfrm>
          <a:prstGeom prst="rect">
            <a:avLst/>
          </a:prstGeom>
        </p:spPr>
      </p:pic>
      <p:sp>
        <p:nvSpPr>
          <p:cNvPr id="57350" name="Rectangle 115"/>
          <p:cNvSpPr>
            <a:spLocks noGrp="1" noChangeArrowheads="1"/>
          </p:cNvSpPr>
          <p:nvPr>
            <p:ph type="ctrTitle" hasCustomPrompt="1"/>
          </p:nvPr>
        </p:nvSpPr>
        <p:spPr bwMode="gray">
          <a:xfrm>
            <a:off x="334608" y="4151316"/>
            <a:ext cx="11863742" cy="1485567"/>
          </a:xfrm>
          <a:solidFill>
            <a:srgbClr val="879BAA"/>
          </a:solidFill>
        </p:spPr>
        <p:txBody>
          <a:bodyPr wrap="square" lIns="270000" tIns="144000" rIns="482400" bIns="108000" anchor="t">
            <a:spAutoFit/>
          </a:bodyPr>
          <a:lstStyle>
            <a:lvl1pPr>
              <a:defRPr sz="4000" smtClean="0">
                <a:solidFill>
                  <a:schemeClr val="bg1"/>
                </a:solidFill>
                <a:latin typeface="Arial" pitchFamily="34" charset="0"/>
              </a:defRPr>
            </a:lvl1pPr>
          </a:lstStyle>
          <a:p>
            <a:r>
              <a:rPr lang="en-US" noProof="0" dirty="0" smtClean="0"/>
              <a:t>Click the style sheet to edit</a:t>
            </a:r>
            <a:br>
              <a:rPr lang="en-US" noProof="0" dirty="0" smtClean="0"/>
            </a:br>
            <a:r>
              <a:rPr lang="en-US" noProof="0" dirty="0" smtClean="0"/>
              <a:t>the title</a:t>
            </a:r>
          </a:p>
        </p:txBody>
      </p:sp>
      <p:sp>
        <p:nvSpPr>
          <p:cNvPr id="57351" name="Rectangle 116"/>
          <p:cNvSpPr>
            <a:spLocks noGrp="1" noChangeArrowheads="1"/>
          </p:cNvSpPr>
          <p:nvPr>
            <p:ph type="subTitle" idx="1" hasCustomPrompt="1"/>
          </p:nvPr>
        </p:nvSpPr>
        <p:spPr bwMode="gray">
          <a:xfrm>
            <a:off x="334608" y="3758233"/>
            <a:ext cx="11863742" cy="393082"/>
          </a:xfrm>
          <a:solidFill>
            <a:srgbClr val="233746">
              <a:alpha val="65000"/>
            </a:srgbClr>
          </a:solidFill>
        </p:spPr>
        <p:txBody>
          <a:bodyPr wrap="square" lIns="270000" tIns="18000" rIns="4824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userDrawn="1"/>
        </p:nvSpPr>
        <p:spPr bwMode="auto">
          <a:xfrm>
            <a:off x="8836025" y="6165850"/>
            <a:ext cx="3362325" cy="431801"/>
          </a:xfrm>
          <a:prstGeom prst="rect">
            <a:avLst/>
          </a:prstGeom>
          <a:noFill/>
          <a:ln w="9525">
            <a:noFill/>
            <a:miter lim="800000"/>
            <a:headEnd/>
            <a:tailEnd/>
          </a:ln>
          <a:effectLst/>
        </p:spPr>
        <p:txBody>
          <a:bodyPr lIns="0" tIns="144000" rIns="482400" bIns="0" anchor="ctr"/>
          <a:lstStyle/>
          <a:p>
            <a:pPr algn="r"/>
            <a:r>
              <a:rPr lang="en-US" sz="1000" b="1" noProof="0" smtClean="0">
                <a:solidFill>
                  <a:schemeClr val="tx1"/>
                </a:solidFill>
              </a:rPr>
              <a:t>Smarter decisions, better products.</a:t>
            </a:r>
            <a:endParaRPr lang="en-US" sz="1000" b="1" noProof="0" dirty="0">
              <a:solidFill>
                <a:schemeClr val="tx1"/>
              </a:solidFill>
            </a:endParaRPr>
          </a:p>
        </p:txBody>
      </p:sp>
      <p:pic>
        <p:nvPicPr>
          <p:cNvPr id="11" name="Grafik 10" descr="SIE_Logo_Layer_Petrol_RGB_A3_76mm.wmf"/>
          <p:cNvPicPr>
            <a:picLocks noChangeAspect="1"/>
          </p:cNvPicPr>
          <p:nvPr userDrawn="1"/>
        </p:nvPicPr>
        <p:blipFill>
          <a:blip r:embed="rId3" cstate="screen"/>
          <a:stretch>
            <a:fillRect/>
          </a:stretch>
        </p:blipFill>
        <p:spPr>
          <a:xfrm>
            <a:off x="627063" y="0"/>
            <a:ext cx="1728000" cy="967835"/>
          </a:xfrm>
          <a:prstGeom prst="rect">
            <a:avLst/>
          </a:prstGeom>
        </p:spPr>
      </p:pic>
      <p:sp>
        <p:nvSpPr>
          <p:cNvPr id="10"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t>Restricted © Siemens AG 2014 All rights reserved.</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4"/>
            <a:ext cx="6768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4"/>
            <a:ext cx="8208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4"/>
            <a:ext cx="5472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6243638" y="1412875"/>
            <a:ext cx="5472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5"/>
            <a:ext cx="8208000"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627065" y="3860800"/>
            <a:ext cx="8208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3083" y="1412874"/>
            <a:ext cx="3600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4369417" y="1412875"/>
            <a:ext cx="3600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11"/>
          <p:cNvSpPr>
            <a:spLocks noGrp="1"/>
          </p:cNvSpPr>
          <p:nvPr>
            <p:ph sz="quarter" idx="14" hasCustomPrompt="1"/>
          </p:nvPr>
        </p:nvSpPr>
        <p:spPr>
          <a:xfrm>
            <a:off x="8115750" y="1412875"/>
            <a:ext cx="3600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0" y="1412875"/>
            <a:ext cx="5472000"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627063" y="3860800"/>
            <a:ext cx="547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11"/>
          <p:cNvSpPr>
            <a:spLocks noGrp="1"/>
          </p:cNvSpPr>
          <p:nvPr>
            <p:ph sz="quarter" idx="14" hasCustomPrompt="1"/>
          </p:nvPr>
        </p:nvSpPr>
        <p:spPr>
          <a:xfrm>
            <a:off x="6243638" y="1412876"/>
            <a:ext cx="547200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Inhaltsplatzhalter 14"/>
          <p:cNvSpPr>
            <a:spLocks noGrp="1"/>
          </p:cNvSpPr>
          <p:nvPr>
            <p:ph sz="quarter" idx="15" hasCustomPrompt="1"/>
          </p:nvPr>
        </p:nvSpPr>
        <p:spPr>
          <a:xfrm>
            <a:off x="6243638" y="3860800"/>
            <a:ext cx="547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4"/>
            <a:ext cx="6768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Textplatzhalter 13"/>
          <p:cNvSpPr>
            <a:spLocks noGrp="1"/>
          </p:cNvSpPr>
          <p:nvPr>
            <p:ph type="body" sz="quarter" idx="13"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4"/>
            <a:ext cx="8208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Textplatzhalter 13"/>
          <p:cNvSpPr>
            <a:spLocks noGrp="1"/>
          </p:cNvSpPr>
          <p:nvPr>
            <p:ph type="body" sz="quarter" idx="13"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2" y="1412874"/>
            <a:ext cx="4032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4804025" y="1412875"/>
            <a:ext cx="4032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7" name="Textplatzhalter 13"/>
          <p:cNvSpPr>
            <a:spLocks noGrp="1"/>
          </p:cNvSpPr>
          <p:nvPr>
            <p:ph type="body" sz="quarter" idx="14"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9" name="Rectangle 15"/>
          <p:cNvSpPr>
            <a:spLocks noChangeArrowheads="1"/>
          </p:cNvSpPr>
          <p:nvPr userDrawn="1"/>
        </p:nvSpPr>
        <p:spPr bwMode="auto">
          <a:xfrm>
            <a:off x="0" y="0"/>
            <a:ext cx="12198350" cy="5162556"/>
          </a:xfrm>
          <a:prstGeom prst="rect">
            <a:avLst/>
          </a:prstGeom>
          <a:solidFill>
            <a:srgbClr val="D7D7CD"/>
          </a:solidFill>
          <a:ln w="9525">
            <a:noFill/>
            <a:miter lim="800000"/>
            <a:headEnd/>
            <a:tailEnd/>
          </a:ln>
          <a:effectLst/>
        </p:spPr>
        <p:txBody>
          <a:bodyPr wrap="none" anchor="ctr"/>
          <a:lstStyle/>
          <a:p>
            <a:endParaRPr lang="en-US" noProof="0"/>
          </a:p>
        </p:txBody>
      </p:sp>
      <p:pic>
        <p:nvPicPr>
          <p:cNvPr id="10" name="Grafik 9" descr="Image_Titel.jpg"/>
          <p:cNvPicPr>
            <a:picLocks noChangeAspect="1"/>
          </p:cNvPicPr>
          <p:nvPr userDrawn="1"/>
        </p:nvPicPr>
        <p:blipFill>
          <a:blip r:embed="rId2" cstate="screen"/>
          <a:srcRect/>
          <a:stretch>
            <a:fillRect/>
          </a:stretch>
        </p:blipFill>
        <p:spPr>
          <a:xfrm>
            <a:off x="0" y="25"/>
            <a:ext cx="12198350" cy="5162531"/>
          </a:xfrm>
          <a:prstGeom prst="rect">
            <a:avLst/>
          </a:prstGeom>
        </p:spPr>
      </p:pic>
      <p:sp>
        <p:nvSpPr>
          <p:cNvPr id="57350" name="Rectangle 115"/>
          <p:cNvSpPr>
            <a:spLocks noGrp="1" noChangeArrowheads="1"/>
          </p:cNvSpPr>
          <p:nvPr>
            <p:ph type="ctrTitle" hasCustomPrompt="1"/>
          </p:nvPr>
        </p:nvSpPr>
        <p:spPr bwMode="gray">
          <a:xfrm>
            <a:off x="334608" y="3676990"/>
            <a:ext cx="11863742" cy="1485567"/>
          </a:xfrm>
          <a:solidFill>
            <a:srgbClr val="233746">
              <a:alpha val="65000"/>
            </a:srgbClr>
          </a:solidFill>
        </p:spPr>
        <p:txBody>
          <a:bodyPr wrap="square" lIns="270000" tIns="144000" rIns="4824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a:t>
            </a:r>
            <a:br>
              <a:rPr lang="en-US" noProof="0" dirty="0" smtClean="0"/>
            </a:br>
            <a:r>
              <a:rPr lang="en-US" noProof="0" dirty="0" smtClean="0"/>
              <a:t>the title</a:t>
            </a:r>
          </a:p>
        </p:txBody>
      </p:sp>
      <p:sp>
        <p:nvSpPr>
          <p:cNvPr id="57351" name="Rectangle 116"/>
          <p:cNvSpPr>
            <a:spLocks noGrp="1" noChangeArrowheads="1"/>
          </p:cNvSpPr>
          <p:nvPr>
            <p:ph type="subTitle" idx="1" hasCustomPrompt="1"/>
          </p:nvPr>
        </p:nvSpPr>
        <p:spPr bwMode="gray">
          <a:xfrm>
            <a:off x="334608" y="5162557"/>
            <a:ext cx="11863742" cy="393082"/>
          </a:xfrm>
          <a:solidFill>
            <a:srgbClr val="879BAA"/>
          </a:solidFill>
        </p:spPr>
        <p:txBody>
          <a:bodyPr wrap="square" lIns="270000" tIns="18000" rIns="4824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userDrawn="1"/>
        </p:nvSpPr>
        <p:spPr bwMode="auto">
          <a:xfrm>
            <a:off x="8836025" y="6165850"/>
            <a:ext cx="3362325" cy="431801"/>
          </a:xfrm>
          <a:prstGeom prst="rect">
            <a:avLst/>
          </a:prstGeom>
          <a:noFill/>
          <a:ln w="9525">
            <a:noFill/>
            <a:miter lim="800000"/>
            <a:headEnd/>
            <a:tailEnd/>
          </a:ln>
          <a:effectLst/>
        </p:spPr>
        <p:txBody>
          <a:bodyPr lIns="0" tIns="144000" rIns="482400" bIns="0" anchor="ctr"/>
          <a:lstStyle/>
          <a:p>
            <a:pPr algn="r"/>
            <a:r>
              <a:rPr lang="en-US" sz="1000" b="1" noProof="0" dirty="0" smtClean="0">
                <a:solidFill>
                  <a:schemeClr val="tx1"/>
                </a:solidFill>
              </a:rPr>
              <a:t>Smarter decisions, better products.</a:t>
            </a:r>
            <a:endParaRPr lang="en-US" sz="1000" b="1" noProof="0" dirty="0">
              <a:solidFill>
                <a:schemeClr val="tx1"/>
              </a:solidFill>
            </a:endParaRPr>
          </a:p>
        </p:txBody>
      </p:sp>
      <p:sp>
        <p:nvSpPr>
          <p:cNvPr id="12"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t>Restricted © Siemens AG 2013 All rights reserved.</a:t>
            </a:r>
          </a:p>
        </p:txBody>
      </p:sp>
      <p:pic>
        <p:nvPicPr>
          <p:cNvPr id="13" name="Grafik 12" descr="SIE_Logo_Layer_Petrol_RGB_A3_76mm.wmf"/>
          <p:cNvPicPr>
            <a:picLocks noChangeAspect="1"/>
          </p:cNvPicPr>
          <p:nvPr userDrawn="1"/>
        </p:nvPicPr>
        <p:blipFill>
          <a:blip r:embed="rId3" cstate="screen"/>
          <a:stretch>
            <a:fillRect/>
          </a:stretch>
        </p:blipFill>
        <p:spPr>
          <a:xfrm>
            <a:off x="627063" y="0"/>
            <a:ext cx="1728000" cy="967835"/>
          </a:xfrm>
          <a:prstGeom prst="rect">
            <a:avLst/>
          </a:prstGeom>
        </p:spPr>
      </p:pic>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3083" y="1412874"/>
            <a:ext cx="3024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3787767" y="1412875"/>
            <a:ext cx="3024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11"/>
          <p:cNvSpPr>
            <a:spLocks noGrp="1"/>
          </p:cNvSpPr>
          <p:nvPr>
            <p:ph sz="quarter" idx="14" hasCustomPrompt="1"/>
          </p:nvPr>
        </p:nvSpPr>
        <p:spPr>
          <a:xfrm>
            <a:off x="6965953" y="1412875"/>
            <a:ext cx="302400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Textplatzhalter 13"/>
          <p:cNvSpPr>
            <a:spLocks noGrp="1"/>
          </p:cNvSpPr>
          <p:nvPr>
            <p:ph type="body" sz="quarter" idx="15"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5"/>
            <a:ext cx="8208000"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627065" y="3860800"/>
            <a:ext cx="8208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7" name="Textplatzhalter 13"/>
          <p:cNvSpPr>
            <a:spLocks noGrp="1"/>
          </p:cNvSpPr>
          <p:nvPr>
            <p:ph type="body" sz="quarter" idx="14"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627063" y="1412875"/>
            <a:ext cx="4032000"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Inhaltsplatzhalter 12"/>
          <p:cNvSpPr>
            <a:spLocks noGrp="1"/>
          </p:cNvSpPr>
          <p:nvPr>
            <p:ph sz="quarter" idx="13" hasCustomPrompt="1"/>
          </p:nvPr>
        </p:nvSpPr>
        <p:spPr>
          <a:xfrm>
            <a:off x="627065" y="3860800"/>
            <a:ext cx="403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Inhaltsplatzhalter 11"/>
          <p:cNvSpPr>
            <a:spLocks noGrp="1"/>
          </p:cNvSpPr>
          <p:nvPr>
            <p:ph sz="quarter" idx="14" hasCustomPrompt="1"/>
          </p:nvPr>
        </p:nvSpPr>
        <p:spPr>
          <a:xfrm>
            <a:off x="4804025" y="1412876"/>
            <a:ext cx="403200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Inhaltsplatzhalter 14"/>
          <p:cNvSpPr>
            <a:spLocks noGrp="1"/>
          </p:cNvSpPr>
          <p:nvPr>
            <p:ph sz="quarter" idx="15" hasCustomPrompt="1"/>
          </p:nvPr>
        </p:nvSpPr>
        <p:spPr>
          <a:xfrm>
            <a:off x="4804025" y="3860800"/>
            <a:ext cx="403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9" name="Textplatzhalter 13"/>
          <p:cNvSpPr>
            <a:spLocks noGrp="1"/>
          </p:cNvSpPr>
          <p:nvPr>
            <p:ph type="body" sz="quarter" idx="16" hasCustomPrompt="1"/>
          </p:nvPr>
        </p:nvSpPr>
        <p:spPr>
          <a:xfrm>
            <a:off x="10433064" y="1412875"/>
            <a:ext cx="1282686"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1_Free Content">
    <p:spTree>
      <p:nvGrpSpPr>
        <p:cNvPr id="1" name=""/>
        <p:cNvGrpSpPr/>
        <p:nvPr/>
      </p:nvGrpSpPr>
      <p:grpSpPr>
        <a:xfrm>
          <a:off x="0" y="0"/>
          <a:ext cx="0" cy="0"/>
          <a:chOff x="0" y="0"/>
          <a:chExt cx="0" cy="0"/>
        </a:xfrm>
      </p:grpSpPr>
      <p:sp>
        <p:nvSpPr>
          <p:cNvPr id="26" name="Shape 26"/>
          <p:cNvSpPr/>
          <p:nvPr/>
        </p:nvSpPr>
        <p:spPr>
          <a:xfrm>
            <a:off x="0" y="1"/>
            <a:ext cx="12204703" cy="1268413"/>
          </a:xfrm>
          <a:prstGeom prst="rect">
            <a:avLst/>
          </a:prstGeom>
          <a:solidFill>
            <a:srgbClr val="ADBECB"/>
          </a:solidFill>
          <a:ln w="12700">
            <a:miter lim="400000"/>
          </a:ln>
        </p:spPr>
        <p:txBody>
          <a:bodyPr lIns="0" tIns="0" rIns="0" bIns="0" anchor="ctr"/>
          <a:lstStyle/>
          <a:p>
            <a:pPr>
              <a:defRPr>
                <a:solidFill>
                  <a:srgbClr val="ADBECB"/>
                </a:solidFill>
                <a:latin typeface="Arial"/>
                <a:ea typeface="Arial"/>
                <a:cs typeface="Arial"/>
                <a:sym typeface="Arial"/>
              </a:defRPr>
            </a:pPr>
            <a:endParaRPr>
              <a:solidFill>
                <a:srgbClr val="ADBECB"/>
              </a:solidFill>
              <a:latin typeface="Arial"/>
              <a:ea typeface="Arial"/>
              <a:cs typeface="Arial"/>
              <a:sym typeface="Arial"/>
            </a:endParaRPr>
          </a:p>
        </p:txBody>
      </p:sp>
      <p:pic>
        <p:nvPicPr>
          <p:cNvPr id="27" name="image1.pdf" descr="SIE_Logo_Layer_Petrol_RGB_A3_76mm.wmf"/>
          <p:cNvPicPr/>
          <p:nvPr/>
        </p:nvPicPr>
        <p:blipFill>
          <a:blip r:embed="rId2" cstate="print">
            <a:extLst/>
          </a:blip>
          <a:stretch>
            <a:fillRect/>
          </a:stretch>
        </p:blipFill>
        <p:spPr>
          <a:xfrm>
            <a:off x="10281102" y="0"/>
            <a:ext cx="1440751" cy="806530"/>
          </a:xfrm>
          <a:prstGeom prst="rect">
            <a:avLst/>
          </a:prstGeom>
          <a:ln w="12700">
            <a:miter lim="400000"/>
          </a:ln>
        </p:spPr>
      </p:pic>
      <p:sp>
        <p:nvSpPr>
          <p:cNvPr id="28" name="Shape 28"/>
          <p:cNvSpPr/>
          <p:nvPr/>
        </p:nvSpPr>
        <p:spPr>
          <a:xfrm>
            <a:off x="7987691" y="6613525"/>
            <a:ext cx="4059764" cy="127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lgn="r">
              <a:spcBef>
                <a:spcPts val="400"/>
              </a:spcBef>
              <a:defRPr sz="800" b="1">
                <a:solidFill>
                  <a:srgbClr val="879BAA"/>
                </a:solidFill>
                <a:latin typeface="Arial"/>
                <a:ea typeface="Arial"/>
                <a:cs typeface="Arial"/>
                <a:sym typeface="Arial"/>
              </a:defRPr>
            </a:lvl1pPr>
          </a:lstStyle>
          <a:p>
            <a:pPr>
              <a:defRPr sz="1800" b="0">
                <a:solidFill>
                  <a:srgbClr val="000000"/>
                </a:solidFill>
              </a:defRPr>
            </a:pPr>
            <a:r>
              <a:t>Unrestricted / © Siemens AG 2014. All Rights Reserved.</a:t>
            </a:r>
          </a:p>
        </p:txBody>
      </p:sp>
      <p:sp>
        <p:nvSpPr>
          <p:cNvPr id="29" name="Shape 29"/>
          <p:cNvSpPr/>
          <p:nvPr/>
        </p:nvSpPr>
        <p:spPr>
          <a:xfrm>
            <a:off x="185840" y="6597650"/>
            <a:ext cx="1766206" cy="1692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nSpc>
                <a:spcPct val="110000"/>
              </a:lnSpc>
              <a:spcBef>
                <a:spcPts val="0"/>
              </a:spcBef>
              <a:defRPr sz="1000">
                <a:latin typeface="Arial"/>
                <a:ea typeface="Arial"/>
                <a:cs typeface="Arial"/>
                <a:sym typeface="Arial"/>
              </a:defRPr>
            </a:lvl1pPr>
          </a:lstStyle>
          <a:p>
            <a:pPr>
              <a:defRPr sz="1800"/>
            </a:pPr>
            <a:r>
              <a:rPr>
                <a:solidFill>
                  <a:srgbClr val="ADBECB"/>
                </a:solidFill>
              </a:rPr>
              <a:t>Page ‹#›</a:t>
            </a:r>
          </a:p>
        </p:txBody>
      </p:sp>
      <p:sp>
        <p:nvSpPr>
          <p:cNvPr id="30" name="Shape 30"/>
          <p:cNvSpPr>
            <a:spLocks noGrp="1"/>
          </p:cNvSpPr>
          <p:nvPr>
            <p:ph type="title"/>
          </p:nvPr>
        </p:nvSpPr>
        <p:spPr>
          <a:prstGeom prst="rect">
            <a:avLst/>
          </a:prstGeom>
        </p:spPr>
        <p:txBody>
          <a:bodyPr/>
          <a:lstStyle/>
          <a:p>
            <a:pPr lvl="0">
              <a:defRPr sz="1800" b="0"/>
            </a:pPr>
            <a:r>
              <a:rPr sz="2000" b="1"/>
              <a:t>标题文本</a:t>
            </a:r>
          </a:p>
        </p:txBody>
      </p:sp>
    </p:spTree>
    <p:extLst>
      <p:ext uri="{BB962C8B-B14F-4D97-AF65-F5344CB8AC3E}">
        <p14:creationId xmlns:p14="http://schemas.microsoft.com/office/powerpoint/2010/main" val="31499698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ngle large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lick </a:t>
            </a:r>
            <a:r>
              <a:rPr lang="de-DE" dirty="0" err="1" smtClean="0"/>
              <a:t>to</a:t>
            </a:r>
            <a:r>
              <a:rPr lang="de-DE" dirty="0" smtClean="0"/>
              <a:t> </a:t>
            </a:r>
            <a:r>
              <a:rPr lang="de-DE" dirty="0" err="1" smtClean="0"/>
              <a:t>edit</a:t>
            </a:r>
            <a:r>
              <a:rPr lang="de-DE" dirty="0" smtClean="0"/>
              <a:t> title</a:t>
            </a:r>
            <a:endParaRPr lang="fr-FR" dirty="0"/>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endParaRPr lang="fr-FR"/>
          </a:p>
        </p:txBody>
      </p:sp>
    </p:spTree>
    <p:extLst>
      <p:ext uri="{BB962C8B-B14F-4D97-AF65-F5344CB8AC3E}">
        <p14:creationId xmlns:p14="http://schemas.microsoft.com/office/powerpoint/2010/main" val="63554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9" name="Rectangle 15"/>
          <p:cNvSpPr>
            <a:spLocks noChangeArrowheads="1"/>
          </p:cNvSpPr>
          <p:nvPr userDrawn="1"/>
        </p:nvSpPr>
        <p:spPr bwMode="auto">
          <a:xfrm>
            <a:off x="0" y="0"/>
            <a:ext cx="12198350" cy="6858000"/>
          </a:xfrm>
          <a:prstGeom prst="rect">
            <a:avLst/>
          </a:prstGeom>
          <a:solidFill>
            <a:srgbClr val="D7D7CD"/>
          </a:solidFill>
          <a:ln w="9525">
            <a:noFill/>
            <a:miter lim="800000"/>
            <a:headEnd/>
            <a:tailEnd/>
          </a:ln>
          <a:effectLst/>
        </p:spPr>
        <p:txBody>
          <a:bodyPr wrap="none" anchor="ctr"/>
          <a:lstStyle/>
          <a:p>
            <a:endParaRPr lang="en-US" noProof="0"/>
          </a:p>
        </p:txBody>
      </p:sp>
      <p:pic>
        <p:nvPicPr>
          <p:cNvPr id="10" name="Grafik 9" descr="Image_Titel.jpg"/>
          <p:cNvPicPr>
            <a:picLocks noChangeAspect="1"/>
          </p:cNvPicPr>
          <p:nvPr userDrawn="1"/>
        </p:nvPicPr>
        <p:blipFill>
          <a:blip r:embed="rId2" cstate="screen"/>
          <a:stretch>
            <a:fillRect/>
          </a:stretch>
        </p:blipFill>
        <p:spPr>
          <a:xfrm>
            <a:off x="0" y="25"/>
            <a:ext cx="12198350" cy="6857999"/>
          </a:xfrm>
          <a:prstGeom prst="rect">
            <a:avLst/>
          </a:prstGeom>
        </p:spPr>
      </p:pic>
      <p:sp>
        <p:nvSpPr>
          <p:cNvPr id="14"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solidFill>
                  <a:schemeClr val="tx1"/>
                </a:solidFill>
              </a:rPr>
              <a:t>Restricted © Siemens AG 2013 All rights reserved.</a:t>
            </a:r>
          </a:p>
        </p:txBody>
      </p:sp>
      <p:sp>
        <p:nvSpPr>
          <p:cNvPr id="57350" name="Rectangle 115"/>
          <p:cNvSpPr>
            <a:spLocks noGrp="1" noChangeArrowheads="1"/>
          </p:cNvSpPr>
          <p:nvPr>
            <p:ph type="ctrTitle" hasCustomPrompt="1"/>
          </p:nvPr>
        </p:nvSpPr>
        <p:spPr bwMode="ltGray">
          <a:xfrm>
            <a:off x="334608" y="2851201"/>
            <a:ext cx="11863742" cy="1485567"/>
          </a:xfrm>
          <a:solidFill>
            <a:srgbClr val="233746">
              <a:alpha val="65000"/>
            </a:srgbClr>
          </a:solidFill>
        </p:spPr>
        <p:txBody>
          <a:bodyPr wrap="square" lIns="270000" tIns="144000" rIns="482400" bIns="108000" anchor="t" anchorCtr="0">
            <a:spAutoFit/>
          </a:bodyPr>
          <a:lstStyle>
            <a:lvl1pPr>
              <a:defRPr sz="4000" smtClean="0">
                <a:solidFill>
                  <a:schemeClr val="bg1"/>
                </a:solidFill>
                <a:latin typeface="Arial" pitchFamily="34" charset="0"/>
              </a:defRPr>
            </a:lvl1pPr>
          </a:lstStyle>
          <a:p>
            <a:r>
              <a:rPr lang="en-US" noProof="0" dirty="0" smtClean="0"/>
              <a:t>Click the style sheet to edit</a:t>
            </a:r>
            <a:br>
              <a:rPr lang="en-US" noProof="0" dirty="0" smtClean="0"/>
            </a:br>
            <a:r>
              <a:rPr lang="en-US" noProof="0" dirty="0" smtClean="0"/>
              <a:t>the title</a:t>
            </a:r>
          </a:p>
        </p:txBody>
      </p:sp>
      <p:sp>
        <p:nvSpPr>
          <p:cNvPr id="57351" name="Rectangle 116"/>
          <p:cNvSpPr>
            <a:spLocks noGrp="1" noChangeArrowheads="1"/>
          </p:cNvSpPr>
          <p:nvPr>
            <p:ph type="subTitle" idx="1" hasCustomPrompt="1"/>
          </p:nvPr>
        </p:nvSpPr>
        <p:spPr bwMode="ltGray">
          <a:xfrm>
            <a:off x="334608" y="2462400"/>
            <a:ext cx="11863742" cy="392400"/>
          </a:xfrm>
          <a:solidFill>
            <a:srgbClr val="233746">
              <a:alpha val="65000"/>
            </a:srgbClr>
          </a:solidFill>
        </p:spPr>
        <p:txBody>
          <a:bodyPr wrap="square" lIns="270000" tIns="18000" rIns="482400" bIns="36000" anchor="b"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userDrawn="1"/>
        </p:nvSpPr>
        <p:spPr bwMode="auto">
          <a:xfrm>
            <a:off x="8836025" y="6165850"/>
            <a:ext cx="3362325" cy="431801"/>
          </a:xfrm>
          <a:prstGeom prst="rect">
            <a:avLst/>
          </a:prstGeom>
          <a:noFill/>
          <a:ln w="9525">
            <a:noFill/>
            <a:miter lim="800000"/>
            <a:headEnd/>
            <a:tailEnd/>
          </a:ln>
          <a:effectLst/>
        </p:spPr>
        <p:txBody>
          <a:bodyPr lIns="0" tIns="144000" rIns="482400" bIns="0" anchor="ctr"/>
          <a:lstStyle/>
          <a:p>
            <a:pPr algn="r"/>
            <a:r>
              <a:rPr lang="en-US" sz="1000" b="1" noProof="0" smtClean="0">
                <a:solidFill>
                  <a:schemeClr val="tx1"/>
                </a:solidFill>
              </a:rPr>
              <a:t>Smarter decisions, better products.</a:t>
            </a:r>
            <a:endParaRPr lang="en-US" sz="1000" b="1" noProof="0" dirty="0">
              <a:solidFill>
                <a:schemeClr val="tx1"/>
              </a:solidFill>
            </a:endParaRPr>
          </a:p>
        </p:txBody>
      </p:sp>
      <p:pic>
        <p:nvPicPr>
          <p:cNvPr id="13" name="Grafik 12" descr="SIE_Logo_Layer_Petrol_RGB_A3_76mm.wmf"/>
          <p:cNvPicPr>
            <a:picLocks noChangeAspect="1"/>
          </p:cNvPicPr>
          <p:nvPr userDrawn="1"/>
        </p:nvPicPr>
        <p:blipFill>
          <a:blip r:embed="rId3" cstate="screen"/>
          <a:stretch>
            <a:fillRect/>
          </a:stretch>
        </p:blipFill>
        <p:spPr>
          <a:xfrm>
            <a:off x="627063" y="0"/>
            <a:ext cx="1728000" cy="967835"/>
          </a:xfrm>
          <a:prstGeom prst="rect">
            <a:avLst/>
          </a:prstGeom>
        </p:spPr>
      </p:pic>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57350" name="Rectangle 115"/>
          <p:cNvSpPr>
            <a:spLocks noGrp="1" noChangeArrowheads="1"/>
          </p:cNvSpPr>
          <p:nvPr>
            <p:ph type="ctrTitle" hasCustomPrompt="1"/>
          </p:nvPr>
        </p:nvSpPr>
        <p:spPr bwMode="ltGray">
          <a:xfrm>
            <a:off x="334608" y="2376001"/>
            <a:ext cx="11863742" cy="1485567"/>
          </a:xfrm>
          <a:solidFill>
            <a:srgbClr val="233746">
              <a:alpha val="65000"/>
            </a:srgbClr>
          </a:solidFill>
        </p:spPr>
        <p:txBody>
          <a:bodyPr wrap="square" lIns="270000" tIns="144000" rIns="4824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a:t>
            </a:r>
            <a:br>
              <a:rPr lang="en-US" noProof="0" dirty="0" smtClean="0"/>
            </a:br>
            <a:r>
              <a:rPr lang="en-US" noProof="0" dirty="0" smtClean="0"/>
              <a:t>the title</a:t>
            </a:r>
          </a:p>
        </p:txBody>
      </p:sp>
      <p:sp>
        <p:nvSpPr>
          <p:cNvPr id="57351" name="Rectangle 116"/>
          <p:cNvSpPr>
            <a:spLocks noGrp="1" noChangeArrowheads="1"/>
          </p:cNvSpPr>
          <p:nvPr>
            <p:ph type="subTitle" idx="1" hasCustomPrompt="1"/>
          </p:nvPr>
        </p:nvSpPr>
        <p:spPr bwMode="ltGray">
          <a:xfrm>
            <a:off x="334608" y="3859200"/>
            <a:ext cx="11863742" cy="399144"/>
          </a:xfrm>
          <a:solidFill>
            <a:srgbClr val="233746">
              <a:alpha val="65000"/>
            </a:srgbClr>
          </a:solidFill>
        </p:spPr>
        <p:txBody>
          <a:bodyPr wrap="square" lIns="270000" tIns="18000" rIns="4824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2" name="Grafik 11" descr="SIE_Logo_Layer_Petrol_RGB_A3_76mm.wmf"/>
          <p:cNvPicPr>
            <a:picLocks noChangeAspect="1"/>
          </p:cNvPicPr>
          <p:nvPr userDrawn="1"/>
        </p:nvPicPr>
        <p:blipFill>
          <a:blip r:embed="rId2" cstate="screen"/>
          <a:stretch>
            <a:fillRect/>
          </a:stretch>
        </p:blipFill>
        <p:spPr>
          <a:xfrm>
            <a:off x="627063" y="0"/>
            <a:ext cx="1728000" cy="967835"/>
          </a:xfrm>
          <a:prstGeom prst="rect">
            <a:avLst/>
          </a:prstGeom>
        </p:spPr>
      </p:pic>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57359" name="Rectangle 15"/>
          <p:cNvSpPr>
            <a:spLocks noChangeArrowheads="1"/>
          </p:cNvSpPr>
          <p:nvPr userDrawn="1"/>
        </p:nvSpPr>
        <p:spPr bwMode="gray">
          <a:xfrm>
            <a:off x="0" y="1"/>
            <a:ext cx="12198350" cy="4149725"/>
          </a:xfrm>
          <a:prstGeom prst="rect">
            <a:avLst/>
          </a:prstGeom>
          <a:solidFill>
            <a:srgbClr val="D7D7CD"/>
          </a:solidFill>
          <a:ln w="9525">
            <a:noFill/>
            <a:miter lim="800000"/>
            <a:headEnd/>
            <a:tailEnd/>
          </a:ln>
          <a:effectLst/>
        </p:spPr>
        <p:txBody>
          <a:bodyPr wrap="none" anchor="ctr"/>
          <a:lstStyle/>
          <a:p>
            <a:endParaRPr lang="en-US" noProof="0"/>
          </a:p>
        </p:txBody>
      </p:sp>
      <p:pic>
        <p:nvPicPr>
          <p:cNvPr id="12" name="Grafik 11" descr="Image_Titel.jpg"/>
          <p:cNvPicPr>
            <a:picLocks noChangeAspect="1"/>
          </p:cNvPicPr>
          <p:nvPr userDrawn="1"/>
        </p:nvPicPr>
        <p:blipFill>
          <a:blip r:embed="rId2" cstate="screen"/>
          <a:stretch>
            <a:fillRect/>
          </a:stretch>
        </p:blipFill>
        <p:spPr>
          <a:xfrm>
            <a:off x="253" y="25"/>
            <a:ext cx="12197844" cy="4151290"/>
          </a:xfrm>
          <a:prstGeom prst="rect">
            <a:avLst/>
          </a:prstGeom>
        </p:spPr>
      </p:pic>
      <p:sp>
        <p:nvSpPr>
          <p:cNvPr id="57350" name="Rectangle 115"/>
          <p:cNvSpPr>
            <a:spLocks noGrp="1" noChangeArrowheads="1"/>
          </p:cNvSpPr>
          <p:nvPr>
            <p:ph type="ctrTitle" hasCustomPrompt="1"/>
          </p:nvPr>
        </p:nvSpPr>
        <p:spPr bwMode="gray">
          <a:xfrm>
            <a:off x="334608" y="4149726"/>
            <a:ext cx="11863742" cy="1485567"/>
          </a:xfrm>
          <a:solidFill>
            <a:srgbClr val="879BAA"/>
          </a:solidFill>
        </p:spPr>
        <p:txBody>
          <a:bodyPr wrap="square" lIns="270000" tIns="144000" rIns="482400" bIns="108000" anchor="t">
            <a:spAutoFit/>
          </a:bodyPr>
          <a:lstStyle>
            <a:lvl1pPr>
              <a:defRPr sz="4000" smtClean="0">
                <a:solidFill>
                  <a:schemeClr val="bg1"/>
                </a:solidFill>
                <a:latin typeface="Arial" pitchFamily="34" charset="0"/>
              </a:defRPr>
            </a:lvl1pPr>
          </a:lstStyle>
          <a:p>
            <a:r>
              <a:rPr lang="en-US" noProof="0" dirty="0" smtClean="0"/>
              <a:t>Click the style sheet to edit the</a:t>
            </a:r>
            <a:br>
              <a:rPr lang="en-US" noProof="0" dirty="0" smtClean="0"/>
            </a:br>
            <a:r>
              <a:rPr lang="en-US" noProof="0" dirty="0" smtClean="0"/>
              <a:t>chapter title</a:t>
            </a:r>
          </a:p>
        </p:txBody>
      </p:sp>
      <p:sp>
        <p:nvSpPr>
          <p:cNvPr id="57351" name="Rectangle 116"/>
          <p:cNvSpPr>
            <a:spLocks noGrp="1" noChangeArrowheads="1"/>
          </p:cNvSpPr>
          <p:nvPr>
            <p:ph type="subTitle" idx="1" hasCustomPrompt="1"/>
          </p:nvPr>
        </p:nvSpPr>
        <p:spPr bwMode="gray">
          <a:xfrm>
            <a:off x="334608" y="3756643"/>
            <a:ext cx="11863742" cy="393082"/>
          </a:xfrm>
          <a:solidFill>
            <a:srgbClr val="233746">
              <a:alpha val="65000"/>
            </a:srgbClr>
          </a:solidFill>
        </p:spPr>
        <p:txBody>
          <a:bodyPr wrap="square" lIns="270000" tIns="18000" rIns="4824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10"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t>Restricted © Siemens AG 2013 All rights reserved.</a:t>
            </a:r>
          </a:p>
        </p:txBody>
      </p:sp>
      <p:sp>
        <p:nvSpPr>
          <p:cNvPr id="11" name="Textfeld 10"/>
          <p:cNvSpPr txBox="1"/>
          <p:nvPr userDrawn="1"/>
        </p:nvSpPr>
        <p:spPr>
          <a:xfrm>
            <a:off x="0" y="6598800"/>
            <a:ext cx="3787767" cy="25920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chemeClr val="tx1"/>
                </a:solidFill>
              </a:rPr>
              <a:t>20XX-XX-XX</a:t>
            </a:r>
          </a:p>
        </p:txBody>
      </p:sp>
      <p:sp>
        <p:nvSpPr>
          <p:cNvPr id="16" name="Textfeld 15"/>
          <p:cNvSpPr txBox="1"/>
          <p:nvPr userDrawn="1"/>
        </p:nvSpPr>
        <p:spPr>
          <a:xfrm>
            <a:off x="1" y="6598800"/>
            <a:ext cx="1765284" cy="25920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7" name="Textfeld 16"/>
          <p:cNvSpPr txBox="1"/>
          <p:nvPr userDrawn="1"/>
        </p:nvSpPr>
        <p:spPr>
          <a:xfrm>
            <a:off x="3932230" y="6598800"/>
            <a:ext cx="8266120" cy="259200"/>
          </a:xfrm>
          <a:prstGeom prst="rect">
            <a:avLst/>
          </a:prstGeom>
          <a:noFill/>
        </p:spPr>
        <p:txBody>
          <a:bodyPr wrap="square" lIns="0" tIns="0" rIns="482400" bIns="115200" rtlCol="0">
            <a:noAutofit/>
          </a:bodyPr>
          <a:lstStyle/>
          <a:p>
            <a:pPr algn="r">
              <a:lnSpc>
                <a:spcPct val="110000"/>
              </a:lnSpc>
              <a:spcBef>
                <a:spcPts val="0"/>
              </a:spcBef>
            </a:pPr>
            <a:r>
              <a:rPr lang="en-US" sz="1000" noProof="0" dirty="0" smtClean="0">
                <a:solidFill>
                  <a:schemeClr val="tx1"/>
                </a:solidFill>
              </a:rPr>
              <a:t>Siemens PLM Software</a:t>
            </a:r>
          </a:p>
        </p:txBody>
      </p:sp>
      <p:pic>
        <p:nvPicPr>
          <p:cNvPr id="19" name="Grafik 18" descr="SIE_Logo_Layer_Petrol_RGB_A3_76mm.wmf"/>
          <p:cNvPicPr>
            <a:picLocks noChangeAspect="1"/>
          </p:cNvPicPr>
          <p:nvPr userDrawn="1"/>
        </p:nvPicPr>
        <p:blipFill>
          <a:blip r:embed="rId3" cstate="screen"/>
          <a:stretch>
            <a:fillRect/>
          </a:stretch>
        </p:blipFill>
        <p:spPr>
          <a:xfrm>
            <a:off x="10275750" y="4"/>
            <a:ext cx="1440000" cy="806531"/>
          </a:xfrm>
          <a:prstGeom prst="rect">
            <a:avLst/>
          </a:prstGeom>
        </p:spPr>
      </p:pic>
    </p:spTree>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Chapter title (big bar up)" type="title" preserve="1">
  <p:cSld name="Chapter title (big bar up)">
    <p:spTree>
      <p:nvGrpSpPr>
        <p:cNvPr id="1" name=""/>
        <p:cNvGrpSpPr/>
        <p:nvPr/>
      </p:nvGrpSpPr>
      <p:grpSpPr>
        <a:xfrm>
          <a:off x="0" y="0"/>
          <a:ext cx="0" cy="0"/>
          <a:chOff x="0" y="0"/>
          <a:chExt cx="0" cy="0"/>
        </a:xfrm>
      </p:grpSpPr>
      <p:sp>
        <p:nvSpPr>
          <p:cNvPr id="8" name="Rectangle 15"/>
          <p:cNvSpPr>
            <a:spLocks noChangeArrowheads="1"/>
          </p:cNvSpPr>
          <p:nvPr userDrawn="1"/>
        </p:nvSpPr>
        <p:spPr bwMode="gray">
          <a:xfrm>
            <a:off x="0" y="0"/>
            <a:ext cx="12198350" cy="5162556"/>
          </a:xfrm>
          <a:prstGeom prst="rect">
            <a:avLst/>
          </a:prstGeom>
          <a:solidFill>
            <a:srgbClr val="D7D7CD"/>
          </a:solidFill>
          <a:ln w="9525">
            <a:noFill/>
            <a:miter lim="800000"/>
            <a:headEnd/>
            <a:tailEnd/>
          </a:ln>
          <a:effectLst/>
        </p:spPr>
        <p:txBody>
          <a:bodyPr wrap="none" anchor="ctr"/>
          <a:lstStyle/>
          <a:p>
            <a:endParaRPr lang="en-US" noProof="0"/>
          </a:p>
        </p:txBody>
      </p:sp>
      <p:sp>
        <p:nvSpPr>
          <p:cNvPr id="57350" name="Rectangle 115"/>
          <p:cNvSpPr>
            <a:spLocks noGrp="1" noChangeArrowheads="1"/>
          </p:cNvSpPr>
          <p:nvPr>
            <p:ph type="ctrTitle" hasCustomPrompt="1"/>
          </p:nvPr>
        </p:nvSpPr>
        <p:spPr bwMode="gray">
          <a:xfrm>
            <a:off x="334608" y="3676990"/>
            <a:ext cx="11863742" cy="1485567"/>
          </a:xfrm>
          <a:solidFill>
            <a:srgbClr val="233746">
              <a:alpha val="65000"/>
            </a:srgbClr>
          </a:solidFill>
        </p:spPr>
        <p:txBody>
          <a:bodyPr wrap="square" lIns="270000" tIns="144000" rIns="4824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a:t>
            </a:r>
            <a:br>
              <a:rPr lang="en-US" noProof="0" dirty="0" smtClean="0"/>
            </a:br>
            <a:r>
              <a:rPr lang="en-US" noProof="0" dirty="0" smtClean="0"/>
              <a:t>chapter title</a:t>
            </a:r>
          </a:p>
        </p:txBody>
      </p:sp>
      <p:sp>
        <p:nvSpPr>
          <p:cNvPr id="57351" name="Rectangle 116"/>
          <p:cNvSpPr>
            <a:spLocks noGrp="1" noChangeArrowheads="1"/>
          </p:cNvSpPr>
          <p:nvPr>
            <p:ph type="subTitle" idx="1" hasCustomPrompt="1"/>
          </p:nvPr>
        </p:nvSpPr>
        <p:spPr bwMode="gray">
          <a:xfrm>
            <a:off x="334608" y="5162557"/>
            <a:ext cx="11863742" cy="393082"/>
          </a:xfrm>
          <a:solidFill>
            <a:srgbClr val="879BAA"/>
          </a:solidFill>
        </p:spPr>
        <p:txBody>
          <a:bodyPr wrap="square" lIns="270000" tIns="18000" rIns="4824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10" name="Textfeld 9"/>
          <p:cNvSpPr txBox="1"/>
          <p:nvPr userDrawn="1"/>
        </p:nvSpPr>
        <p:spPr>
          <a:xfrm>
            <a:off x="0" y="6598800"/>
            <a:ext cx="3787767" cy="25920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chemeClr val="tx1"/>
                </a:solidFill>
              </a:rPr>
              <a:t>20XX-XX-XX</a:t>
            </a:r>
          </a:p>
        </p:txBody>
      </p:sp>
      <p:sp>
        <p:nvSpPr>
          <p:cNvPr id="11" name="Textfeld 10"/>
          <p:cNvSpPr txBox="1"/>
          <p:nvPr userDrawn="1"/>
        </p:nvSpPr>
        <p:spPr>
          <a:xfrm>
            <a:off x="1" y="6598800"/>
            <a:ext cx="1765284" cy="25920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7" name="Textfeld 16"/>
          <p:cNvSpPr txBox="1"/>
          <p:nvPr userDrawn="1"/>
        </p:nvSpPr>
        <p:spPr>
          <a:xfrm>
            <a:off x="3932230" y="6598800"/>
            <a:ext cx="8266120" cy="259200"/>
          </a:xfrm>
          <a:prstGeom prst="rect">
            <a:avLst/>
          </a:prstGeom>
          <a:noFill/>
        </p:spPr>
        <p:txBody>
          <a:bodyPr wrap="square" lIns="0" tIns="0" rIns="482400" bIns="115200" rtlCol="0">
            <a:noAutofit/>
          </a:bodyPr>
          <a:lstStyle/>
          <a:p>
            <a:pPr algn="r">
              <a:lnSpc>
                <a:spcPct val="110000"/>
              </a:lnSpc>
              <a:spcBef>
                <a:spcPts val="0"/>
              </a:spcBef>
            </a:pPr>
            <a:r>
              <a:rPr lang="en-US" sz="1000" noProof="0" dirty="0" smtClean="0">
                <a:solidFill>
                  <a:schemeClr val="tx1"/>
                </a:solidFill>
              </a:rPr>
              <a:t>Siemens PLM Software</a:t>
            </a:r>
          </a:p>
        </p:txBody>
      </p:sp>
      <p:pic>
        <p:nvPicPr>
          <p:cNvPr id="18" name="Grafik 17" descr="SIE_Logo_Layer_Petrol_RGB_A3_76mm.wmf"/>
          <p:cNvPicPr>
            <a:picLocks noChangeAspect="1"/>
          </p:cNvPicPr>
          <p:nvPr userDrawn="1"/>
        </p:nvPicPr>
        <p:blipFill>
          <a:blip r:embed="rId2" cstate="screen"/>
          <a:stretch>
            <a:fillRect/>
          </a:stretch>
        </p:blipFill>
        <p:spPr>
          <a:xfrm>
            <a:off x="10275750" y="4"/>
            <a:ext cx="1440000" cy="806531"/>
          </a:xfrm>
          <a:prstGeom prst="rect">
            <a:avLst/>
          </a:prstGeom>
        </p:spPr>
      </p:pic>
      <p:sp>
        <p:nvSpPr>
          <p:cNvPr id="19"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t>Restricted © Siemens AG 2013 All rights reserved.</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1" name="Bildplatzhalter 10"/>
          <p:cNvSpPr>
            <a:spLocks noGrp="1"/>
          </p:cNvSpPr>
          <p:nvPr>
            <p:ph type="pic" sz="quarter" idx="13"/>
          </p:nvPr>
        </p:nvSpPr>
        <p:spPr>
          <a:xfrm>
            <a:off x="0" y="1412875"/>
            <a:ext cx="4510082" cy="4752975"/>
          </a:xfrm>
        </p:spPr>
        <p:txBody>
          <a:bodyPr/>
          <a:lstStyle/>
          <a:p>
            <a:endParaRPr lang="en-US" noProof="0"/>
          </a:p>
        </p:txBody>
      </p:sp>
      <p:sp>
        <p:nvSpPr>
          <p:cNvPr id="13" name="Textplatzhalter 12"/>
          <p:cNvSpPr>
            <a:spLocks noGrp="1"/>
          </p:cNvSpPr>
          <p:nvPr>
            <p:ph type="body" sz="quarter" idx="14" hasCustomPrompt="1"/>
          </p:nvPr>
        </p:nvSpPr>
        <p:spPr bwMode="gray">
          <a:xfrm>
            <a:off x="4654545" y="1412875"/>
            <a:ext cx="7543805" cy="4752975"/>
          </a:xfrm>
          <a:solidFill>
            <a:srgbClr val="D7D7CD"/>
          </a:solidFill>
        </p:spPr>
        <p:txBody>
          <a:bodyPr lIns="252000" tIns="144000" rIns="482400" bIns="144000"/>
          <a:lstStyle>
            <a:lvl1pPr>
              <a:lnSpc>
                <a:spcPct val="100000"/>
              </a:lnSpc>
              <a:spcBef>
                <a:spcPts val="500"/>
              </a:spcBef>
              <a:spcAft>
                <a:spcPts val="500"/>
              </a:spcAft>
              <a:buClr>
                <a:schemeClr val="bg2"/>
              </a:buClr>
              <a:buFont typeface="Arial" pitchFamily="34" charset="0"/>
              <a:buNone/>
              <a:tabLst>
                <a:tab pos="5359400" algn="r"/>
              </a:tabLst>
              <a:defRPr/>
            </a:lvl1pPr>
            <a:lvl2pPr marL="177800" indent="-176213">
              <a:lnSpc>
                <a:spcPct val="100000"/>
              </a:lnSpc>
              <a:spcBef>
                <a:spcPts val="500"/>
              </a:spcBef>
              <a:spcAft>
                <a:spcPts val="500"/>
              </a:spcAft>
              <a:buFont typeface="Arial" pitchFamily="34" charset="0"/>
              <a:buChar char="•"/>
              <a:tabLst>
                <a:tab pos="5359400" algn="r"/>
              </a:tabLst>
              <a:defRPr b="0"/>
            </a:lvl2pPr>
            <a:lvl3pPr marL="177800" indent="-177800">
              <a:lnSpc>
                <a:spcPct val="100000"/>
              </a:lnSpc>
              <a:spcBef>
                <a:spcPts val="500"/>
              </a:spcBef>
              <a:spcAft>
                <a:spcPts val="500"/>
              </a:spcAft>
              <a:tabLst>
                <a:tab pos="5359400" algn="r"/>
              </a:tabLst>
              <a:defRPr b="1"/>
            </a:lvl3pPr>
            <a:lvl4pPr marL="357188" indent="-179388">
              <a:lnSpc>
                <a:spcPct val="100000"/>
              </a:lnSpc>
              <a:spcBef>
                <a:spcPts val="500"/>
              </a:spcBef>
              <a:spcAft>
                <a:spcPts val="500"/>
              </a:spcAft>
              <a:tabLst>
                <a:tab pos="5359400" algn="r"/>
              </a:tabLst>
              <a:defRPr b="0"/>
            </a:lvl4pPr>
            <a:lvl5pPr marL="357188" indent="-177800">
              <a:lnSpc>
                <a:spcPct val="100000"/>
              </a:lnSpc>
              <a:spcBef>
                <a:spcPts val="500"/>
              </a:spcBef>
              <a:spcAft>
                <a:spcPts val="500"/>
              </a:spcAft>
              <a:tabLst>
                <a:tab pos="5359400" algn="r"/>
              </a:tabLst>
              <a:defRPr b="1" baseline="0"/>
            </a:lvl5pPr>
            <a:lvl6pPr marL="360363" indent="-180975">
              <a:lnSpc>
                <a:spcPct val="100000"/>
              </a:lnSpc>
              <a:spcBef>
                <a:spcPts val="500"/>
              </a:spcBef>
              <a:spcAft>
                <a:spcPts val="500"/>
              </a:spcAft>
              <a:buFont typeface="Arial" pitchFamily="34" charset="0"/>
              <a:buChar char="•"/>
              <a:tabLst>
                <a:tab pos="5359400" algn="r"/>
              </a:tabLst>
              <a:defRPr b="0"/>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gray">
          <a:xfrm>
            <a:off x="4654545" y="1412875"/>
            <a:ext cx="7543805" cy="4752975"/>
          </a:xfrm>
          <a:solidFill>
            <a:srgbClr val="D7D7CD"/>
          </a:solidFill>
        </p:spPr>
        <p:txBody>
          <a:bodyPr lIns="252000" tIns="144000" rIns="482400" bIns="144000"/>
          <a:lstStyle>
            <a:lvl1pPr>
              <a:lnSpc>
                <a:spcPct val="100000"/>
              </a:lnSpc>
              <a:spcBef>
                <a:spcPts val="500"/>
              </a:spcBef>
              <a:spcAft>
                <a:spcPts val="500"/>
              </a:spcAft>
              <a:buClr>
                <a:schemeClr val="bg2"/>
              </a:buClr>
              <a:buFont typeface="Arial" pitchFamily="34" charset="0"/>
              <a:buNone/>
              <a:tabLst>
                <a:tab pos="5359400" algn="r"/>
              </a:tabLst>
              <a:defRPr/>
            </a:lvl1pPr>
            <a:lvl2pPr marL="177800" indent="-176213">
              <a:lnSpc>
                <a:spcPct val="100000"/>
              </a:lnSpc>
              <a:spcBef>
                <a:spcPts val="500"/>
              </a:spcBef>
              <a:spcAft>
                <a:spcPts val="500"/>
              </a:spcAft>
              <a:buFont typeface="Arial" pitchFamily="34" charset="0"/>
              <a:buChar char="•"/>
              <a:tabLst>
                <a:tab pos="5359400" algn="r"/>
              </a:tabLst>
              <a:defRPr b="0"/>
            </a:lvl2pPr>
            <a:lvl3pPr marL="177800" indent="-177800">
              <a:lnSpc>
                <a:spcPct val="100000"/>
              </a:lnSpc>
              <a:spcBef>
                <a:spcPts val="500"/>
              </a:spcBef>
              <a:spcAft>
                <a:spcPts val="500"/>
              </a:spcAft>
              <a:tabLst>
                <a:tab pos="5359400" algn="r"/>
              </a:tabLst>
              <a:defRPr b="1"/>
            </a:lvl3pPr>
            <a:lvl4pPr marL="357188" indent="-177800">
              <a:lnSpc>
                <a:spcPct val="100000"/>
              </a:lnSpc>
              <a:spcBef>
                <a:spcPts val="500"/>
              </a:spcBef>
              <a:spcAft>
                <a:spcPts val="500"/>
              </a:spcAft>
              <a:tabLst>
                <a:tab pos="5359400" algn="r"/>
              </a:tabLst>
              <a:defRPr b="0"/>
            </a:lvl4pPr>
            <a:lvl5pPr marL="357188" indent="-177800">
              <a:lnSpc>
                <a:spcPct val="100000"/>
              </a:lnSpc>
              <a:spcBef>
                <a:spcPts val="500"/>
              </a:spcBef>
              <a:spcAft>
                <a:spcPts val="500"/>
              </a:spcAft>
              <a:tabLst>
                <a:tab pos="5359400" algn="r"/>
              </a:tabLst>
              <a:defRPr b="1" baseline="0"/>
            </a:lvl5pPr>
            <a:lvl6pPr marL="360363" indent="-180975">
              <a:lnSpc>
                <a:spcPct val="100000"/>
              </a:lnSpc>
              <a:spcBef>
                <a:spcPts val="500"/>
              </a:spcBef>
              <a:spcAft>
                <a:spcPts val="500"/>
              </a:spcAft>
              <a:buFont typeface="Arial" pitchFamily="34" charset="0"/>
              <a:buChar char="•"/>
              <a:tabLst>
                <a:tab pos="5359400" algn="r"/>
              </a:tabLst>
              <a:defRPr b="0"/>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627063" y="1412875"/>
            <a:ext cx="3883019"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w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userDrawn="1"/>
        </p:nvSpPr>
        <p:spPr>
          <a:xfrm>
            <a:off x="0" y="6598800"/>
            <a:ext cx="3787767" cy="25920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chemeClr val="tx1"/>
                </a:solidFill>
              </a:rPr>
              <a:t>2014-06-05</a:t>
            </a:r>
          </a:p>
        </p:txBody>
      </p:sp>
      <p:sp>
        <p:nvSpPr>
          <p:cNvPr id="9" name="Text Box 133"/>
          <p:cNvSpPr txBox="1">
            <a:spLocks noChangeArrowheads="1"/>
          </p:cNvSpPr>
          <p:nvPr userDrawn="1"/>
        </p:nvSpPr>
        <p:spPr bwMode="auto">
          <a:xfrm>
            <a:off x="0" y="6165850"/>
            <a:ext cx="12198350" cy="431801"/>
          </a:xfrm>
          <a:prstGeom prst="rect">
            <a:avLst/>
          </a:prstGeom>
          <a:noFill/>
          <a:ln w="9525">
            <a:noFill/>
            <a:miter lim="800000"/>
            <a:headEnd/>
            <a:tailEnd/>
          </a:ln>
          <a:effectLst/>
        </p:spPr>
        <p:txBody>
          <a:bodyPr lIns="626400" tIns="144000" rIns="3211200" bIns="0" anchor="ctr"/>
          <a:lstStyle/>
          <a:p>
            <a:r>
              <a:rPr lang="en-US" sz="1000" b="1" noProof="0" dirty="0" smtClean="0"/>
              <a:t>Restricted © Siemens AG 2014 All rights reserved.</a:t>
            </a:r>
          </a:p>
        </p:txBody>
      </p:sp>
      <p:sp>
        <p:nvSpPr>
          <p:cNvPr id="7" name="Rectangle 12"/>
          <p:cNvSpPr>
            <a:spLocks noChangeArrowheads="1"/>
          </p:cNvSpPr>
          <p:nvPr userDrawn="1"/>
        </p:nvSpPr>
        <p:spPr bwMode="gray">
          <a:xfrm>
            <a:off x="0" y="1"/>
            <a:ext cx="12198350" cy="1268413"/>
          </a:xfrm>
          <a:prstGeom prst="rect">
            <a:avLst/>
          </a:prstGeom>
          <a:solidFill>
            <a:srgbClr val="ADBECB"/>
          </a:solidFill>
          <a:ln w="9525">
            <a:noFill/>
            <a:miter lim="800000"/>
            <a:headEnd/>
            <a:tailEnd/>
          </a:ln>
          <a:effectLst/>
        </p:spPr>
        <p:txBody>
          <a:bodyPr wrap="none" tIns="396000" rIns="2214000" anchor="ctr"/>
          <a:lstStyle/>
          <a:p>
            <a:endParaRPr lang="en-US" noProof="0"/>
          </a:p>
        </p:txBody>
      </p:sp>
      <p:sp>
        <p:nvSpPr>
          <p:cNvPr id="3078" name="Rectangle 115"/>
          <p:cNvSpPr>
            <a:spLocks noGrp="1" noChangeArrowheads="1"/>
          </p:cNvSpPr>
          <p:nvPr>
            <p:ph type="title"/>
          </p:nvPr>
        </p:nvSpPr>
        <p:spPr bwMode="auto">
          <a:xfrm>
            <a:off x="0" y="1"/>
            <a:ext cx="12198350" cy="1262055"/>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627064" y="1412874"/>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userDrawn="1"/>
        </p:nvSpPr>
        <p:spPr>
          <a:xfrm>
            <a:off x="1" y="6598800"/>
            <a:ext cx="1765284" cy="25920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4" name="Textfeld 13"/>
          <p:cNvSpPr txBox="1"/>
          <p:nvPr userDrawn="1"/>
        </p:nvSpPr>
        <p:spPr>
          <a:xfrm>
            <a:off x="3932230" y="6598800"/>
            <a:ext cx="8266120" cy="259200"/>
          </a:xfrm>
          <a:prstGeom prst="rect">
            <a:avLst/>
          </a:prstGeom>
          <a:noFill/>
        </p:spPr>
        <p:txBody>
          <a:bodyPr wrap="square" lIns="0" tIns="0" rIns="482400" bIns="115200" rtlCol="0">
            <a:noAutofit/>
          </a:bodyPr>
          <a:lstStyle/>
          <a:p>
            <a:pPr algn="r">
              <a:lnSpc>
                <a:spcPct val="110000"/>
              </a:lnSpc>
              <a:spcBef>
                <a:spcPts val="0"/>
              </a:spcBef>
            </a:pPr>
            <a:r>
              <a:rPr lang="en-US" sz="1000" noProof="0" dirty="0" smtClean="0">
                <a:solidFill>
                  <a:schemeClr val="tx1"/>
                </a:solidFill>
              </a:rPr>
              <a:t>Siemens PLM Software</a:t>
            </a:r>
          </a:p>
        </p:txBody>
      </p:sp>
      <p:pic>
        <p:nvPicPr>
          <p:cNvPr id="11" name="Grafik 10" descr="SIE_Logo_Layer_Petrol_RGB_A3_76mm.wmf"/>
          <p:cNvPicPr>
            <a:picLocks noChangeAspect="1"/>
          </p:cNvPicPr>
          <p:nvPr userDrawn="1"/>
        </p:nvPicPr>
        <p:blipFill>
          <a:blip r:embed="rId26" cstate="screen"/>
          <a:stretch>
            <a:fillRect/>
          </a:stretch>
        </p:blipFill>
        <p:spPr>
          <a:xfrm>
            <a:off x="10275750" y="0"/>
            <a:ext cx="1440000" cy="806529"/>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90" r:id="rId3"/>
    <p:sldLayoutId id="2147483674" r:id="rId4"/>
    <p:sldLayoutId id="2147483676" r:id="rId5"/>
    <p:sldLayoutId id="2147483677" r:id="rId6"/>
    <p:sldLayoutId id="2147483678" r:id="rId7"/>
    <p:sldLayoutId id="2147483679" r:id="rId8"/>
    <p:sldLayoutId id="2147483689" r:id="rId9"/>
    <p:sldLayoutId id="2147483692" r:id="rId10"/>
    <p:sldLayoutId id="2147483670" r:id="rId11"/>
    <p:sldLayoutId id="2147483680" r:id="rId12"/>
    <p:sldLayoutId id="2147483683" r:id="rId13"/>
    <p:sldLayoutId id="2147483681" r:id="rId14"/>
    <p:sldLayoutId id="2147483682" r:id="rId15"/>
    <p:sldLayoutId id="2147483691" r:id="rId16"/>
    <p:sldLayoutId id="2147483684" r:id="rId17"/>
    <p:sldLayoutId id="2147483693" r:id="rId18"/>
    <p:sldLayoutId id="2147483685" r:id="rId19"/>
    <p:sldLayoutId id="2147483694" r:id="rId20"/>
    <p:sldLayoutId id="2147483686" r:id="rId21"/>
    <p:sldLayoutId id="2147483688" r:id="rId22"/>
    <p:sldLayoutId id="2147483697" r:id="rId23"/>
    <p:sldLayoutId id="2147483698" r:id="rId24"/>
  </p:sldLayoutIdLst>
  <p:hf sldNum="0" hdr="0" ftr="0" dt="0"/>
  <p:txStyles>
    <p:titleStyle>
      <a:lvl1pPr algn="l" rtl="0" fontAlgn="base">
        <a:spcBef>
          <a:spcPct val="0"/>
        </a:spcBef>
        <a:spcAft>
          <a:spcPct val="0"/>
        </a:spcAft>
        <a:defRPr sz="2000" b="1">
          <a:solidFill>
            <a:schemeClr val="tx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fontAlgn="base">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slideLayout" Target="../slideLayouts/slideLayout9.xml"/><Relationship Id="rId26" Type="http://schemas.openxmlformats.org/officeDocument/2006/relationships/image" Target="../media/image33.jpeg"/><Relationship Id="rId3" Type="http://schemas.openxmlformats.org/officeDocument/2006/relationships/tags" Target="../tags/tag21.xml"/><Relationship Id="rId21" Type="http://schemas.openxmlformats.org/officeDocument/2006/relationships/image" Target="../media/image28.jpeg"/><Relationship Id="rId34" Type="http://schemas.openxmlformats.org/officeDocument/2006/relationships/image" Target="../media/image41.jpeg"/><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image" Target="../media/image32.png"/><Relationship Id="rId33" Type="http://schemas.openxmlformats.org/officeDocument/2006/relationships/image" Target="../media/image40.jpeg"/><Relationship Id="rId38" Type="http://schemas.openxmlformats.org/officeDocument/2006/relationships/image" Target="../media/image45.png"/><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image" Target="../media/image27.png"/><Relationship Id="rId29" Type="http://schemas.openxmlformats.org/officeDocument/2006/relationships/image" Target="../media/image3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31.png"/><Relationship Id="rId32" Type="http://schemas.openxmlformats.org/officeDocument/2006/relationships/image" Target="../media/image39.jpeg"/><Relationship Id="rId37" Type="http://schemas.openxmlformats.org/officeDocument/2006/relationships/image" Target="../media/image44.jpeg"/><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30.png"/><Relationship Id="rId28" Type="http://schemas.openxmlformats.org/officeDocument/2006/relationships/image" Target="../media/image35.jpeg"/><Relationship Id="rId36" Type="http://schemas.openxmlformats.org/officeDocument/2006/relationships/image" Target="../media/image43.png"/><Relationship Id="rId10" Type="http://schemas.openxmlformats.org/officeDocument/2006/relationships/tags" Target="../tags/tag28.xml"/><Relationship Id="rId19" Type="http://schemas.openxmlformats.org/officeDocument/2006/relationships/notesSlide" Target="../notesSlides/notesSlide10.xml"/><Relationship Id="rId31" Type="http://schemas.openxmlformats.org/officeDocument/2006/relationships/image" Target="../media/image38.jpeg"/><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image" Target="../media/image29.jpeg"/><Relationship Id="rId27" Type="http://schemas.openxmlformats.org/officeDocument/2006/relationships/image" Target="../media/image34.jpeg"/><Relationship Id="rId30" Type="http://schemas.openxmlformats.org/officeDocument/2006/relationships/image" Target="../media/image37.jpeg"/><Relationship Id="rId35" Type="http://schemas.openxmlformats.org/officeDocument/2006/relationships/image" Target="../media/image42.jpeg"/></Relationships>
</file>

<file path=ppt/slides/_rels/slide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1" Type="http://schemas.openxmlformats.org/officeDocument/2006/relationships/slideLayout" Target="../slideLayouts/slideLayout9.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s>
</file>

<file path=ppt/slides/_rels/slide1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18" Type="http://schemas.openxmlformats.org/officeDocument/2006/relationships/image" Target="../media/image79.emf"/><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image" Target="../media/image63.png"/><Relationship Id="rId16" Type="http://schemas.openxmlformats.org/officeDocument/2006/relationships/image" Target="../media/image77.jpeg"/><Relationship Id="rId1" Type="http://schemas.openxmlformats.org/officeDocument/2006/relationships/slideLayout" Target="../slideLayouts/slideLayout10.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16.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plm.automation.siemens.com.cn/plm"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12.png"/><Relationship Id="rId3" Type="http://schemas.openxmlformats.org/officeDocument/2006/relationships/tags" Target="../tags/tag7.xml"/><Relationship Id="rId7" Type="http://schemas.openxmlformats.org/officeDocument/2006/relationships/slideLayout" Target="../slideLayouts/slideLayout9.xml"/><Relationship Id="rId12" Type="http://schemas.openxmlformats.org/officeDocument/2006/relationships/image" Target="../media/image1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10.png"/><Relationship Id="rId5" Type="http://schemas.openxmlformats.org/officeDocument/2006/relationships/tags" Target="../tags/tag9.xml"/><Relationship Id="rId15" Type="http://schemas.openxmlformats.org/officeDocument/2006/relationships/image" Target="../media/image14.png"/><Relationship Id="rId10" Type="http://schemas.openxmlformats.org/officeDocument/2006/relationships/image" Target="../media/image9.jpeg"/><Relationship Id="rId4" Type="http://schemas.openxmlformats.org/officeDocument/2006/relationships/tags" Target="../tags/tag8.xml"/><Relationship Id="rId9" Type="http://schemas.openxmlformats.org/officeDocument/2006/relationships/image" Target="../media/image8.png"/><Relationship Id="rId1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2.xml"/><Relationship Id="rId7" Type="http://schemas.openxmlformats.org/officeDocument/2006/relationships/oleObject" Target="../embeddings/oleObject1.bin"/><Relationship Id="rId12" Type="http://schemas.openxmlformats.org/officeDocument/2006/relationships/image" Target="../media/image19.jpeg"/><Relationship Id="rId2" Type="http://schemas.openxmlformats.org/officeDocument/2006/relationships/tags" Target="../tags/tag11.xml"/><Relationship Id="rId1" Type="http://schemas.openxmlformats.org/officeDocument/2006/relationships/vmlDrawing" Target="../drawings/vmlDrawing1.vml"/><Relationship Id="rId6" Type="http://schemas.openxmlformats.org/officeDocument/2006/relationships/notesSlide" Target="../notesSlides/notesSlide5.xml"/><Relationship Id="rId11" Type="http://schemas.openxmlformats.org/officeDocument/2006/relationships/image" Target="../media/image18.jpeg"/><Relationship Id="rId5" Type="http://schemas.openxmlformats.org/officeDocument/2006/relationships/slideLayout" Target="../slideLayouts/slideLayout8.xml"/><Relationship Id="rId10" Type="http://schemas.openxmlformats.org/officeDocument/2006/relationships/image" Target="../media/image17.png"/><Relationship Id="rId4" Type="http://schemas.openxmlformats.org/officeDocument/2006/relationships/tags" Target="../tags/tag13.xml"/><Relationship Id="rId9" Type="http://schemas.openxmlformats.org/officeDocument/2006/relationships/image" Target="../media/image16.jpeg"/></Relationships>
</file>

<file path=ppt/slides/_rels/slide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5.xml"/><Relationship Id="rId7" Type="http://schemas.openxmlformats.org/officeDocument/2006/relationships/oleObject" Target="../embeddings/oleObject2.bin"/><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notesSlide" Target="../notesSlides/notesSlide6.xml"/><Relationship Id="rId5" Type="http://schemas.openxmlformats.org/officeDocument/2006/relationships/slideLayout" Target="../slideLayouts/slideLayout8.xml"/><Relationship Id="rId4" Type="http://schemas.openxmlformats.org/officeDocument/2006/relationships/tags" Target="../tags/tag16.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8.xml"/><Relationship Id="rId7" Type="http://schemas.openxmlformats.org/officeDocument/2006/relationships/image" Target="../media/image2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34608" y="4151315"/>
            <a:ext cx="11863742" cy="1731788"/>
          </a:xfrm>
        </p:spPr>
        <p:txBody>
          <a:bodyPr/>
          <a:lstStyle/>
          <a:p>
            <a:r>
              <a:rPr lang="en-US" altLang="zh-CN" sz="2400" dirty="0" smtClean="0">
                <a:latin typeface="SimSun" panose="02010600030101010101" pitchFamily="2" charset="-122"/>
                <a:ea typeface="SimSun" panose="02010600030101010101" pitchFamily="2" charset="-122"/>
              </a:rPr>
              <a:t/>
            </a:r>
            <a:br>
              <a:rPr lang="en-US" altLang="zh-CN" sz="2400" dirty="0" smtClean="0">
                <a:latin typeface="SimSun" panose="02010600030101010101" pitchFamily="2" charset="-122"/>
                <a:ea typeface="SimSun" panose="02010600030101010101" pitchFamily="2" charset="-122"/>
              </a:rPr>
            </a:br>
            <a:r>
              <a:rPr lang="en-US" altLang="zh-CN" sz="2400" dirty="0" smtClean="0">
                <a:latin typeface="SimSun" panose="02010600030101010101" pitchFamily="2" charset="-122"/>
                <a:ea typeface="SimSun" panose="02010600030101010101" pitchFamily="2" charset="-122"/>
              </a:rPr>
              <a:t/>
            </a:r>
            <a:br>
              <a:rPr lang="en-US" altLang="zh-CN" sz="2400" dirty="0" smtClean="0">
                <a:latin typeface="SimSun" panose="02010600030101010101" pitchFamily="2" charset="-122"/>
                <a:ea typeface="SimSun" panose="02010600030101010101" pitchFamily="2" charset="-122"/>
              </a:rPr>
            </a:br>
            <a:r>
              <a:rPr lang="en-US" altLang="zh-CN" sz="2400" dirty="0" smtClean="0">
                <a:ea typeface="SimSun" panose="02010600030101010101" pitchFamily="2" charset="-122"/>
              </a:rPr>
              <a:t>Siemens </a:t>
            </a:r>
            <a:r>
              <a:rPr lang="en-US" altLang="zh-CN" sz="2400" dirty="0">
                <a:ea typeface="SimSun" panose="02010600030101010101" pitchFamily="2" charset="-122"/>
              </a:rPr>
              <a:t>PLM Software</a:t>
            </a:r>
            <a:r>
              <a:rPr lang="en-US" altLang="zh-CN" sz="2400" dirty="0">
                <a:latin typeface="SimSun" panose="02010600030101010101" pitchFamily="2" charset="-122"/>
                <a:ea typeface="SimSun" panose="02010600030101010101" pitchFamily="2" charset="-122"/>
              </a:rPr>
              <a:t/>
            </a:r>
            <a:br>
              <a:rPr lang="en-US" altLang="zh-CN" sz="2400" dirty="0">
                <a:latin typeface="SimSun" panose="02010600030101010101" pitchFamily="2" charset="-122"/>
                <a:ea typeface="SimSun" panose="02010600030101010101" pitchFamily="2" charset="-122"/>
              </a:rPr>
            </a:br>
            <a:endParaRPr lang="en-US" sz="24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92012691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华文楷体" panose="02010600040101010101" pitchFamily="2" charset="-122"/>
                <a:ea typeface="华文楷体" panose="02010600040101010101" pitchFamily="2" charset="-122"/>
              </a:rPr>
              <a:t>通往工业</a:t>
            </a:r>
            <a:r>
              <a:rPr lang="en-US" altLang="zh-CN" dirty="0" smtClean="0">
                <a:latin typeface="华文楷体" panose="02010600040101010101" pitchFamily="2" charset="-122"/>
                <a:ea typeface="华文楷体" panose="02010600040101010101" pitchFamily="2" charset="-122"/>
              </a:rPr>
              <a:t>4.0</a:t>
            </a:r>
            <a:r>
              <a:rPr lang="zh-CN" altLang="en-US" dirty="0" smtClean="0">
                <a:latin typeface="华文楷体" panose="02010600040101010101" pitchFamily="2" charset="-122"/>
                <a:ea typeface="华文楷体" panose="02010600040101010101" pitchFamily="2" charset="-122"/>
              </a:rPr>
              <a:t>之路</a:t>
            </a:r>
            <a:endParaRPr lang="zh-CN" altLang="en-US" dirty="0">
              <a:latin typeface="华文楷体" panose="02010600040101010101" pitchFamily="2" charset="-122"/>
              <a:ea typeface="华文楷体" panose="02010600040101010101" pitchFamily="2" charset="-122"/>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38836"/>
            <a:ext cx="12198350" cy="4894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51226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Group 5"/>
          <p:cNvGrpSpPr>
            <a:grpSpLocks/>
          </p:cNvGrpSpPr>
          <p:nvPr/>
        </p:nvGrpSpPr>
        <p:grpSpPr bwMode="auto">
          <a:xfrm>
            <a:off x="904875" y="4321175"/>
            <a:ext cx="10206038" cy="2536825"/>
            <a:chOff x="0" y="0"/>
            <a:chExt cx="10022769" cy="1882041"/>
          </a:xfrm>
        </p:grpSpPr>
        <p:sp>
          <p:nvSpPr>
            <p:cNvPr id="19483" name="Freihandform 43"/>
            <p:cNvSpPr>
              <a:spLocks noChangeArrowheads="1"/>
            </p:cNvSpPr>
            <p:nvPr/>
          </p:nvSpPr>
          <p:spPr bwMode="auto">
            <a:xfrm>
              <a:off x="38535" y="112506"/>
              <a:ext cx="9529469" cy="1736715"/>
            </a:xfrm>
            <a:custGeom>
              <a:avLst/>
              <a:gdLst>
                <a:gd name="T0" fmla="*/ 0 w 6365673"/>
                <a:gd name="T1" fmla="*/ 1337696 h 2701739"/>
                <a:gd name="T2" fmla="*/ 4037685 w 6365673"/>
                <a:gd name="T3" fmla="*/ 1736715 h 2701739"/>
                <a:gd name="T4" fmla="*/ 8865803 w 6365673"/>
                <a:gd name="T5" fmla="*/ 259728 h 2701739"/>
                <a:gd name="T6" fmla="*/ 9529469 w 6365673"/>
                <a:gd name="T7" fmla="*/ 481364 h 2701739"/>
                <a:gd name="T8" fmla="*/ 9310888 w 6365673"/>
                <a:gd name="T9" fmla="*/ 139270 h 2701739"/>
                <a:gd name="T10" fmla="*/ 8079377 w 6365673"/>
                <a:gd name="T11" fmla="*/ 0 h 2701739"/>
                <a:gd name="T12" fmla="*/ 8401455 w 6365673"/>
                <a:gd name="T13" fmla="*/ 111778 h 2701739"/>
                <a:gd name="T14" fmla="*/ 0 w 6365673"/>
                <a:gd name="T15" fmla="*/ 1337696 h 2701739"/>
                <a:gd name="T16" fmla="*/ 0 60000 65536"/>
                <a:gd name="T17" fmla="*/ 0 60000 65536"/>
                <a:gd name="T18" fmla="*/ 0 60000 65536"/>
                <a:gd name="T19" fmla="*/ 0 60000 65536"/>
                <a:gd name="T20" fmla="*/ 0 60000 65536"/>
                <a:gd name="T21" fmla="*/ 0 60000 65536"/>
                <a:gd name="T22" fmla="*/ 0 60000 65536"/>
                <a:gd name="T23" fmla="*/ 0 60000 65536"/>
                <a:gd name="T24" fmla="*/ 0 w 6365673"/>
                <a:gd name="T25" fmla="*/ 0 h 2701739"/>
                <a:gd name="T26" fmla="*/ 6365673 w 6365673"/>
                <a:gd name="T27" fmla="*/ 2701739 h 27017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65673" h="2701739">
                  <a:moveTo>
                    <a:pt x="0" y="2081000"/>
                  </a:moveTo>
                  <a:lnTo>
                    <a:pt x="2697168" y="2701739"/>
                  </a:lnTo>
                  <a:cubicBezTo>
                    <a:pt x="3744760" y="823049"/>
                    <a:pt x="5739590" y="440752"/>
                    <a:pt x="5922345" y="404048"/>
                  </a:cubicBezTo>
                  <a:cubicBezTo>
                    <a:pt x="6242685" y="652070"/>
                    <a:pt x="6048627" y="499801"/>
                    <a:pt x="6365673" y="748839"/>
                  </a:cubicBezTo>
                  <a:cubicBezTo>
                    <a:pt x="6231208" y="259662"/>
                    <a:pt x="6359481" y="707713"/>
                    <a:pt x="6219661" y="216657"/>
                  </a:cubicBezTo>
                  <a:lnTo>
                    <a:pt x="5397013" y="0"/>
                  </a:lnTo>
                  <a:cubicBezTo>
                    <a:pt x="5500143" y="72878"/>
                    <a:pt x="5488198" y="92332"/>
                    <a:pt x="5612160" y="173889"/>
                  </a:cubicBezTo>
                  <a:cubicBezTo>
                    <a:pt x="4378468" y="270916"/>
                    <a:pt x="2151357" y="638499"/>
                    <a:pt x="0" y="2081000"/>
                  </a:cubicBezTo>
                  <a:close/>
                </a:path>
              </a:pathLst>
            </a:custGeom>
            <a:solidFill>
              <a:srgbClr val="ADBECB"/>
            </a:soli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84" name="Freihandform 8"/>
            <p:cNvSpPr>
              <a:spLocks noChangeArrowheads="1"/>
            </p:cNvSpPr>
            <p:nvPr/>
          </p:nvSpPr>
          <p:spPr bwMode="auto">
            <a:xfrm>
              <a:off x="3339479" y="417048"/>
              <a:ext cx="3082243" cy="534532"/>
            </a:xfrm>
            <a:custGeom>
              <a:avLst/>
              <a:gdLst>
                <a:gd name="T0" fmla="*/ 1561792 w 2058934"/>
                <a:gd name="T1" fmla="*/ 0 h 831551"/>
                <a:gd name="T2" fmla="*/ 2678015 w 2058934"/>
                <a:gd name="T3" fmla="*/ 86788 h 831551"/>
                <a:gd name="T4" fmla="*/ 3082243 w 2058934"/>
                <a:gd name="T5" fmla="*/ 291921 h 831551"/>
                <a:gd name="T6" fmla="*/ 2163542 w 2058934"/>
                <a:gd name="T7" fmla="*/ 534532 h 831551"/>
                <a:gd name="T8" fmla="*/ 1566387 w 2058934"/>
                <a:gd name="T9" fmla="*/ 270225 h 831551"/>
                <a:gd name="T10" fmla="*/ 0 w 2058934"/>
                <a:gd name="T11" fmla="*/ 213023 h 831551"/>
                <a:gd name="T12" fmla="*/ 1561792 w 2058934"/>
                <a:gd name="T13" fmla="*/ 0 h 831551"/>
                <a:gd name="T14" fmla="*/ 0 60000 65536"/>
                <a:gd name="T15" fmla="*/ 0 60000 65536"/>
                <a:gd name="T16" fmla="*/ 0 60000 65536"/>
                <a:gd name="T17" fmla="*/ 0 60000 65536"/>
                <a:gd name="T18" fmla="*/ 0 60000 65536"/>
                <a:gd name="T19" fmla="*/ 0 60000 65536"/>
                <a:gd name="T20" fmla="*/ 0 60000 65536"/>
                <a:gd name="T21" fmla="*/ 0 w 2058934"/>
                <a:gd name="T22" fmla="*/ 0 h 831551"/>
                <a:gd name="T23" fmla="*/ 2058934 w 2058934"/>
                <a:gd name="T24" fmla="*/ 831551 h 8315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8934" h="831551">
                  <a:moveTo>
                    <a:pt x="1043275" y="0"/>
                  </a:moveTo>
                  <a:lnTo>
                    <a:pt x="1788910" y="135012"/>
                  </a:lnTo>
                  <a:lnTo>
                    <a:pt x="2058934" y="454131"/>
                  </a:lnTo>
                  <a:cubicBezTo>
                    <a:pt x="1839028" y="564597"/>
                    <a:pt x="1631396" y="687333"/>
                    <a:pt x="1445243" y="831551"/>
                  </a:cubicBezTo>
                  <a:lnTo>
                    <a:pt x="1046344" y="420378"/>
                  </a:lnTo>
                  <a:lnTo>
                    <a:pt x="0" y="331392"/>
                  </a:lnTo>
                  <a:cubicBezTo>
                    <a:pt x="368216" y="196379"/>
                    <a:pt x="690402" y="101259"/>
                    <a:pt x="1043275" y="0"/>
                  </a:cubicBezTo>
                  <a:close/>
                </a:path>
              </a:pathLst>
            </a:custGeom>
            <a:gradFill rotWithShape="1">
              <a:gsLst>
                <a:gs pos="0">
                  <a:srgbClr val="38454F"/>
                </a:gs>
                <a:gs pos="50000">
                  <a:srgbClr val="506472"/>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85" name="Freihandform 9"/>
            <p:cNvSpPr>
              <a:spLocks noChangeArrowheads="1"/>
            </p:cNvSpPr>
            <p:nvPr/>
          </p:nvSpPr>
          <p:spPr bwMode="auto">
            <a:xfrm>
              <a:off x="1015164" y="669521"/>
              <a:ext cx="4313304" cy="761364"/>
            </a:xfrm>
            <a:custGeom>
              <a:avLst/>
              <a:gdLst>
                <a:gd name="T0" fmla="*/ 0 w 2881281"/>
                <a:gd name="T1" fmla="*/ 410269 h 1184424"/>
                <a:gd name="T2" fmla="*/ 2053298 w 2881281"/>
                <a:gd name="T3" fmla="*/ 0 h 1184424"/>
                <a:gd name="T4" fmla="*/ 3661027 w 2881281"/>
                <a:gd name="T5" fmla="*/ 61146 h 1184424"/>
                <a:gd name="T6" fmla="*/ 4313304 w 2881281"/>
                <a:gd name="T7" fmla="*/ 333343 h 1184424"/>
                <a:gd name="T8" fmla="*/ 3243017 w 2881281"/>
                <a:gd name="T9" fmla="*/ 761364 h 1184424"/>
                <a:gd name="T10" fmla="*/ 2195697 w 2881281"/>
                <a:gd name="T11" fmla="*/ 388572 h 1184424"/>
                <a:gd name="T12" fmla="*/ 0 w 2881281"/>
                <a:gd name="T13" fmla="*/ 410269 h 1184424"/>
                <a:gd name="T14" fmla="*/ 0 60000 65536"/>
                <a:gd name="T15" fmla="*/ 0 60000 65536"/>
                <a:gd name="T16" fmla="*/ 0 60000 65536"/>
                <a:gd name="T17" fmla="*/ 0 60000 65536"/>
                <a:gd name="T18" fmla="*/ 0 60000 65536"/>
                <a:gd name="T19" fmla="*/ 0 60000 65536"/>
                <a:gd name="T20" fmla="*/ 0 60000 65536"/>
                <a:gd name="T21" fmla="*/ 0 w 2881281"/>
                <a:gd name="T22" fmla="*/ 0 h 1184424"/>
                <a:gd name="T23" fmla="*/ 2881281 w 2881281"/>
                <a:gd name="T24" fmla="*/ 1184424 h 11844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1281" h="1184424">
                  <a:moveTo>
                    <a:pt x="0" y="638239"/>
                  </a:moveTo>
                  <a:cubicBezTo>
                    <a:pt x="447994" y="385602"/>
                    <a:pt x="902126" y="178993"/>
                    <a:pt x="1371600" y="0"/>
                  </a:cubicBezTo>
                  <a:lnTo>
                    <a:pt x="2445560" y="95122"/>
                  </a:lnTo>
                  <a:lnTo>
                    <a:pt x="2881281" y="518569"/>
                  </a:lnTo>
                  <a:cubicBezTo>
                    <a:pt x="2596937" y="712905"/>
                    <a:pt x="2377033" y="937925"/>
                    <a:pt x="2166331" y="1184424"/>
                  </a:cubicBezTo>
                  <a:lnTo>
                    <a:pt x="1466722" y="604486"/>
                  </a:lnTo>
                  <a:lnTo>
                    <a:pt x="0" y="638239"/>
                  </a:lnTo>
                  <a:close/>
                </a:path>
              </a:pathLst>
            </a:custGeom>
            <a:gradFill rotWithShape="1">
              <a:gsLst>
                <a:gs pos="0">
                  <a:srgbClr val="38454F"/>
                </a:gs>
                <a:gs pos="50000">
                  <a:srgbClr val="506472"/>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86" name="Freihandform 10"/>
            <p:cNvSpPr>
              <a:spLocks noChangeArrowheads="1"/>
            </p:cNvSpPr>
            <p:nvPr/>
          </p:nvSpPr>
          <p:spPr bwMode="auto">
            <a:xfrm>
              <a:off x="0" y="1131074"/>
              <a:ext cx="4120375" cy="603569"/>
            </a:xfrm>
            <a:custGeom>
              <a:avLst/>
              <a:gdLst>
                <a:gd name="T0" fmla="*/ 4120375 w 2752405"/>
                <a:gd name="T1" fmla="*/ 368847 h 938948"/>
                <a:gd name="T2" fmla="*/ 3762081 w 2752405"/>
                <a:gd name="T3" fmla="*/ 603569 h 938948"/>
                <a:gd name="T4" fmla="*/ 0 w 2752405"/>
                <a:gd name="T5" fmla="*/ 218942 h 938948"/>
                <a:gd name="T6" fmla="*/ 707400 w 2752405"/>
                <a:gd name="T7" fmla="*/ 25642 h 938948"/>
                <a:gd name="T8" fmla="*/ 3013341 w 2752405"/>
                <a:gd name="T9" fmla="*/ 0 h 938948"/>
                <a:gd name="T10" fmla="*/ 4120375 w 2752405"/>
                <a:gd name="T11" fmla="*/ 368847 h 938948"/>
                <a:gd name="T12" fmla="*/ 0 60000 65536"/>
                <a:gd name="T13" fmla="*/ 0 60000 65536"/>
                <a:gd name="T14" fmla="*/ 0 60000 65536"/>
                <a:gd name="T15" fmla="*/ 0 60000 65536"/>
                <a:gd name="T16" fmla="*/ 0 60000 65536"/>
                <a:gd name="T17" fmla="*/ 0 60000 65536"/>
                <a:gd name="T18" fmla="*/ 0 w 2752405"/>
                <a:gd name="T19" fmla="*/ 0 h 938948"/>
                <a:gd name="T20" fmla="*/ 2752405 w 2752405"/>
                <a:gd name="T21" fmla="*/ 938948 h 938948"/>
              </a:gdLst>
              <a:ahLst/>
              <a:cxnLst>
                <a:cxn ang="T12">
                  <a:pos x="T0" y="T1"/>
                </a:cxn>
                <a:cxn ang="T13">
                  <a:pos x="T2" y="T3"/>
                </a:cxn>
                <a:cxn ang="T14">
                  <a:pos x="T4" y="T5"/>
                </a:cxn>
                <a:cxn ang="T15">
                  <a:pos x="T6" y="T7"/>
                </a:cxn>
                <a:cxn ang="T16">
                  <a:pos x="T8" y="T9"/>
                </a:cxn>
                <a:cxn ang="T17">
                  <a:pos x="T10" y="T11"/>
                </a:cxn>
              </a:cxnLst>
              <a:rect l="T18" t="T19" r="T20" b="T21"/>
              <a:pathLst>
                <a:path w="2752405" h="938948">
                  <a:moveTo>
                    <a:pt x="2752405" y="573801"/>
                  </a:moveTo>
                  <a:cubicBezTo>
                    <a:pt x="2651146" y="686311"/>
                    <a:pt x="2574435" y="817232"/>
                    <a:pt x="2513065" y="938948"/>
                  </a:cubicBezTo>
                  <a:lnTo>
                    <a:pt x="0" y="340599"/>
                  </a:lnTo>
                  <a:cubicBezTo>
                    <a:pt x="156491" y="231158"/>
                    <a:pt x="303777" y="140126"/>
                    <a:pt x="472542" y="39890"/>
                  </a:cubicBezTo>
                  <a:lnTo>
                    <a:pt x="2012907" y="0"/>
                  </a:lnTo>
                  <a:lnTo>
                    <a:pt x="2752405" y="573801"/>
                  </a:lnTo>
                  <a:close/>
                </a:path>
              </a:pathLst>
            </a:custGeom>
            <a:gradFill rotWithShape="1">
              <a:gsLst>
                <a:gs pos="0">
                  <a:srgbClr val="38454F"/>
                </a:gs>
                <a:gs pos="50000">
                  <a:srgbClr val="506472"/>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87" name="Freihandform 11"/>
            <p:cNvSpPr>
              <a:spLocks noChangeArrowheads="1"/>
            </p:cNvSpPr>
            <p:nvPr/>
          </p:nvSpPr>
          <p:spPr bwMode="auto">
            <a:xfrm>
              <a:off x="719" y="1134254"/>
              <a:ext cx="4000644" cy="573918"/>
            </a:xfrm>
            <a:custGeom>
              <a:avLst/>
              <a:gdLst>
                <a:gd name="T0" fmla="*/ 3453020 w 3923675"/>
                <a:gd name="T1" fmla="*/ 573918 h 1140860"/>
                <a:gd name="T2" fmla="*/ 3399884 w 3923675"/>
                <a:gd name="T3" fmla="*/ 472497 h 1140860"/>
                <a:gd name="T4" fmla="*/ 3663359 w 3923675"/>
                <a:gd name="T5" fmla="*/ 321373 h 1140860"/>
                <a:gd name="T6" fmla="*/ 4000644 w 3923675"/>
                <a:gd name="T7" fmla="*/ 323789 h 1140860"/>
                <a:gd name="T8" fmla="*/ 3012195 w 3923675"/>
                <a:gd name="T9" fmla="*/ 0 h 1140860"/>
                <a:gd name="T10" fmla="*/ 672763 w 3923675"/>
                <a:gd name="T11" fmla="*/ 23109 h 1140860"/>
                <a:gd name="T12" fmla="*/ 0 w 3923675"/>
                <a:gd name="T13" fmla="*/ 218456 h 1140860"/>
                <a:gd name="T14" fmla="*/ 3453020 w 3923675"/>
                <a:gd name="T15" fmla="*/ 573918 h 1140860"/>
                <a:gd name="T16" fmla="*/ 0 60000 65536"/>
                <a:gd name="T17" fmla="*/ 0 60000 65536"/>
                <a:gd name="T18" fmla="*/ 0 60000 65536"/>
                <a:gd name="T19" fmla="*/ 0 60000 65536"/>
                <a:gd name="T20" fmla="*/ 0 60000 65536"/>
                <a:gd name="T21" fmla="*/ 0 60000 65536"/>
                <a:gd name="T22" fmla="*/ 0 60000 65536"/>
                <a:gd name="T23" fmla="*/ 0 60000 65536"/>
                <a:gd name="T24" fmla="*/ 0 w 3923675"/>
                <a:gd name="T25" fmla="*/ 0 h 1140860"/>
                <a:gd name="T26" fmla="*/ 3923675 w 3923675"/>
                <a:gd name="T27" fmla="*/ 1140860 h 11408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23675" h="1140860">
                  <a:moveTo>
                    <a:pt x="3386586" y="1140860"/>
                  </a:moveTo>
                  <a:cubicBezTo>
                    <a:pt x="3738359" y="762579"/>
                    <a:pt x="3501655" y="874729"/>
                    <a:pt x="3334473" y="939250"/>
                  </a:cubicBezTo>
                  <a:cubicBezTo>
                    <a:pt x="2864699" y="1115377"/>
                    <a:pt x="3573825" y="410681"/>
                    <a:pt x="3592878" y="638840"/>
                  </a:cubicBezTo>
                  <a:cubicBezTo>
                    <a:pt x="3607045" y="747098"/>
                    <a:pt x="3715245" y="825322"/>
                    <a:pt x="3923675" y="643643"/>
                  </a:cubicBezTo>
                  <a:lnTo>
                    <a:pt x="2954242" y="0"/>
                  </a:lnTo>
                  <a:lnTo>
                    <a:pt x="659819" y="45937"/>
                  </a:lnTo>
                  <a:cubicBezTo>
                    <a:pt x="466985" y="147169"/>
                    <a:pt x="244743" y="288097"/>
                    <a:pt x="0" y="434256"/>
                  </a:cubicBezTo>
                  <a:lnTo>
                    <a:pt x="3386586" y="1140860"/>
                  </a:lnTo>
                  <a:close/>
                </a:path>
              </a:pathLst>
            </a:custGeom>
            <a:solidFill>
              <a:srgbClr val="505A64">
                <a:alpha val="54117"/>
              </a:srgbClr>
            </a:soli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88" name="Freihandform 12"/>
            <p:cNvSpPr>
              <a:spLocks noChangeArrowheads="1"/>
            </p:cNvSpPr>
            <p:nvPr/>
          </p:nvSpPr>
          <p:spPr bwMode="auto">
            <a:xfrm>
              <a:off x="3380031" y="418163"/>
              <a:ext cx="2964092" cy="491430"/>
            </a:xfrm>
            <a:custGeom>
              <a:avLst/>
              <a:gdLst>
                <a:gd name="T0" fmla="*/ 1501740 w 2907066"/>
                <a:gd name="T1" fmla="*/ 0 h 976884"/>
                <a:gd name="T2" fmla="*/ 0 w 2907066"/>
                <a:gd name="T3" fmla="*/ 209056 h 976884"/>
                <a:gd name="T4" fmla="*/ 1516427 w 2907066"/>
                <a:gd name="T5" fmla="*/ 269568 h 976884"/>
                <a:gd name="T6" fmla="*/ 2015165 w 2907066"/>
                <a:gd name="T7" fmla="*/ 491430 h 976884"/>
                <a:gd name="T8" fmla="*/ 2325156 w 2907066"/>
                <a:gd name="T9" fmla="*/ 347779 h 976884"/>
                <a:gd name="T10" fmla="*/ 1977397 w 2907066"/>
                <a:gd name="T11" fmla="*/ 380681 h 976884"/>
                <a:gd name="T12" fmla="*/ 2779482 w 2907066"/>
                <a:gd name="T13" fmla="*/ 204174 h 976884"/>
                <a:gd name="T14" fmla="*/ 2657977 w 2907066"/>
                <a:gd name="T15" fmla="*/ 268435 h 976884"/>
                <a:gd name="T16" fmla="*/ 2964092 w 2907066"/>
                <a:gd name="T17" fmla="*/ 250241 h 976884"/>
                <a:gd name="T18" fmla="*/ 2636073 w 2907066"/>
                <a:gd name="T19" fmla="*/ 88888 h 976884"/>
                <a:gd name="T20" fmla="*/ 1501740 w 2907066"/>
                <a:gd name="T21" fmla="*/ 0 h 9768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07066"/>
                <a:gd name="T34" fmla="*/ 0 h 976884"/>
                <a:gd name="T35" fmla="*/ 2907066 w 2907066"/>
                <a:gd name="T36" fmla="*/ 976884 h 9768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07066" h="976884">
                  <a:moveTo>
                    <a:pt x="1472848" y="0"/>
                  </a:moveTo>
                  <a:cubicBezTo>
                    <a:pt x="993691" y="123892"/>
                    <a:pt x="670363" y="200262"/>
                    <a:pt x="0" y="415570"/>
                  </a:cubicBezTo>
                  <a:lnTo>
                    <a:pt x="1487253" y="535858"/>
                  </a:lnTo>
                  <a:cubicBezTo>
                    <a:pt x="1667742" y="714738"/>
                    <a:pt x="1702588" y="748426"/>
                    <a:pt x="1976396" y="976884"/>
                  </a:cubicBezTo>
                  <a:cubicBezTo>
                    <a:pt x="2112451" y="865738"/>
                    <a:pt x="2347847" y="821011"/>
                    <a:pt x="2280423" y="691328"/>
                  </a:cubicBezTo>
                  <a:cubicBezTo>
                    <a:pt x="2252907" y="638404"/>
                    <a:pt x="1959922" y="798405"/>
                    <a:pt x="1939354" y="756733"/>
                  </a:cubicBezTo>
                  <a:cubicBezTo>
                    <a:pt x="1831698" y="654291"/>
                    <a:pt x="2669253" y="347052"/>
                    <a:pt x="2726009" y="405865"/>
                  </a:cubicBezTo>
                  <a:cubicBezTo>
                    <a:pt x="2739339" y="454021"/>
                    <a:pt x="2664259" y="466053"/>
                    <a:pt x="2606840" y="533605"/>
                  </a:cubicBezTo>
                  <a:cubicBezTo>
                    <a:pt x="2522899" y="664674"/>
                    <a:pt x="2828051" y="528685"/>
                    <a:pt x="2907066" y="497439"/>
                  </a:cubicBezTo>
                  <a:cubicBezTo>
                    <a:pt x="2803025" y="400759"/>
                    <a:pt x="2643715" y="246783"/>
                    <a:pt x="2585358" y="176696"/>
                  </a:cubicBezTo>
                  <a:lnTo>
                    <a:pt x="1472848" y="0"/>
                  </a:lnTo>
                  <a:close/>
                </a:path>
              </a:pathLst>
            </a:custGeom>
            <a:solidFill>
              <a:srgbClr val="505A64">
                <a:alpha val="54117"/>
              </a:srgbClr>
            </a:soli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89" name="Freihandform 13"/>
            <p:cNvSpPr>
              <a:spLocks noChangeArrowheads="1"/>
            </p:cNvSpPr>
            <p:nvPr/>
          </p:nvSpPr>
          <p:spPr bwMode="auto">
            <a:xfrm>
              <a:off x="1018573" y="670903"/>
              <a:ext cx="4198926" cy="733362"/>
            </a:xfrm>
            <a:custGeom>
              <a:avLst/>
              <a:gdLst>
                <a:gd name="T0" fmla="*/ 0 w 4118144"/>
                <a:gd name="T1" fmla="*/ 407956 h 1457808"/>
                <a:gd name="T2" fmla="*/ 2193902 w 4118144"/>
                <a:gd name="T3" fmla="*/ 387633 h 1457808"/>
                <a:gd name="T4" fmla="*/ 3149792 w 4118144"/>
                <a:gd name="T5" fmla="*/ 733362 h 1457808"/>
                <a:gd name="T6" fmla="*/ 3283482 w 4118144"/>
                <a:gd name="T7" fmla="*/ 511487 h 1457808"/>
                <a:gd name="T8" fmla="*/ 2971639 w 4118144"/>
                <a:gd name="T9" fmla="*/ 554001 h 1457808"/>
                <a:gd name="T10" fmla="*/ 3891479 w 4118144"/>
                <a:gd name="T11" fmla="*/ 246382 h 1457808"/>
                <a:gd name="T12" fmla="*/ 3771927 w 4118144"/>
                <a:gd name="T13" fmla="*/ 351326 h 1457808"/>
                <a:gd name="T14" fmla="*/ 4198926 w 4118144"/>
                <a:gd name="T15" fmla="*/ 288081 h 1457808"/>
                <a:gd name="T16" fmla="*/ 3665916 w 4118144"/>
                <a:gd name="T17" fmla="*/ 65887 h 1457808"/>
                <a:gd name="T18" fmla="*/ 2056651 w 4118144"/>
                <a:gd name="T19" fmla="*/ 0 h 1457808"/>
                <a:gd name="T20" fmla="*/ 0 w 4118144"/>
                <a:gd name="T21" fmla="*/ 407956 h 14578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18144"/>
                <a:gd name="T34" fmla="*/ 0 h 1457808"/>
                <a:gd name="T35" fmla="*/ 4118144 w 4118144"/>
                <a:gd name="T36" fmla="*/ 1457808 h 14578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18144" h="1457808">
                  <a:moveTo>
                    <a:pt x="0" y="810953"/>
                  </a:moveTo>
                  <a:lnTo>
                    <a:pt x="2151694" y="770554"/>
                  </a:lnTo>
                  <a:cubicBezTo>
                    <a:pt x="2515004" y="1019781"/>
                    <a:pt x="2681125" y="1159901"/>
                    <a:pt x="3089195" y="1457808"/>
                  </a:cubicBezTo>
                  <a:cubicBezTo>
                    <a:pt x="3606188" y="957121"/>
                    <a:pt x="3501611" y="856705"/>
                    <a:pt x="3220313" y="1016756"/>
                  </a:cubicBezTo>
                  <a:cubicBezTo>
                    <a:pt x="3162796" y="1049481"/>
                    <a:pt x="2948482" y="1136240"/>
                    <a:pt x="2914469" y="1101267"/>
                  </a:cubicBezTo>
                  <a:cubicBezTo>
                    <a:pt x="2809402" y="993234"/>
                    <a:pt x="3701393" y="365209"/>
                    <a:pt x="3816613" y="489769"/>
                  </a:cubicBezTo>
                  <a:cubicBezTo>
                    <a:pt x="3879332" y="561262"/>
                    <a:pt x="3643536" y="658146"/>
                    <a:pt x="3699361" y="698380"/>
                  </a:cubicBezTo>
                  <a:cubicBezTo>
                    <a:pt x="3747898" y="733361"/>
                    <a:pt x="4005993" y="616931"/>
                    <a:pt x="4118144" y="572659"/>
                  </a:cubicBezTo>
                  <a:cubicBezTo>
                    <a:pt x="4055621" y="505063"/>
                    <a:pt x="3649163" y="176772"/>
                    <a:pt x="3595389" y="130972"/>
                  </a:cubicBezTo>
                  <a:lnTo>
                    <a:pt x="2017084" y="0"/>
                  </a:lnTo>
                  <a:cubicBezTo>
                    <a:pt x="1190777" y="273451"/>
                    <a:pt x="754318" y="459619"/>
                    <a:pt x="0" y="810953"/>
                  </a:cubicBezTo>
                  <a:close/>
                </a:path>
              </a:pathLst>
            </a:custGeom>
            <a:solidFill>
              <a:srgbClr val="505A64">
                <a:alpha val="54117"/>
              </a:srgbClr>
            </a:soli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90" name="Freihandform 17"/>
            <p:cNvSpPr>
              <a:spLocks noChangeArrowheads="1"/>
            </p:cNvSpPr>
            <p:nvPr/>
          </p:nvSpPr>
          <p:spPr bwMode="auto">
            <a:xfrm>
              <a:off x="6671029" y="169953"/>
              <a:ext cx="1662025" cy="284032"/>
            </a:xfrm>
            <a:custGeom>
              <a:avLst/>
              <a:gdLst>
                <a:gd name="T0" fmla="*/ 1662025 w 1110230"/>
                <a:gd name="T1" fmla="*/ 190619 h 441857"/>
                <a:gd name="T2" fmla="*/ 950856 w 1110230"/>
                <a:gd name="T3" fmla="*/ 284032 h 441857"/>
                <a:gd name="T4" fmla="*/ 707400 w 1110230"/>
                <a:gd name="T5" fmla="*/ 138071 h 441857"/>
                <a:gd name="T6" fmla="*/ 0 w 1110230"/>
                <a:gd name="T7" fmla="*/ 69035 h 441857"/>
                <a:gd name="T8" fmla="*/ 1084067 w 1110230"/>
                <a:gd name="T9" fmla="*/ 0 h 441857"/>
                <a:gd name="T10" fmla="*/ 1525044 w 1110230"/>
                <a:gd name="T11" fmla="*/ 53255 h 441857"/>
                <a:gd name="T12" fmla="*/ 1662025 w 1110230"/>
                <a:gd name="T13" fmla="*/ 190619 h 441857"/>
                <a:gd name="T14" fmla="*/ 0 60000 65536"/>
                <a:gd name="T15" fmla="*/ 0 60000 65536"/>
                <a:gd name="T16" fmla="*/ 0 60000 65536"/>
                <a:gd name="T17" fmla="*/ 0 60000 65536"/>
                <a:gd name="T18" fmla="*/ 0 60000 65536"/>
                <a:gd name="T19" fmla="*/ 0 60000 65536"/>
                <a:gd name="T20" fmla="*/ 0 60000 65536"/>
                <a:gd name="T21" fmla="*/ 0 w 1110230"/>
                <a:gd name="T22" fmla="*/ 0 h 441857"/>
                <a:gd name="T23" fmla="*/ 1110230 w 1110230"/>
                <a:gd name="T24" fmla="*/ 441857 h 4418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0230" h="441857">
                  <a:moveTo>
                    <a:pt x="1110230" y="296538"/>
                  </a:moveTo>
                  <a:lnTo>
                    <a:pt x="635170" y="441857"/>
                  </a:lnTo>
                  <a:lnTo>
                    <a:pt x="472542" y="214791"/>
                  </a:lnTo>
                  <a:lnTo>
                    <a:pt x="0" y="107395"/>
                  </a:lnTo>
                  <a:lnTo>
                    <a:pt x="724155" y="0"/>
                  </a:lnTo>
                  <a:lnTo>
                    <a:pt x="1018727" y="82847"/>
                  </a:lnTo>
                  <a:lnTo>
                    <a:pt x="1110230" y="296538"/>
                  </a:lnTo>
                  <a:close/>
                </a:path>
              </a:pathLst>
            </a:custGeom>
            <a:gradFill rotWithShape="1">
              <a:gsLst>
                <a:gs pos="0">
                  <a:srgbClr val="38454F"/>
                </a:gs>
                <a:gs pos="50000">
                  <a:srgbClr val="506472"/>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91" name="Freihandform 18"/>
            <p:cNvSpPr>
              <a:spLocks noChangeArrowheads="1"/>
            </p:cNvSpPr>
            <p:nvPr/>
          </p:nvSpPr>
          <p:spPr bwMode="auto">
            <a:xfrm>
              <a:off x="5140133" y="267143"/>
              <a:ext cx="2301347" cy="402378"/>
            </a:xfrm>
            <a:custGeom>
              <a:avLst/>
              <a:gdLst>
                <a:gd name="T0" fmla="*/ 0 w 1537297"/>
                <a:gd name="T1" fmla="*/ 122291 h 625964"/>
                <a:gd name="T2" fmla="*/ 1217279 w 1537297"/>
                <a:gd name="T3" fmla="*/ 0 h 625964"/>
                <a:gd name="T4" fmla="*/ 2030330 w 1537297"/>
                <a:gd name="T5" fmla="*/ 74952 h 625964"/>
                <a:gd name="T6" fmla="*/ 2301347 w 1537297"/>
                <a:gd name="T7" fmla="*/ 224858 h 625964"/>
                <a:gd name="T8" fmla="*/ 1437767 w 1537297"/>
                <a:gd name="T9" fmla="*/ 402378 h 625964"/>
                <a:gd name="T10" fmla="*/ 1056506 w 1537297"/>
                <a:gd name="T11" fmla="*/ 199216 h 625964"/>
                <a:gd name="T12" fmla="*/ 0 w 1537297"/>
                <a:gd name="T13" fmla="*/ 122291 h 625964"/>
                <a:gd name="T14" fmla="*/ 0 60000 65536"/>
                <a:gd name="T15" fmla="*/ 0 60000 65536"/>
                <a:gd name="T16" fmla="*/ 0 60000 65536"/>
                <a:gd name="T17" fmla="*/ 0 60000 65536"/>
                <a:gd name="T18" fmla="*/ 0 60000 65536"/>
                <a:gd name="T19" fmla="*/ 0 60000 65536"/>
                <a:gd name="T20" fmla="*/ 0 60000 65536"/>
                <a:gd name="T21" fmla="*/ 0 w 1537297"/>
                <a:gd name="T22" fmla="*/ 0 h 625964"/>
                <a:gd name="T23" fmla="*/ 1537297 w 1537297"/>
                <a:gd name="T24" fmla="*/ 625964 h 6259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7297" h="625964">
                  <a:moveTo>
                    <a:pt x="0" y="190243"/>
                  </a:moveTo>
                  <a:lnTo>
                    <a:pt x="813141" y="0"/>
                  </a:lnTo>
                  <a:lnTo>
                    <a:pt x="1356258" y="116600"/>
                  </a:lnTo>
                  <a:lnTo>
                    <a:pt x="1537297" y="349803"/>
                  </a:lnTo>
                  <a:cubicBezTo>
                    <a:pt x="1341810" y="432265"/>
                    <a:pt x="1143126" y="517924"/>
                    <a:pt x="960427" y="625964"/>
                  </a:cubicBezTo>
                  <a:lnTo>
                    <a:pt x="705745" y="309913"/>
                  </a:lnTo>
                  <a:lnTo>
                    <a:pt x="0" y="190243"/>
                  </a:lnTo>
                  <a:close/>
                </a:path>
              </a:pathLst>
            </a:custGeom>
            <a:gradFill rotWithShape="1">
              <a:gsLst>
                <a:gs pos="0">
                  <a:srgbClr val="38454F"/>
                </a:gs>
                <a:gs pos="50000">
                  <a:srgbClr val="506472"/>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92" name="Freihandform 19"/>
            <p:cNvSpPr>
              <a:spLocks noChangeArrowheads="1"/>
            </p:cNvSpPr>
            <p:nvPr/>
          </p:nvSpPr>
          <p:spPr bwMode="auto">
            <a:xfrm>
              <a:off x="6652085" y="171041"/>
              <a:ext cx="1666149" cy="272134"/>
            </a:xfrm>
            <a:custGeom>
              <a:avLst/>
              <a:gdLst>
                <a:gd name="T0" fmla="*/ 1097192 w 1634093"/>
                <a:gd name="T1" fmla="*/ 0 h 540961"/>
                <a:gd name="T2" fmla="*/ 0 w 1634093"/>
                <a:gd name="T3" fmla="*/ 64534 h 540961"/>
                <a:gd name="T4" fmla="*/ 702943 w 1634093"/>
                <a:gd name="T5" fmla="*/ 137640 h 540961"/>
                <a:gd name="T6" fmla="*/ 927869 w 1634093"/>
                <a:gd name="T7" fmla="*/ 272134 h 540961"/>
                <a:gd name="T8" fmla="*/ 1099731 w 1634093"/>
                <a:gd name="T9" fmla="*/ 203387 h 540961"/>
                <a:gd name="T10" fmla="*/ 940610 w 1634093"/>
                <a:gd name="T11" fmla="*/ 197442 h 540961"/>
                <a:gd name="T12" fmla="*/ 1517456 w 1634093"/>
                <a:gd name="T13" fmla="*/ 154034 h 540961"/>
                <a:gd name="T14" fmla="*/ 1666149 w 1634093"/>
                <a:gd name="T15" fmla="*/ 168608 h 540961"/>
                <a:gd name="T16" fmla="*/ 1540683 w 1634093"/>
                <a:gd name="T17" fmla="*/ 48860 h 540961"/>
                <a:gd name="T18" fmla="*/ 1097192 w 1634093"/>
                <a:gd name="T19" fmla="*/ 0 h 5409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34093"/>
                <a:gd name="T31" fmla="*/ 0 h 540961"/>
                <a:gd name="T32" fmla="*/ 1634093 w 1634093"/>
                <a:gd name="T33" fmla="*/ 540961 h 5409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34093" h="540961">
                  <a:moveTo>
                    <a:pt x="1076082" y="0"/>
                  </a:moveTo>
                  <a:cubicBezTo>
                    <a:pt x="793700" y="25373"/>
                    <a:pt x="399776" y="88656"/>
                    <a:pt x="0" y="128284"/>
                  </a:cubicBezTo>
                  <a:lnTo>
                    <a:pt x="689419" y="273608"/>
                  </a:lnTo>
                  <a:cubicBezTo>
                    <a:pt x="824170" y="440213"/>
                    <a:pt x="821128" y="404984"/>
                    <a:pt x="910017" y="540961"/>
                  </a:cubicBezTo>
                  <a:cubicBezTo>
                    <a:pt x="1054934" y="496752"/>
                    <a:pt x="1172732" y="421490"/>
                    <a:pt x="1078572" y="404303"/>
                  </a:cubicBezTo>
                  <a:cubicBezTo>
                    <a:pt x="1023157" y="395383"/>
                    <a:pt x="957124" y="426880"/>
                    <a:pt x="922513" y="392484"/>
                  </a:cubicBezTo>
                  <a:cubicBezTo>
                    <a:pt x="872812" y="334676"/>
                    <a:pt x="1662341" y="153454"/>
                    <a:pt x="1488261" y="306196"/>
                  </a:cubicBezTo>
                  <a:cubicBezTo>
                    <a:pt x="1406902" y="393107"/>
                    <a:pt x="1357530" y="373296"/>
                    <a:pt x="1634093" y="335167"/>
                  </a:cubicBezTo>
                  <a:lnTo>
                    <a:pt x="1511041" y="97127"/>
                  </a:lnTo>
                  <a:lnTo>
                    <a:pt x="1076082" y="0"/>
                  </a:lnTo>
                  <a:close/>
                </a:path>
              </a:pathLst>
            </a:custGeom>
            <a:solidFill>
              <a:srgbClr val="505A64">
                <a:alpha val="54117"/>
              </a:srgbClr>
            </a:soli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93" name="Freihandform 21"/>
            <p:cNvSpPr>
              <a:spLocks noChangeArrowheads="1"/>
            </p:cNvSpPr>
            <p:nvPr/>
          </p:nvSpPr>
          <p:spPr bwMode="auto">
            <a:xfrm rot="-240000">
              <a:off x="8167524" y="0"/>
              <a:ext cx="1855245" cy="712969"/>
            </a:xfrm>
            <a:custGeom>
              <a:avLst/>
              <a:gdLst>
                <a:gd name="T0" fmla="*/ 0 w 1000070"/>
                <a:gd name="T1" fmla="*/ 0 h 888911"/>
                <a:gd name="T2" fmla="*/ 1613813 w 1000070"/>
                <a:gd name="T3" fmla="*/ 242812 h 888911"/>
                <a:gd name="T4" fmla="*/ 1855245 w 1000070"/>
                <a:gd name="T5" fmla="*/ 712969 h 888911"/>
                <a:gd name="T6" fmla="*/ 0 w 1000070"/>
                <a:gd name="T7" fmla="*/ 0 h 888911"/>
                <a:gd name="T8" fmla="*/ 0 60000 65536"/>
                <a:gd name="T9" fmla="*/ 0 60000 65536"/>
                <a:gd name="T10" fmla="*/ 0 60000 65536"/>
                <a:gd name="T11" fmla="*/ 0 60000 65536"/>
                <a:gd name="T12" fmla="*/ 0 w 1000070"/>
                <a:gd name="T13" fmla="*/ 0 h 888911"/>
                <a:gd name="T14" fmla="*/ 1000070 w 1000070"/>
                <a:gd name="T15" fmla="*/ 888911 h 888911"/>
              </a:gdLst>
              <a:ahLst/>
              <a:cxnLst>
                <a:cxn ang="T8">
                  <a:pos x="T0" y="T1"/>
                </a:cxn>
                <a:cxn ang="T9">
                  <a:pos x="T2" y="T3"/>
                </a:cxn>
                <a:cxn ang="T10">
                  <a:pos x="T4" y="T5"/>
                </a:cxn>
                <a:cxn ang="T11">
                  <a:pos x="T6" y="T7"/>
                </a:cxn>
              </a:cxnLst>
              <a:rect l="T12" t="T13" r="T14" b="T15"/>
              <a:pathLst>
                <a:path w="1000070" h="888911">
                  <a:moveTo>
                    <a:pt x="0" y="0"/>
                  </a:moveTo>
                  <a:lnTo>
                    <a:pt x="869926" y="302732"/>
                  </a:lnTo>
                  <a:lnTo>
                    <a:pt x="1000070" y="888911"/>
                  </a:lnTo>
                  <a:lnTo>
                    <a:pt x="0" y="0"/>
                  </a:lnTo>
                  <a:close/>
                </a:path>
              </a:pathLst>
            </a:custGeom>
            <a:gradFill rotWithShape="1">
              <a:gsLst>
                <a:gs pos="0">
                  <a:srgbClr val="38454F"/>
                </a:gs>
                <a:gs pos="79999">
                  <a:srgbClr val="7F9CB0"/>
                </a:gs>
                <a:gs pos="100000">
                  <a:srgbClr val="617889"/>
                </a:gs>
              </a:gsLst>
              <a:path path="rect">
                <a:fillToRect l="100000" b="100000"/>
              </a:path>
            </a:gra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sp>
          <p:nvSpPr>
            <p:cNvPr id="19494" name="Freihandform 22"/>
            <p:cNvSpPr>
              <a:spLocks noChangeArrowheads="1"/>
            </p:cNvSpPr>
            <p:nvPr/>
          </p:nvSpPr>
          <p:spPr bwMode="auto">
            <a:xfrm>
              <a:off x="5122032" y="265700"/>
              <a:ext cx="2280640" cy="363827"/>
            </a:xfrm>
            <a:custGeom>
              <a:avLst/>
              <a:gdLst>
                <a:gd name="T0" fmla="*/ 0 w 2236762"/>
                <a:gd name="T1" fmla="*/ 124336 h 723232"/>
                <a:gd name="T2" fmla="*/ 1079077 w 2236762"/>
                <a:gd name="T3" fmla="*/ 205807 h 723232"/>
                <a:gd name="T4" fmla="*/ 1380916 w 2236762"/>
                <a:gd name="T5" fmla="*/ 363827 h 723232"/>
                <a:gd name="T6" fmla="*/ 1621034 w 2236762"/>
                <a:gd name="T7" fmla="*/ 280873 h 723232"/>
                <a:gd name="T8" fmla="*/ 1356789 w 2236762"/>
                <a:gd name="T9" fmla="*/ 283987 h 723232"/>
                <a:gd name="T10" fmla="*/ 2069203 w 2236762"/>
                <a:gd name="T11" fmla="*/ 164191 h 723232"/>
                <a:gd name="T12" fmla="*/ 1967991 w 2236762"/>
                <a:gd name="T13" fmla="*/ 223264 h 723232"/>
                <a:gd name="T14" fmla="*/ 2280640 w 2236762"/>
                <a:gd name="T15" fmla="*/ 202466 h 723232"/>
                <a:gd name="T16" fmla="*/ 2052931 w 2236762"/>
                <a:gd name="T17" fmla="*/ 79066 h 723232"/>
                <a:gd name="T18" fmla="*/ 1237276 w 2236762"/>
                <a:gd name="T19" fmla="*/ 0 h 723232"/>
                <a:gd name="T20" fmla="*/ 0 w 2236762"/>
                <a:gd name="T21" fmla="*/ 124336 h 723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36762"/>
                <a:gd name="T34" fmla="*/ 0 h 723232"/>
                <a:gd name="T35" fmla="*/ 2236762 w 2236762"/>
                <a:gd name="T36" fmla="*/ 723232 h 723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36762" h="723232">
                  <a:moveTo>
                    <a:pt x="0" y="247160"/>
                  </a:moveTo>
                  <a:lnTo>
                    <a:pt x="1058316" y="409112"/>
                  </a:lnTo>
                  <a:cubicBezTo>
                    <a:pt x="1260057" y="631224"/>
                    <a:pt x="1165626" y="521160"/>
                    <a:pt x="1354348" y="723232"/>
                  </a:cubicBezTo>
                  <a:cubicBezTo>
                    <a:pt x="1433718" y="673611"/>
                    <a:pt x="1618076" y="596485"/>
                    <a:pt x="1589847" y="558332"/>
                  </a:cubicBezTo>
                  <a:cubicBezTo>
                    <a:pt x="1541077" y="524787"/>
                    <a:pt x="1405435" y="600211"/>
                    <a:pt x="1330685" y="564522"/>
                  </a:cubicBezTo>
                  <a:cubicBezTo>
                    <a:pt x="1262310" y="531877"/>
                    <a:pt x="2007661" y="285911"/>
                    <a:pt x="2029393" y="326386"/>
                  </a:cubicBezTo>
                  <a:cubicBezTo>
                    <a:pt x="2052993" y="370339"/>
                    <a:pt x="1911864" y="402901"/>
                    <a:pt x="1930129" y="443815"/>
                  </a:cubicBezTo>
                  <a:cubicBezTo>
                    <a:pt x="1970287" y="483425"/>
                    <a:pt x="2084121" y="446816"/>
                    <a:pt x="2236762" y="402472"/>
                  </a:cubicBezTo>
                  <a:cubicBezTo>
                    <a:pt x="2129275" y="285482"/>
                    <a:pt x="2048045" y="191567"/>
                    <a:pt x="2013434" y="157171"/>
                  </a:cubicBezTo>
                  <a:lnTo>
                    <a:pt x="1213472" y="0"/>
                  </a:lnTo>
                  <a:lnTo>
                    <a:pt x="0" y="247160"/>
                  </a:lnTo>
                  <a:close/>
                </a:path>
              </a:pathLst>
            </a:custGeom>
            <a:solidFill>
              <a:srgbClr val="505A64">
                <a:alpha val="54117"/>
              </a:srgbClr>
            </a:solidFill>
            <a:ln w="9525">
              <a:noFill/>
              <a:miter lim="800000"/>
              <a:headEnd/>
              <a:tailEnd/>
            </a:ln>
          </p:spPr>
          <p:txBody>
            <a:bodyPr lIns="90720" tIns="45360" rIns="90720" bIns="4536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grpSp>
          <p:nvGrpSpPr>
            <p:cNvPr id="19495" name="Gruppieren 24"/>
            <p:cNvGrpSpPr>
              <a:grpSpLocks/>
            </p:cNvGrpSpPr>
            <p:nvPr/>
          </p:nvGrpSpPr>
          <p:grpSpPr bwMode="auto">
            <a:xfrm>
              <a:off x="3281496" y="297815"/>
              <a:ext cx="5207924" cy="1584226"/>
              <a:chOff x="0" y="0"/>
              <a:chExt cx="4536976" cy="3214092"/>
            </a:xfrm>
          </p:grpSpPr>
          <p:sp>
            <p:nvSpPr>
              <p:cNvPr id="19503" name="Freihandform 25"/>
              <p:cNvSpPr>
                <a:spLocks noChangeArrowheads="1"/>
              </p:cNvSpPr>
              <p:nvPr/>
            </p:nvSpPr>
            <p:spPr bwMode="auto">
              <a:xfrm>
                <a:off x="0" y="2304474"/>
                <a:ext cx="1579543" cy="909618"/>
              </a:xfrm>
              <a:custGeom>
                <a:avLst/>
                <a:gdLst>
                  <a:gd name="T0" fmla="*/ 188853 w 1778249"/>
                  <a:gd name="T1" fmla="*/ 559271 h 891252"/>
                  <a:gd name="T2" fmla="*/ 142564 w 1778249"/>
                  <a:gd name="T3" fmla="*/ 353507 h 891252"/>
                  <a:gd name="T4" fmla="*/ 372094 w 1778249"/>
                  <a:gd name="T5" fmla="*/ 46906 h 891252"/>
                  <a:gd name="T6" fmla="*/ 638330 w 1778249"/>
                  <a:gd name="T7" fmla="*/ 52114 h 891252"/>
                  <a:gd name="T8" fmla="*/ 1579543 w 1778249"/>
                  <a:gd name="T9" fmla="*/ 766199 h 891252"/>
                  <a:gd name="T10" fmla="*/ 1510462 w 1778249"/>
                  <a:gd name="T11" fmla="*/ 909618 h 891252"/>
                  <a:gd name="T12" fmla="*/ 188853 w 1778249"/>
                  <a:gd name="T13" fmla="*/ 559271 h 891252"/>
                  <a:gd name="T14" fmla="*/ 0 60000 65536"/>
                  <a:gd name="T15" fmla="*/ 0 60000 65536"/>
                  <a:gd name="T16" fmla="*/ 0 60000 65536"/>
                  <a:gd name="T17" fmla="*/ 0 60000 65536"/>
                  <a:gd name="T18" fmla="*/ 0 60000 65536"/>
                  <a:gd name="T19" fmla="*/ 0 60000 65536"/>
                  <a:gd name="T20" fmla="*/ 0 60000 65536"/>
                  <a:gd name="T21" fmla="*/ 0 w 1778249"/>
                  <a:gd name="T22" fmla="*/ 0 h 891252"/>
                  <a:gd name="T23" fmla="*/ 1778249 w 1778249"/>
                  <a:gd name="T24" fmla="*/ 891252 h 8912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78249" h="891252">
                    <a:moveTo>
                      <a:pt x="212611" y="547979"/>
                    </a:moveTo>
                    <a:cubicBezTo>
                      <a:pt x="564384" y="169698"/>
                      <a:pt x="327680" y="281848"/>
                      <a:pt x="160498" y="346369"/>
                    </a:cubicBezTo>
                    <a:cubicBezTo>
                      <a:pt x="-309276" y="522496"/>
                      <a:pt x="399850" y="-182200"/>
                      <a:pt x="418903" y="45959"/>
                    </a:cubicBezTo>
                    <a:cubicBezTo>
                      <a:pt x="433070" y="154217"/>
                      <a:pt x="534129" y="179410"/>
                      <a:pt x="718632" y="51062"/>
                    </a:cubicBezTo>
                    <a:cubicBezTo>
                      <a:pt x="1226005" y="388023"/>
                      <a:pt x="1319983" y="440003"/>
                      <a:pt x="1778249" y="750729"/>
                    </a:cubicBezTo>
                    <a:cubicBezTo>
                      <a:pt x="1760138" y="779775"/>
                      <a:pt x="1717857" y="850838"/>
                      <a:pt x="1700478" y="891252"/>
                    </a:cubicBezTo>
                    <a:lnTo>
                      <a:pt x="212611" y="547979"/>
                    </a:lnTo>
                    <a:close/>
                  </a:path>
                </a:pathLst>
              </a:custGeom>
              <a:solidFill>
                <a:srgbClr val="8CC3D2">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4" name="Freihandform 26"/>
              <p:cNvSpPr>
                <a:spLocks noChangeArrowheads="1"/>
              </p:cNvSpPr>
              <p:nvPr/>
            </p:nvSpPr>
            <p:spPr bwMode="auto">
              <a:xfrm>
                <a:off x="1804485" y="656735"/>
                <a:ext cx="1272871" cy="1196912"/>
              </a:xfrm>
              <a:custGeom>
                <a:avLst/>
                <a:gdLst>
                  <a:gd name="T0" fmla="*/ 611646 w 1432998"/>
                  <a:gd name="T1" fmla="*/ 1196912 h 1172745"/>
                  <a:gd name="T2" fmla="*/ 41968 w 1432998"/>
                  <a:gd name="T3" fmla="*/ 589957 h 1172745"/>
                  <a:gd name="T4" fmla="*/ 309178 w 1432998"/>
                  <a:gd name="T5" fmla="*/ 298178 h 1172745"/>
                  <a:gd name="T6" fmla="*/ 9289 w 1432998"/>
                  <a:gd name="T7" fmla="*/ 361862 h 1172745"/>
                  <a:gd name="T8" fmla="*/ 680425 w 1432998"/>
                  <a:gd name="T9" fmla="*/ 696 h 1172745"/>
                  <a:gd name="T10" fmla="*/ 596051 w 1432998"/>
                  <a:gd name="T11" fmla="*/ 146411 h 1172745"/>
                  <a:gd name="T12" fmla="*/ 861668 w 1432998"/>
                  <a:gd name="T13" fmla="*/ 88082 h 1172745"/>
                  <a:gd name="T14" fmla="*/ 1272871 w 1432998"/>
                  <a:gd name="T15" fmla="*/ 571817 h 1172745"/>
                  <a:gd name="T16" fmla="*/ 611646 w 1432998"/>
                  <a:gd name="T17" fmla="*/ 1196912 h 11727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32998"/>
                  <a:gd name="T28" fmla="*/ 0 h 1172745"/>
                  <a:gd name="T29" fmla="*/ 1432998 w 1432998"/>
                  <a:gd name="T30" fmla="*/ 1172745 h 11727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32998" h="1172745">
                    <a:moveTo>
                      <a:pt x="688591" y="1172745"/>
                    </a:moveTo>
                    <a:lnTo>
                      <a:pt x="47248" y="578045"/>
                    </a:lnTo>
                    <a:cubicBezTo>
                      <a:pt x="119598" y="495925"/>
                      <a:pt x="433045" y="392818"/>
                      <a:pt x="348073" y="292157"/>
                    </a:cubicBezTo>
                    <a:cubicBezTo>
                      <a:pt x="292459" y="242601"/>
                      <a:pt x="64232" y="400356"/>
                      <a:pt x="10458" y="354556"/>
                    </a:cubicBezTo>
                    <a:cubicBezTo>
                      <a:pt x="-97198" y="252114"/>
                      <a:pt x="659380" y="-15245"/>
                      <a:pt x="766022" y="682"/>
                    </a:cubicBezTo>
                    <a:cubicBezTo>
                      <a:pt x="880335" y="17755"/>
                      <a:pt x="720813" y="70749"/>
                      <a:pt x="671034" y="143455"/>
                    </a:cubicBezTo>
                    <a:cubicBezTo>
                      <a:pt x="591785" y="259204"/>
                      <a:pt x="904293" y="117545"/>
                      <a:pt x="970066" y="86304"/>
                    </a:cubicBezTo>
                    <a:lnTo>
                      <a:pt x="1432998" y="560271"/>
                    </a:lnTo>
                    <a:cubicBezTo>
                      <a:pt x="1049634" y="827189"/>
                      <a:pt x="806226" y="1060184"/>
                      <a:pt x="688591" y="1172745"/>
                    </a:cubicBezTo>
                    <a:close/>
                  </a:path>
                </a:pathLst>
              </a:custGeom>
              <a:solidFill>
                <a:srgbClr val="8CC3D2">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5" name="Freihandform 27"/>
              <p:cNvSpPr>
                <a:spLocks noChangeArrowheads="1"/>
              </p:cNvSpPr>
              <p:nvPr/>
            </p:nvSpPr>
            <p:spPr bwMode="auto">
              <a:xfrm>
                <a:off x="608800" y="1245486"/>
                <a:ext cx="1717088" cy="1728679"/>
              </a:xfrm>
              <a:custGeom>
                <a:avLst/>
                <a:gdLst>
                  <a:gd name="T0" fmla="*/ 1021974 w 1933100"/>
                  <a:gd name="T1" fmla="*/ 1728679 h 1693774"/>
                  <a:gd name="T2" fmla="*/ 158268 w 1933100"/>
                  <a:gd name="T3" fmla="*/ 996190 h 1693774"/>
                  <a:gd name="T4" fmla="*/ 288277 w 1933100"/>
                  <a:gd name="T5" fmla="*/ 548107 h 1693774"/>
                  <a:gd name="T6" fmla="*/ 16611 w 1933100"/>
                  <a:gd name="T7" fmla="*/ 643565 h 1693774"/>
                  <a:gd name="T8" fmla="*/ 817946 w 1933100"/>
                  <a:gd name="T9" fmla="*/ 16399 h 1693774"/>
                  <a:gd name="T10" fmla="*/ 701522 w 1933100"/>
                  <a:gd name="T11" fmla="*/ 238512 h 1693774"/>
                  <a:gd name="T12" fmla="*/ 1087392 w 1933100"/>
                  <a:gd name="T13" fmla="*/ 100317 h 1693774"/>
                  <a:gd name="T14" fmla="*/ 1717088 w 1933100"/>
                  <a:gd name="T15" fmla="*/ 716067 h 1693774"/>
                  <a:gd name="T16" fmla="*/ 1021974 w 1933100"/>
                  <a:gd name="T17" fmla="*/ 1728679 h 16937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33100"/>
                  <a:gd name="T28" fmla="*/ 0 h 1693774"/>
                  <a:gd name="T29" fmla="*/ 1933100 w 1933100"/>
                  <a:gd name="T30" fmla="*/ 1693774 h 16937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33100" h="1693774">
                    <a:moveTo>
                      <a:pt x="1150540" y="1693774"/>
                    </a:moveTo>
                    <a:lnTo>
                      <a:pt x="178178" y="976075"/>
                    </a:lnTo>
                    <a:cubicBezTo>
                      <a:pt x="831512" y="340729"/>
                      <a:pt x="467383" y="454429"/>
                      <a:pt x="324543" y="537040"/>
                    </a:cubicBezTo>
                    <a:cubicBezTo>
                      <a:pt x="268334" y="569548"/>
                      <a:pt x="79350" y="668484"/>
                      <a:pt x="18701" y="630570"/>
                    </a:cubicBezTo>
                    <a:cubicBezTo>
                      <a:pt x="-144037" y="528836"/>
                      <a:pt x="805625" y="-108492"/>
                      <a:pt x="920845" y="16068"/>
                    </a:cubicBezTo>
                    <a:cubicBezTo>
                      <a:pt x="973201" y="51482"/>
                      <a:pt x="739217" y="219992"/>
                      <a:pt x="789774" y="233696"/>
                    </a:cubicBezTo>
                    <a:cubicBezTo>
                      <a:pt x="840331" y="247400"/>
                      <a:pt x="1028352" y="177269"/>
                      <a:pt x="1224187" y="98291"/>
                    </a:cubicBezTo>
                    <a:lnTo>
                      <a:pt x="1933100" y="701608"/>
                    </a:lnTo>
                    <a:cubicBezTo>
                      <a:pt x="1544645" y="1109687"/>
                      <a:pt x="1317888" y="1444885"/>
                      <a:pt x="1150540" y="1693774"/>
                    </a:cubicBezTo>
                    <a:close/>
                  </a:path>
                </a:pathLst>
              </a:custGeom>
              <a:solidFill>
                <a:srgbClr val="8CC3D2">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6" name="Freihandform 28"/>
              <p:cNvSpPr>
                <a:spLocks noChangeArrowheads="1"/>
              </p:cNvSpPr>
              <p:nvPr/>
            </p:nvSpPr>
            <p:spPr bwMode="auto">
              <a:xfrm>
                <a:off x="2789273" y="267821"/>
                <a:ext cx="1081476" cy="874975"/>
              </a:xfrm>
              <a:custGeom>
                <a:avLst/>
                <a:gdLst>
                  <a:gd name="T0" fmla="*/ 25856 w 1217526"/>
                  <a:gd name="T1" fmla="*/ 406950 h 857311"/>
                  <a:gd name="T2" fmla="*/ 228310 w 1217526"/>
                  <a:gd name="T3" fmla="*/ 244486 h 857311"/>
                  <a:gd name="T4" fmla="*/ 1177 w 1217526"/>
                  <a:gd name="T5" fmla="*/ 232392 h 857311"/>
                  <a:gd name="T6" fmla="*/ 603396 w 1217526"/>
                  <a:gd name="T7" fmla="*/ 1622 h 857311"/>
                  <a:gd name="T8" fmla="*/ 533637 w 1217526"/>
                  <a:gd name="T9" fmla="*/ 130678 h 857311"/>
                  <a:gd name="T10" fmla="*/ 805351 w 1217526"/>
                  <a:gd name="T11" fmla="*/ 84489 h 857311"/>
                  <a:gd name="T12" fmla="*/ 1081476 w 1217526"/>
                  <a:gd name="T13" fmla="*/ 441743 h 857311"/>
                  <a:gd name="T14" fmla="*/ 400169 w 1217526"/>
                  <a:gd name="T15" fmla="*/ 874975 h 857311"/>
                  <a:gd name="T16" fmla="*/ 0 60000 65536"/>
                  <a:gd name="T17" fmla="*/ 0 60000 65536"/>
                  <a:gd name="T18" fmla="*/ 0 60000 65536"/>
                  <a:gd name="T19" fmla="*/ 0 60000 65536"/>
                  <a:gd name="T20" fmla="*/ 0 60000 65536"/>
                  <a:gd name="T21" fmla="*/ 0 60000 65536"/>
                  <a:gd name="T22" fmla="*/ 0 60000 65536"/>
                  <a:gd name="T23" fmla="*/ 0 60000 65536"/>
                  <a:gd name="T24" fmla="*/ 0 w 1217526"/>
                  <a:gd name="T25" fmla="*/ 0 h 857311"/>
                  <a:gd name="T26" fmla="*/ 1217526 w 1217526"/>
                  <a:gd name="T27" fmla="*/ 857311 h 8573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7526" h="857311">
                    <a:moveTo>
                      <a:pt x="29109" y="398734"/>
                    </a:moveTo>
                    <a:cubicBezTo>
                      <a:pt x="206864" y="299439"/>
                      <a:pt x="261662" y="268056"/>
                      <a:pt x="257031" y="239550"/>
                    </a:cubicBezTo>
                    <a:cubicBezTo>
                      <a:pt x="252400" y="211044"/>
                      <a:pt x="-21271" y="305260"/>
                      <a:pt x="1325" y="227700"/>
                    </a:cubicBezTo>
                    <a:cubicBezTo>
                      <a:pt x="19887" y="163988"/>
                      <a:pt x="579396" y="18199"/>
                      <a:pt x="679303" y="1589"/>
                    </a:cubicBezTo>
                    <a:cubicBezTo>
                      <a:pt x="779210" y="-15021"/>
                      <a:pt x="568915" y="103456"/>
                      <a:pt x="600769" y="128040"/>
                    </a:cubicBezTo>
                    <a:cubicBezTo>
                      <a:pt x="645572" y="162618"/>
                      <a:pt x="830830" y="102627"/>
                      <a:pt x="906664" y="82783"/>
                    </a:cubicBezTo>
                    <a:cubicBezTo>
                      <a:pt x="1050161" y="252608"/>
                      <a:pt x="1021244" y="216349"/>
                      <a:pt x="1217526" y="432825"/>
                    </a:cubicBezTo>
                    <a:cubicBezTo>
                      <a:pt x="858555" y="600516"/>
                      <a:pt x="608074" y="760353"/>
                      <a:pt x="450511" y="857311"/>
                    </a:cubicBezTo>
                  </a:path>
                </a:pathLst>
              </a:custGeom>
              <a:solidFill>
                <a:srgbClr val="8CC3D2">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7" name="Freihandform 29"/>
              <p:cNvSpPr>
                <a:spLocks noChangeArrowheads="1"/>
              </p:cNvSpPr>
              <p:nvPr/>
            </p:nvSpPr>
            <p:spPr bwMode="auto">
              <a:xfrm>
                <a:off x="3754201" y="0"/>
                <a:ext cx="782775" cy="641187"/>
              </a:xfrm>
              <a:custGeom>
                <a:avLst/>
                <a:gdLst>
                  <a:gd name="T0" fmla="*/ 256045 w 881249"/>
                  <a:gd name="T1" fmla="*/ 641187 h 628242"/>
                  <a:gd name="T2" fmla="*/ 0 w 881249"/>
                  <a:gd name="T3" fmla="*/ 298307 h 628242"/>
                  <a:gd name="T4" fmla="*/ 132325 w 881249"/>
                  <a:gd name="T5" fmla="*/ 156915 h 628242"/>
                  <a:gd name="T6" fmla="*/ 2909 w 881249"/>
                  <a:gd name="T7" fmla="*/ 154059 h 628242"/>
                  <a:gd name="T8" fmla="*/ 502369 w 881249"/>
                  <a:gd name="T9" fmla="*/ 59856 h 628242"/>
                  <a:gd name="T10" fmla="*/ 636874 w 881249"/>
                  <a:gd name="T11" fmla="*/ 96784 h 628242"/>
                  <a:gd name="T12" fmla="*/ 782775 w 881249"/>
                  <a:gd name="T13" fmla="*/ 412029 h 628242"/>
                  <a:gd name="T14" fmla="*/ 256045 w 881249"/>
                  <a:gd name="T15" fmla="*/ 641187 h 628242"/>
                  <a:gd name="T16" fmla="*/ 0 60000 65536"/>
                  <a:gd name="T17" fmla="*/ 0 60000 65536"/>
                  <a:gd name="T18" fmla="*/ 0 60000 65536"/>
                  <a:gd name="T19" fmla="*/ 0 60000 65536"/>
                  <a:gd name="T20" fmla="*/ 0 60000 65536"/>
                  <a:gd name="T21" fmla="*/ 0 60000 65536"/>
                  <a:gd name="T22" fmla="*/ 0 60000 65536"/>
                  <a:gd name="T23" fmla="*/ 0 60000 65536"/>
                  <a:gd name="T24" fmla="*/ 0 w 881249"/>
                  <a:gd name="T25" fmla="*/ 0 h 628242"/>
                  <a:gd name="T26" fmla="*/ 881249 w 881249"/>
                  <a:gd name="T27" fmla="*/ 628242 h 6282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1249" h="628242">
                    <a:moveTo>
                      <a:pt x="288256" y="628242"/>
                    </a:moveTo>
                    <a:cubicBezTo>
                      <a:pt x="164850" y="482526"/>
                      <a:pt x="123406" y="438000"/>
                      <a:pt x="0" y="292284"/>
                    </a:cubicBezTo>
                    <a:cubicBezTo>
                      <a:pt x="79035" y="264602"/>
                      <a:pt x="273700" y="176344"/>
                      <a:pt x="148972" y="153747"/>
                    </a:cubicBezTo>
                    <a:cubicBezTo>
                      <a:pt x="93557" y="144827"/>
                      <a:pt x="37886" y="185345"/>
                      <a:pt x="3275" y="150949"/>
                    </a:cubicBezTo>
                    <a:cubicBezTo>
                      <a:pt x="-46426" y="93141"/>
                      <a:pt x="739648" y="-94094"/>
                      <a:pt x="565568" y="58648"/>
                    </a:cubicBezTo>
                    <a:cubicBezTo>
                      <a:pt x="484209" y="145559"/>
                      <a:pt x="620173" y="105328"/>
                      <a:pt x="716994" y="94830"/>
                    </a:cubicBezTo>
                    <a:lnTo>
                      <a:pt x="881249" y="403711"/>
                    </a:lnTo>
                    <a:cubicBezTo>
                      <a:pt x="610743" y="494732"/>
                      <a:pt x="512831" y="534438"/>
                      <a:pt x="288256" y="628242"/>
                    </a:cubicBezTo>
                    <a:close/>
                  </a:path>
                </a:pathLst>
              </a:custGeom>
              <a:solidFill>
                <a:srgbClr val="8CC3D2">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grpSp>
        <p:grpSp>
          <p:nvGrpSpPr>
            <p:cNvPr id="19496" name="Gruppieren 30"/>
            <p:cNvGrpSpPr>
              <a:grpSpLocks/>
            </p:cNvGrpSpPr>
            <p:nvPr/>
          </p:nvGrpSpPr>
          <p:grpSpPr bwMode="auto">
            <a:xfrm>
              <a:off x="3277640" y="295384"/>
              <a:ext cx="5207924" cy="1584226"/>
              <a:chOff x="0" y="0"/>
              <a:chExt cx="4536976" cy="3214092"/>
            </a:xfrm>
          </p:grpSpPr>
          <p:sp>
            <p:nvSpPr>
              <p:cNvPr id="19498" name="Freihandform 31"/>
              <p:cNvSpPr>
                <a:spLocks noChangeArrowheads="1"/>
              </p:cNvSpPr>
              <p:nvPr/>
            </p:nvSpPr>
            <p:spPr bwMode="auto">
              <a:xfrm>
                <a:off x="0" y="2304474"/>
                <a:ext cx="1579543" cy="909618"/>
              </a:xfrm>
              <a:custGeom>
                <a:avLst/>
                <a:gdLst>
                  <a:gd name="T0" fmla="*/ 188853 w 1778249"/>
                  <a:gd name="T1" fmla="*/ 559271 h 891252"/>
                  <a:gd name="T2" fmla="*/ 142564 w 1778249"/>
                  <a:gd name="T3" fmla="*/ 353507 h 891252"/>
                  <a:gd name="T4" fmla="*/ 372094 w 1778249"/>
                  <a:gd name="T5" fmla="*/ 46906 h 891252"/>
                  <a:gd name="T6" fmla="*/ 638330 w 1778249"/>
                  <a:gd name="T7" fmla="*/ 52114 h 891252"/>
                  <a:gd name="T8" fmla="*/ 1579543 w 1778249"/>
                  <a:gd name="T9" fmla="*/ 766199 h 891252"/>
                  <a:gd name="T10" fmla="*/ 1510462 w 1778249"/>
                  <a:gd name="T11" fmla="*/ 909618 h 891252"/>
                  <a:gd name="T12" fmla="*/ 188853 w 1778249"/>
                  <a:gd name="T13" fmla="*/ 559271 h 891252"/>
                  <a:gd name="T14" fmla="*/ 0 60000 65536"/>
                  <a:gd name="T15" fmla="*/ 0 60000 65536"/>
                  <a:gd name="T16" fmla="*/ 0 60000 65536"/>
                  <a:gd name="T17" fmla="*/ 0 60000 65536"/>
                  <a:gd name="T18" fmla="*/ 0 60000 65536"/>
                  <a:gd name="T19" fmla="*/ 0 60000 65536"/>
                  <a:gd name="T20" fmla="*/ 0 60000 65536"/>
                  <a:gd name="T21" fmla="*/ 0 w 1778249"/>
                  <a:gd name="T22" fmla="*/ 0 h 891252"/>
                  <a:gd name="T23" fmla="*/ 1778249 w 1778249"/>
                  <a:gd name="T24" fmla="*/ 891252 h 8912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78249" h="891252">
                    <a:moveTo>
                      <a:pt x="212611" y="547979"/>
                    </a:moveTo>
                    <a:cubicBezTo>
                      <a:pt x="564384" y="169698"/>
                      <a:pt x="327680" y="281848"/>
                      <a:pt x="160498" y="346369"/>
                    </a:cubicBezTo>
                    <a:cubicBezTo>
                      <a:pt x="-309276" y="522496"/>
                      <a:pt x="399850" y="-182200"/>
                      <a:pt x="418903" y="45959"/>
                    </a:cubicBezTo>
                    <a:cubicBezTo>
                      <a:pt x="433070" y="154217"/>
                      <a:pt x="534129" y="179410"/>
                      <a:pt x="718632" y="51062"/>
                    </a:cubicBezTo>
                    <a:cubicBezTo>
                      <a:pt x="1226005" y="388023"/>
                      <a:pt x="1319983" y="440003"/>
                      <a:pt x="1778249" y="750729"/>
                    </a:cubicBezTo>
                    <a:cubicBezTo>
                      <a:pt x="1760138" y="779775"/>
                      <a:pt x="1717857" y="850838"/>
                      <a:pt x="1700478" y="891252"/>
                    </a:cubicBezTo>
                    <a:lnTo>
                      <a:pt x="212611" y="547979"/>
                    </a:lnTo>
                    <a:close/>
                  </a:path>
                </a:pathLst>
              </a:custGeom>
              <a:solidFill>
                <a:srgbClr val="DFE6ED">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99" name="Freihandform 32"/>
              <p:cNvSpPr>
                <a:spLocks noChangeArrowheads="1"/>
              </p:cNvSpPr>
              <p:nvPr/>
            </p:nvSpPr>
            <p:spPr bwMode="auto">
              <a:xfrm>
                <a:off x="1804485" y="656735"/>
                <a:ext cx="1272871" cy="1196912"/>
              </a:xfrm>
              <a:custGeom>
                <a:avLst/>
                <a:gdLst>
                  <a:gd name="T0" fmla="*/ 611646 w 1432998"/>
                  <a:gd name="T1" fmla="*/ 1196912 h 1172745"/>
                  <a:gd name="T2" fmla="*/ 41968 w 1432998"/>
                  <a:gd name="T3" fmla="*/ 589957 h 1172745"/>
                  <a:gd name="T4" fmla="*/ 309178 w 1432998"/>
                  <a:gd name="T5" fmla="*/ 298178 h 1172745"/>
                  <a:gd name="T6" fmla="*/ 9289 w 1432998"/>
                  <a:gd name="T7" fmla="*/ 361862 h 1172745"/>
                  <a:gd name="T8" fmla="*/ 680425 w 1432998"/>
                  <a:gd name="T9" fmla="*/ 696 h 1172745"/>
                  <a:gd name="T10" fmla="*/ 596051 w 1432998"/>
                  <a:gd name="T11" fmla="*/ 146411 h 1172745"/>
                  <a:gd name="T12" fmla="*/ 861668 w 1432998"/>
                  <a:gd name="T13" fmla="*/ 88082 h 1172745"/>
                  <a:gd name="T14" fmla="*/ 1272871 w 1432998"/>
                  <a:gd name="T15" fmla="*/ 571817 h 1172745"/>
                  <a:gd name="T16" fmla="*/ 611646 w 1432998"/>
                  <a:gd name="T17" fmla="*/ 1196912 h 11727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32998"/>
                  <a:gd name="T28" fmla="*/ 0 h 1172745"/>
                  <a:gd name="T29" fmla="*/ 1432998 w 1432998"/>
                  <a:gd name="T30" fmla="*/ 1172745 h 11727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32998" h="1172745">
                    <a:moveTo>
                      <a:pt x="688591" y="1172745"/>
                    </a:moveTo>
                    <a:lnTo>
                      <a:pt x="47248" y="578045"/>
                    </a:lnTo>
                    <a:cubicBezTo>
                      <a:pt x="119598" y="495925"/>
                      <a:pt x="433045" y="392818"/>
                      <a:pt x="348073" y="292157"/>
                    </a:cubicBezTo>
                    <a:cubicBezTo>
                      <a:pt x="292459" y="242601"/>
                      <a:pt x="64232" y="400356"/>
                      <a:pt x="10458" y="354556"/>
                    </a:cubicBezTo>
                    <a:cubicBezTo>
                      <a:pt x="-97198" y="252114"/>
                      <a:pt x="659380" y="-15245"/>
                      <a:pt x="766022" y="682"/>
                    </a:cubicBezTo>
                    <a:cubicBezTo>
                      <a:pt x="880335" y="17755"/>
                      <a:pt x="720813" y="70749"/>
                      <a:pt x="671034" y="143455"/>
                    </a:cubicBezTo>
                    <a:cubicBezTo>
                      <a:pt x="591785" y="259204"/>
                      <a:pt x="904293" y="117545"/>
                      <a:pt x="970066" y="86304"/>
                    </a:cubicBezTo>
                    <a:lnTo>
                      <a:pt x="1432998" y="560271"/>
                    </a:lnTo>
                    <a:cubicBezTo>
                      <a:pt x="1049634" y="827189"/>
                      <a:pt x="806226" y="1060184"/>
                      <a:pt x="688591" y="1172745"/>
                    </a:cubicBezTo>
                    <a:close/>
                  </a:path>
                </a:pathLst>
              </a:custGeom>
              <a:solidFill>
                <a:srgbClr val="DFE6ED">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0" name="Freihandform 33"/>
              <p:cNvSpPr>
                <a:spLocks noChangeArrowheads="1"/>
              </p:cNvSpPr>
              <p:nvPr/>
            </p:nvSpPr>
            <p:spPr bwMode="auto">
              <a:xfrm>
                <a:off x="608800" y="1245486"/>
                <a:ext cx="1717088" cy="1728679"/>
              </a:xfrm>
              <a:custGeom>
                <a:avLst/>
                <a:gdLst>
                  <a:gd name="T0" fmla="*/ 1021974 w 1933100"/>
                  <a:gd name="T1" fmla="*/ 1728679 h 1693774"/>
                  <a:gd name="T2" fmla="*/ 158268 w 1933100"/>
                  <a:gd name="T3" fmla="*/ 996190 h 1693774"/>
                  <a:gd name="T4" fmla="*/ 288277 w 1933100"/>
                  <a:gd name="T5" fmla="*/ 548107 h 1693774"/>
                  <a:gd name="T6" fmla="*/ 16611 w 1933100"/>
                  <a:gd name="T7" fmla="*/ 643565 h 1693774"/>
                  <a:gd name="T8" fmla="*/ 817946 w 1933100"/>
                  <a:gd name="T9" fmla="*/ 16399 h 1693774"/>
                  <a:gd name="T10" fmla="*/ 701522 w 1933100"/>
                  <a:gd name="T11" fmla="*/ 238512 h 1693774"/>
                  <a:gd name="T12" fmla="*/ 1087392 w 1933100"/>
                  <a:gd name="T13" fmla="*/ 100317 h 1693774"/>
                  <a:gd name="T14" fmla="*/ 1717088 w 1933100"/>
                  <a:gd name="T15" fmla="*/ 716067 h 1693774"/>
                  <a:gd name="T16" fmla="*/ 1021974 w 1933100"/>
                  <a:gd name="T17" fmla="*/ 1728679 h 16937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33100"/>
                  <a:gd name="T28" fmla="*/ 0 h 1693774"/>
                  <a:gd name="T29" fmla="*/ 1933100 w 1933100"/>
                  <a:gd name="T30" fmla="*/ 1693774 h 16937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33100" h="1693774">
                    <a:moveTo>
                      <a:pt x="1150540" y="1693774"/>
                    </a:moveTo>
                    <a:lnTo>
                      <a:pt x="178178" y="976075"/>
                    </a:lnTo>
                    <a:cubicBezTo>
                      <a:pt x="831512" y="340729"/>
                      <a:pt x="467383" y="454429"/>
                      <a:pt x="324543" y="537040"/>
                    </a:cubicBezTo>
                    <a:cubicBezTo>
                      <a:pt x="268334" y="569548"/>
                      <a:pt x="79350" y="668484"/>
                      <a:pt x="18701" y="630570"/>
                    </a:cubicBezTo>
                    <a:cubicBezTo>
                      <a:pt x="-144037" y="528836"/>
                      <a:pt x="805625" y="-108492"/>
                      <a:pt x="920845" y="16068"/>
                    </a:cubicBezTo>
                    <a:cubicBezTo>
                      <a:pt x="973201" y="51482"/>
                      <a:pt x="739217" y="219992"/>
                      <a:pt x="789774" y="233696"/>
                    </a:cubicBezTo>
                    <a:cubicBezTo>
                      <a:pt x="840331" y="247400"/>
                      <a:pt x="1028352" y="177269"/>
                      <a:pt x="1224187" y="98291"/>
                    </a:cubicBezTo>
                    <a:lnTo>
                      <a:pt x="1933100" y="701608"/>
                    </a:lnTo>
                    <a:cubicBezTo>
                      <a:pt x="1544645" y="1109687"/>
                      <a:pt x="1317888" y="1444885"/>
                      <a:pt x="1150540" y="1693774"/>
                    </a:cubicBezTo>
                    <a:close/>
                  </a:path>
                </a:pathLst>
              </a:custGeom>
              <a:solidFill>
                <a:srgbClr val="DFE6ED">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1" name="Freihandform 34"/>
              <p:cNvSpPr>
                <a:spLocks noChangeArrowheads="1"/>
              </p:cNvSpPr>
              <p:nvPr/>
            </p:nvSpPr>
            <p:spPr bwMode="auto">
              <a:xfrm>
                <a:off x="2789273" y="267821"/>
                <a:ext cx="1081476" cy="874975"/>
              </a:xfrm>
              <a:custGeom>
                <a:avLst/>
                <a:gdLst>
                  <a:gd name="T0" fmla="*/ 25856 w 1217526"/>
                  <a:gd name="T1" fmla="*/ 406950 h 857311"/>
                  <a:gd name="T2" fmla="*/ 228310 w 1217526"/>
                  <a:gd name="T3" fmla="*/ 244486 h 857311"/>
                  <a:gd name="T4" fmla="*/ 1177 w 1217526"/>
                  <a:gd name="T5" fmla="*/ 232392 h 857311"/>
                  <a:gd name="T6" fmla="*/ 603396 w 1217526"/>
                  <a:gd name="T7" fmla="*/ 1622 h 857311"/>
                  <a:gd name="T8" fmla="*/ 533637 w 1217526"/>
                  <a:gd name="T9" fmla="*/ 130678 h 857311"/>
                  <a:gd name="T10" fmla="*/ 805351 w 1217526"/>
                  <a:gd name="T11" fmla="*/ 84489 h 857311"/>
                  <a:gd name="T12" fmla="*/ 1081476 w 1217526"/>
                  <a:gd name="T13" fmla="*/ 441743 h 857311"/>
                  <a:gd name="T14" fmla="*/ 400169 w 1217526"/>
                  <a:gd name="T15" fmla="*/ 874975 h 857311"/>
                  <a:gd name="T16" fmla="*/ 0 60000 65536"/>
                  <a:gd name="T17" fmla="*/ 0 60000 65536"/>
                  <a:gd name="T18" fmla="*/ 0 60000 65536"/>
                  <a:gd name="T19" fmla="*/ 0 60000 65536"/>
                  <a:gd name="T20" fmla="*/ 0 60000 65536"/>
                  <a:gd name="T21" fmla="*/ 0 60000 65536"/>
                  <a:gd name="T22" fmla="*/ 0 60000 65536"/>
                  <a:gd name="T23" fmla="*/ 0 60000 65536"/>
                  <a:gd name="T24" fmla="*/ 0 w 1217526"/>
                  <a:gd name="T25" fmla="*/ 0 h 857311"/>
                  <a:gd name="T26" fmla="*/ 1217526 w 1217526"/>
                  <a:gd name="T27" fmla="*/ 857311 h 8573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7526" h="857311">
                    <a:moveTo>
                      <a:pt x="29109" y="398734"/>
                    </a:moveTo>
                    <a:cubicBezTo>
                      <a:pt x="206864" y="299439"/>
                      <a:pt x="261662" y="268056"/>
                      <a:pt x="257031" y="239550"/>
                    </a:cubicBezTo>
                    <a:cubicBezTo>
                      <a:pt x="252400" y="211044"/>
                      <a:pt x="-21271" y="305260"/>
                      <a:pt x="1325" y="227700"/>
                    </a:cubicBezTo>
                    <a:cubicBezTo>
                      <a:pt x="19887" y="163988"/>
                      <a:pt x="579396" y="18199"/>
                      <a:pt x="679303" y="1589"/>
                    </a:cubicBezTo>
                    <a:cubicBezTo>
                      <a:pt x="779210" y="-15021"/>
                      <a:pt x="568915" y="103456"/>
                      <a:pt x="600769" y="128040"/>
                    </a:cubicBezTo>
                    <a:cubicBezTo>
                      <a:pt x="645572" y="162618"/>
                      <a:pt x="830830" y="102627"/>
                      <a:pt x="906664" y="82783"/>
                    </a:cubicBezTo>
                    <a:cubicBezTo>
                      <a:pt x="1050161" y="252608"/>
                      <a:pt x="1021244" y="216349"/>
                      <a:pt x="1217526" y="432825"/>
                    </a:cubicBezTo>
                    <a:cubicBezTo>
                      <a:pt x="858555" y="600516"/>
                      <a:pt x="608074" y="760353"/>
                      <a:pt x="450511" y="857311"/>
                    </a:cubicBezTo>
                  </a:path>
                </a:pathLst>
              </a:custGeom>
              <a:solidFill>
                <a:srgbClr val="DFE6ED">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502" name="Freihandform 35"/>
              <p:cNvSpPr>
                <a:spLocks noChangeArrowheads="1"/>
              </p:cNvSpPr>
              <p:nvPr/>
            </p:nvSpPr>
            <p:spPr bwMode="auto">
              <a:xfrm>
                <a:off x="3754201" y="0"/>
                <a:ext cx="782775" cy="641187"/>
              </a:xfrm>
              <a:custGeom>
                <a:avLst/>
                <a:gdLst>
                  <a:gd name="T0" fmla="*/ 256045 w 881249"/>
                  <a:gd name="T1" fmla="*/ 641187 h 628242"/>
                  <a:gd name="T2" fmla="*/ 0 w 881249"/>
                  <a:gd name="T3" fmla="*/ 298307 h 628242"/>
                  <a:gd name="T4" fmla="*/ 132325 w 881249"/>
                  <a:gd name="T5" fmla="*/ 156915 h 628242"/>
                  <a:gd name="T6" fmla="*/ 2909 w 881249"/>
                  <a:gd name="T7" fmla="*/ 154059 h 628242"/>
                  <a:gd name="T8" fmla="*/ 502369 w 881249"/>
                  <a:gd name="T9" fmla="*/ 59856 h 628242"/>
                  <a:gd name="T10" fmla="*/ 636874 w 881249"/>
                  <a:gd name="T11" fmla="*/ 96784 h 628242"/>
                  <a:gd name="T12" fmla="*/ 782775 w 881249"/>
                  <a:gd name="T13" fmla="*/ 412029 h 628242"/>
                  <a:gd name="T14" fmla="*/ 256045 w 881249"/>
                  <a:gd name="T15" fmla="*/ 641187 h 628242"/>
                  <a:gd name="T16" fmla="*/ 0 60000 65536"/>
                  <a:gd name="T17" fmla="*/ 0 60000 65536"/>
                  <a:gd name="T18" fmla="*/ 0 60000 65536"/>
                  <a:gd name="T19" fmla="*/ 0 60000 65536"/>
                  <a:gd name="T20" fmla="*/ 0 60000 65536"/>
                  <a:gd name="T21" fmla="*/ 0 60000 65536"/>
                  <a:gd name="T22" fmla="*/ 0 60000 65536"/>
                  <a:gd name="T23" fmla="*/ 0 60000 65536"/>
                  <a:gd name="T24" fmla="*/ 0 w 881249"/>
                  <a:gd name="T25" fmla="*/ 0 h 628242"/>
                  <a:gd name="T26" fmla="*/ 881249 w 881249"/>
                  <a:gd name="T27" fmla="*/ 628242 h 6282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1249" h="628242">
                    <a:moveTo>
                      <a:pt x="288256" y="628242"/>
                    </a:moveTo>
                    <a:cubicBezTo>
                      <a:pt x="164850" y="482526"/>
                      <a:pt x="123406" y="438000"/>
                      <a:pt x="0" y="292284"/>
                    </a:cubicBezTo>
                    <a:cubicBezTo>
                      <a:pt x="79035" y="264602"/>
                      <a:pt x="273700" y="176344"/>
                      <a:pt x="148972" y="153747"/>
                    </a:cubicBezTo>
                    <a:cubicBezTo>
                      <a:pt x="93557" y="144827"/>
                      <a:pt x="37886" y="185345"/>
                      <a:pt x="3275" y="150949"/>
                    </a:cubicBezTo>
                    <a:cubicBezTo>
                      <a:pt x="-46426" y="93141"/>
                      <a:pt x="739648" y="-94094"/>
                      <a:pt x="565568" y="58648"/>
                    </a:cubicBezTo>
                    <a:cubicBezTo>
                      <a:pt x="484209" y="145559"/>
                      <a:pt x="620173" y="105328"/>
                      <a:pt x="716994" y="94830"/>
                    </a:cubicBezTo>
                    <a:lnTo>
                      <a:pt x="881249" y="403711"/>
                    </a:lnTo>
                    <a:cubicBezTo>
                      <a:pt x="610743" y="494732"/>
                      <a:pt x="512831" y="534438"/>
                      <a:pt x="288256" y="628242"/>
                    </a:cubicBezTo>
                    <a:close/>
                  </a:path>
                </a:pathLst>
              </a:custGeom>
              <a:solidFill>
                <a:srgbClr val="DFE6ED">
                  <a:alpha val="54117"/>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grpSp>
        <p:sp>
          <p:nvSpPr>
            <p:cNvPr id="19497" name="Freihandform 36"/>
            <p:cNvSpPr>
              <a:spLocks noChangeArrowheads="1"/>
            </p:cNvSpPr>
            <p:nvPr/>
          </p:nvSpPr>
          <p:spPr bwMode="auto">
            <a:xfrm>
              <a:off x="4790810" y="512462"/>
              <a:ext cx="3348480" cy="1287632"/>
            </a:xfrm>
            <a:custGeom>
              <a:avLst/>
              <a:gdLst>
                <a:gd name="T0" fmla="*/ 93069 w 2917088"/>
                <a:gd name="T1" fmla="*/ 1287632 h 2612358"/>
                <a:gd name="T2" fmla="*/ 3348480 w 2917088"/>
                <a:gd name="T3" fmla="*/ 9995 h 2612358"/>
                <a:gd name="T4" fmla="*/ 3333948 w 2917088"/>
                <a:gd name="T5" fmla="*/ 0 h 2612358"/>
                <a:gd name="T6" fmla="*/ 0 w 2917088"/>
                <a:gd name="T7" fmla="*/ 1269539 h 2612358"/>
                <a:gd name="T8" fmla="*/ 93069 w 2917088"/>
                <a:gd name="T9" fmla="*/ 1287632 h 2612358"/>
                <a:gd name="T10" fmla="*/ 0 60000 65536"/>
                <a:gd name="T11" fmla="*/ 0 60000 65536"/>
                <a:gd name="T12" fmla="*/ 0 60000 65536"/>
                <a:gd name="T13" fmla="*/ 0 60000 65536"/>
                <a:gd name="T14" fmla="*/ 0 60000 65536"/>
                <a:gd name="T15" fmla="*/ 0 w 2917088"/>
                <a:gd name="T16" fmla="*/ 0 h 2612358"/>
                <a:gd name="T17" fmla="*/ 2917088 w 2917088"/>
                <a:gd name="T18" fmla="*/ 2612358 h 2612358"/>
              </a:gdLst>
              <a:ahLst/>
              <a:cxnLst>
                <a:cxn ang="T10">
                  <a:pos x="T0" y="T1"/>
                </a:cxn>
                <a:cxn ang="T11">
                  <a:pos x="T2" y="T3"/>
                </a:cxn>
                <a:cxn ang="T12">
                  <a:pos x="T4" y="T5"/>
                </a:cxn>
                <a:cxn ang="T13">
                  <a:pos x="T6" y="T7"/>
                </a:cxn>
                <a:cxn ang="T14">
                  <a:pos x="T8" y="T9"/>
                </a:cxn>
              </a:cxnLst>
              <a:rect l="T15" t="T16" r="T17" b="T18"/>
              <a:pathLst>
                <a:path w="2917088" h="2612358">
                  <a:moveTo>
                    <a:pt x="81079" y="2612358"/>
                  </a:moveTo>
                  <a:cubicBezTo>
                    <a:pt x="850296" y="1431711"/>
                    <a:pt x="1385128" y="673230"/>
                    <a:pt x="2917088" y="20277"/>
                  </a:cubicBezTo>
                  <a:lnTo>
                    <a:pt x="2904429" y="0"/>
                  </a:lnTo>
                  <a:cubicBezTo>
                    <a:pt x="1584074" y="560654"/>
                    <a:pt x="861065" y="1164360"/>
                    <a:pt x="0" y="2575651"/>
                  </a:cubicBezTo>
                  <a:lnTo>
                    <a:pt x="81079" y="2612358"/>
                  </a:lnTo>
                  <a:close/>
                </a:path>
              </a:pathLst>
            </a:custGeom>
            <a:solidFill>
              <a:srgbClr val="FFFFFF"/>
            </a:solidFill>
            <a:ln w="9525">
              <a:noFill/>
              <a:miter lim="800000"/>
              <a:headEnd/>
              <a:tailEnd/>
            </a:ln>
          </p:spPr>
          <p:txBody>
            <a:bodyPr lIns="90720" tIns="45360" rIns="90720" bIns="45360" anchor="ctr"/>
            <a:lstStyle/>
            <a:p>
              <a:pPr algn="ctr">
                <a:lnSpc>
                  <a:spcPct val="110000"/>
                </a:lnSpc>
                <a:spcBef>
                  <a:spcPct val="0"/>
                </a:spcBef>
              </a:pPr>
              <a:endParaRPr lang="zh-CN" altLang="zh-CN" sz="1500" b="1">
                <a:solidFill>
                  <a:srgbClr val="000000"/>
                </a:solidFill>
                <a:latin typeface="微软雅黑" panose="020B0503020204020204" pitchFamily="34" charset="-122"/>
                <a:ea typeface="微软雅黑" panose="020B0503020204020204" pitchFamily="34" charset="-122"/>
              </a:endParaRPr>
            </a:p>
          </p:txBody>
        </p:sp>
      </p:grpSp>
      <p:sp>
        <p:nvSpPr>
          <p:cNvPr id="19459" name="Rectangle 31"/>
          <p:cNvSpPr>
            <a:spLocks noChangeArrowheads="1"/>
          </p:cNvSpPr>
          <p:nvPr/>
        </p:nvSpPr>
        <p:spPr bwMode="auto">
          <a:xfrm>
            <a:off x="3175" y="3968750"/>
            <a:ext cx="12192000" cy="2889250"/>
          </a:xfrm>
          <a:prstGeom prst="rect">
            <a:avLst/>
          </a:prstGeom>
          <a:solidFill>
            <a:srgbClr val="FFFFFF">
              <a:alpha val="83136"/>
            </a:srgbClr>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FFFFFF"/>
              </a:solidFill>
              <a:latin typeface="微软雅黑" panose="020B0503020204020204" pitchFamily="34" charset="-122"/>
              <a:ea typeface="微软雅黑" panose="020B0503020204020204" pitchFamily="34" charset="-122"/>
            </a:endParaRPr>
          </a:p>
        </p:txBody>
      </p:sp>
      <p:sp>
        <p:nvSpPr>
          <p:cNvPr id="29725" name="Left-Right Arrow 33"/>
          <p:cNvSpPr>
            <a:spLocks noChangeArrowheads="1"/>
          </p:cNvSpPr>
          <p:nvPr/>
        </p:nvSpPr>
        <p:spPr bwMode="auto">
          <a:xfrm>
            <a:off x="4094163" y="5710238"/>
            <a:ext cx="4106862" cy="1222375"/>
          </a:xfrm>
          <a:prstGeom prst="leftRightArrow">
            <a:avLst>
              <a:gd name="adj1" fmla="val 50000"/>
              <a:gd name="adj2" fmla="val 49992"/>
            </a:avLst>
          </a:prstGeom>
          <a:solidFill>
            <a:srgbClr val="EB780A"/>
          </a:solidFill>
          <a:ln w="9525">
            <a:noFill/>
            <a:miter lim="800000"/>
            <a:headEnd/>
            <a:tailEnd/>
          </a:ln>
        </p:spPr>
        <p:txBody>
          <a:bodyPr lIns="108000" tIns="54000" rIns="108000" bIns="54000" anchor="ctr"/>
          <a:lstStyle/>
          <a:p>
            <a:pPr algn="ctr">
              <a:lnSpc>
                <a:spcPct val="110000"/>
              </a:lnSpc>
              <a:spcBef>
                <a:spcPct val="0"/>
              </a:spcBef>
            </a:pPr>
            <a:r>
              <a:rPr lang="zh-CN" altLang="en-US" b="1">
                <a:solidFill>
                  <a:srgbClr val="FFFFFF"/>
                </a:solidFill>
                <a:latin typeface="微软雅黑" panose="020B0503020204020204" pitchFamily="34" charset="-122"/>
                <a:ea typeface="微软雅黑" panose="020B0503020204020204" pitchFamily="34" charset="-122"/>
              </a:rPr>
              <a:t>无缝集成</a:t>
            </a:r>
          </a:p>
        </p:txBody>
      </p:sp>
      <p:pic>
        <p:nvPicPr>
          <p:cNvPr id="19461" name="Objekt 2"/>
          <p:cNvPicPr>
            <a:picLocks noChangeAspect="1" noChangeArrowheads="1"/>
          </p:cNvPicPr>
          <p:nvPr/>
        </p:nvPicPr>
        <p:blipFill>
          <a:blip r:embed="rId3"/>
          <a:srcRect/>
          <a:stretch>
            <a:fillRect/>
          </a:stretch>
        </p:blipFill>
        <p:spPr bwMode="auto">
          <a:xfrm>
            <a:off x="1588" y="1588"/>
            <a:ext cx="1587" cy="1587"/>
          </a:xfrm>
          <a:prstGeom prst="rect">
            <a:avLst/>
          </a:prstGeom>
          <a:noFill/>
          <a:ln w="9525">
            <a:noFill/>
            <a:miter lim="800000"/>
            <a:headEnd/>
            <a:tailEnd/>
          </a:ln>
        </p:spPr>
      </p:pic>
      <p:sp>
        <p:nvSpPr>
          <p:cNvPr id="19462" name="Titel 1"/>
          <p:cNvSpPr>
            <a:spLocks noGrp="1" noChangeArrowheads="1"/>
          </p:cNvSpPr>
          <p:nvPr>
            <p:ph type="title"/>
          </p:nvPr>
        </p:nvSpPr>
        <p:spPr/>
        <p:txBody>
          <a:bodyPr/>
          <a:lstStyle/>
          <a:p>
            <a:r>
              <a:rPr lang="zh-CN" altLang="en-US" dirty="0">
                <a:latin typeface="Arial" pitchFamily="34" charset="0"/>
                <a:ea typeface="微软雅黑" panose="020B0503020204020204" pitchFamily="34" charset="-122"/>
              </a:rPr>
              <a:t>西门子数字化企业平台引领企业智能制造转型</a:t>
            </a:r>
            <a:r>
              <a:rPr lang="en-US" altLang="zh-CN" dirty="0">
                <a:latin typeface="Arial" pitchFamily="34" charset="0"/>
                <a:ea typeface="微软雅黑" panose="020B0503020204020204" pitchFamily="34" charset="-122"/>
              </a:rPr>
              <a:t/>
            </a:r>
            <a:br>
              <a:rPr lang="en-US" altLang="zh-CN" dirty="0">
                <a:latin typeface="Arial" pitchFamily="34" charset="0"/>
                <a:ea typeface="微软雅黑" panose="020B0503020204020204" pitchFamily="34" charset="-122"/>
              </a:rPr>
            </a:br>
            <a:r>
              <a:rPr lang="zh-CN" altLang="en-US" b="0" dirty="0">
                <a:latin typeface="Arial" pitchFamily="34" charset="0"/>
                <a:ea typeface="微软雅黑" panose="020B0503020204020204" pitchFamily="34" charset="-122"/>
              </a:rPr>
              <a:t>唯一一家有能力一站式提供智能制造核心技术</a:t>
            </a:r>
          </a:p>
        </p:txBody>
      </p:sp>
      <p:pic>
        <p:nvPicPr>
          <p:cNvPr id="29728" name="Picture 56" descr="Picture1.png"/>
          <p:cNvPicPr>
            <a:picLocks noChangeAspect="1" noChangeArrowheads="1"/>
          </p:cNvPicPr>
          <p:nvPr/>
        </p:nvPicPr>
        <p:blipFill>
          <a:blip r:embed="rId4"/>
          <a:srcRect/>
          <a:stretch>
            <a:fillRect/>
          </a:stretch>
        </p:blipFill>
        <p:spPr bwMode="auto">
          <a:xfrm>
            <a:off x="3390900" y="1300163"/>
            <a:ext cx="5418138" cy="5030787"/>
          </a:xfrm>
          <a:prstGeom prst="rect">
            <a:avLst/>
          </a:prstGeom>
          <a:noFill/>
          <a:ln w="9525">
            <a:noFill/>
            <a:miter lim="800000"/>
            <a:headEnd/>
            <a:tailEnd/>
          </a:ln>
        </p:spPr>
      </p:pic>
      <p:grpSp>
        <p:nvGrpSpPr>
          <p:cNvPr id="5" name="Group 34"/>
          <p:cNvGrpSpPr>
            <a:grpSpLocks/>
          </p:cNvGrpSpPr>
          <p:nvPr/>
        </p:nvGrpSpPr>
        <p:grpSpPr bwMode="auto">
          <a:xfrm>
            <a:off x="349250" y="2127250"/>
            <a:ext cx="4300538" cy="3943350"/>
            <a:chOff x="0" y="0"/>
            <a:chExt cx="4300535" cy="3943351"/>
          </a:xfrm>
        </p:grpSpPr>
        <p:sp>
          <p:nvSpPr>
            <p:cNvPr id="19481" name="Rectangular Callout 36"/>
            <p:cNvSpPr>
              <a:spLocks noChangeArrowheads="1"/>
            </p:cNvSpPr>
            <p:nvPr/>
          </p:nvSpPr>
          <p:spPr bwMode="auto">
            <a:xfrm>
              <a:off x="0" y="0"/>
              <a:ext cx="3744686" cy="1842018"/>
            </a:xfrm>
            <a:prstGeom prst="wedgeRectCallout">
              <a:avLst>
                <a:gd name="adj1" fmla="val 92731"/>
                <a:gd name="adj2" fmla="val 113713"/>
              </a:avLst>
            </a:prstGeom>
            <a:solidFill>
              <a:schemeClr val="accent2"/>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82" name="Right Arrow 37"/>
            <p:cNvSpPr>
              <a:spLocks noChangeArrowheads="1"/>
            </p:cNvSpPr>
            <p:nvPr/>
          </p:nvSpPr>
          <p:spPr bwMode="auto">
            <a:xfrm>
              <a:off x="0" y="2723652"/>
              <a:ext cx="4300535" cy="1219699"/>
            </a:xfrm>
            <a:prstGeom prst="rightArrow">
              <a:avLst>
                <a:gd name="adj1" fmla="val 50000"/>
                <a:gd name="adj2" fmla="val 49999"/>
              </a:avLst>
            </a:prstGeom>
            <a:solidFill>
              <a:srgbClr val="00B050"/>
            </a:solidFill>
            <a:ln w="9525">
              <a:noFill/>
              <a:miter lim="800000"/>
              <a:headEnd/>
              <a:tailEnd/>
            </a:ln>
          </p:spPr>
          <p:txBody>
            <a:bodyPr lIns="108000" tIns="54000" rIns="108000" bIns="54000" anchor="ctr"/>
            <a:lstStyle/>
            <a:p>
              <a:pPr algn="ctr">
                <a:lnSpc>
                  <a:spcPct val="110000"/>
                </a:lnSpc>
                <a:spcBef>
                  <a:spcPct val="0"/>
                </a:spcBef>
              </a:pPr>
              <a:r>
                <a:rPr lang="zh-CN" altLang="en-US" b="1" dirty="0">
                  <a:solidFill>
                    <a:srgbClr val="FFFFFF"/>
                  </a:solidFill>
                  <a:latin typeface="微软雅黑" panose="020B0503020204020204" pitchFamily="34" charset="-122"/>
                  <a:ea typeface="微软雅黑" panose="020B0503020204020204" pitchFamily="34" charset="-122"/>
                </a:rPr>
                <a:t>自上而下</a:t>
              </a:r>
              <a:r>
                <a:rPr lang="zh-CN" altLang="en-US" b="1" dirty="0" smtClean="0">
                  <a:solidFill>
                    <a:srgbClr val="FFFFFF"/>
                  </a:solidFill>
                  <a:latin typeface="微软雅黑" panose="020B0503020204020204" pitchFamily="34" charset="-122"/>
                  <a:ea typeface="微软雅黑" panose="020B0503020204020204" pitchFamily="34" charset="-122"/>
                </a:rPr>
                <a:t>的产品驱</a:t>
              </a:r>
              <a:r>
                <a:rPr lang="zh-CN" altLang="en-US" b="1" dirty="0">
                  <a:solidFill>
                    <a:srgbClr val="FFFFFF"/>
                  </a:solidFill>
                  <a:latin typeface="微软雅黑" panose="020B0503020204020204" pitchFamily="34" charset="-122"/>
                  <a:ea typeface="微软雅黑" panose="020B0503020204020204" pitchFamily="34" charset="-122"/>
                </a:rPr>
                <a:t>动</a:t>
              </a:r>
            </a:p>
          </p:txBody>
        </p:sp>
      </p:grpSp>
      <p:grpSp>
        <p:nvGrpSpPr>
          <p:cNvPr id="6" name="Group 38"/>
          <p:cNvGrpSpPr>
            <a:grpSpLocks/>
          </p:cNvGrpSpPr>
          <p:nvPr/>
        </p:nvGrpSpPr>
        <p:grpSpPr bwMode="auto">
          <a:xfrm>
            <a:off x="349250" y="1498600"/>
            <a:ext cx="3744913" cy="2470150"/>
            <a:chOff x="0" y="0"/>
            <a:chExt cx="3744686" cy="2471591"/>
          </a:xfrm>
        </p:grpSpPr>
        <p:sp>
          <p:nvSpPr>
            <p:cNvPr id="19479" name="Rectangle 40"/>
            <p:cNvSpPr>
              <a:spLocks noChangeArrowheads="1"/>
            </p:cNvSpPr>
            <p:nvPr/>
          </p:nvSpPr>
          <p:spPr bwMode="auto">
            <a:xfrm>
              <a:off x="0" y="0"/>
              <a:ext cx="3744686" cy="629573"/>
            </a:xfrm>
            <a:prstGeom prst="rect">
              <a:avLst/>
            </a:prstGeom>
            <a:solidFill>
              <a:srgbClr val="00B050"/>
            </a:solidFill>
            <a:ln w="9525">
              <a:noFill/>
              <a:miter lim="800000"/>
              <a:headEnd/>
              <a:tailEnd/>
            </a:ln>
          </p:spPr>
          <p:txBody>
            <a:bodyPr lIns="108000" tIns="180000" rIns="108000" bIns="54000"/>
            <a:lstStyle/>
            <a:p>
              <a:pPr algn="ctr">
                <a:lnSpc>
                  <a:spcPct val="110000"/>
                </a:lnSpc>
                <a:spcBef>
                  <a:spcPct val="0"/>
                </a:spcBef>
              </a:pPr>
              <a:r>
                <a:rPr lang="zh-CN" altLang="en-US" b="1" dirty="0">
                  <a:solidFill>
                    <a:srgbClr val="FFFFFF"/>
                  </a:solidFill>
                  <a:latin typeface="微软雅黑" panose="020B0503020204020204" pitchFamily="34" charset="-122"/>
                  <a:ea typeface="微软雅黑" panose="020B0503020204020204" pitchFamily="34" charset="-122"/>
                </a:rPr>
                <a:t>PLM软</a:t>
              </a:r>
              <a:r>
                <a:rPr lang="zh-CN" altLang="en-US" b="1" dirty="0" smtClean="0">
                  <a:solidFill>
                    <a:srgbClr val="FFFFFF"/>
                  </a:solidFill>
                  <a:latin typeface="微软雅黑" panose="020B0503020204020204" pitchFamily="34" charset="-122"/>
                  <a:ea typeface="微软雅黑" panose="020B0503020204020204" pitchFamily="34" charset="-122"/>
                </a:rPr>
                <a:t>件组</a:t>
              </a:r>
              <a:r>
                <a:rPr lang="zh-CN" altLang="en-US" b="1" dirty="0">
                  <a:solidFill>
                    <a:srgbClr val="FFFFFF"/>
                  </a:solidFill>
                  <a:latin typeface="微软雅黑" panose="020B0503020204020204" pitchFamily="34" charset="-122"/>
                  <a:ea typeface="微软雅黑" panose="020B0503020204020204" pitchFamily="34" charset="-122"/>
                </a:rPr>
                <a:t>合</a:t>
              </a:r>
            </a:p>
          </p:txBody>
        </p:sp>
        <p:sp>
          <p:nvSpPr>
            <p:cNvPr id="19480" name="Rectangle 41"/>
            <p:cNvSpPr>
              <a:spLocks noChangeArrowheads="1"/>
            </p:cNvSpPr>
            <p:nvPr/>
          </p:nvSpPr>
          <p:spPr bwMode="auto">
            <a:xfrm>
              <a:off x="0" y="629573"/>
              <a:ext cx="3744686" cy="1842018"/>
            </a:xfrm>
            <a:prstGeom prst="rect">
              <a:avLst/>
            </a:prstGeom>
            <a:solidFill>
              <a:schemeClr val="accent2"/>
            </a:solidFill>
            <a:ln w="9525">
              <a:noFill/>
              <a:miter lim="800000"/>
              <a:headEnd/>
              <a:tailEnd/>
            </a:ln>
          </p:spPr>
          <p:txBody>
            <a:bodyPr lIns="108000" tIns="144000" rIns="108000" bIns="54000"/>
            <a:lstStyle/>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产</a:t>
              </a:r>
              <a:r>
                <a:rPr lang="zh-CN" altLang="en-US" dirty="0" smtClean="0">
                  <a:solidFill>
                    <a:srgbClr val="000000"/>
                  </a:solidFill>
                  <a:latin typeface="微软雅黑" panose="020B0503020204020204" pitchFamily="34" charset="-122"/>
                  <a:ea typeface="微软雅黑" panose="020B0503020204020204" pitchFamily="34" charset="-122"/>
                </a:rPr>
                <a:t>品规划、</a:t>
              </a:r>
              <a:r>
                <a:rPr lang="zh-CN" altLang="en-US" dirty="0">
                  <a:solidFill>
                    <a:srgbClr val="000000"/>
                  </a:solidFill>
                  <a:latin typeface="微软雅黑" panose="020B0503020204020204" pitchFamily="34" charset="-122"/>
                  <a:ea typeface="微软雅黑" panose="020B0503020204020204" pitchFamily="34" charset="-122"/>
                </a:rPr>
                <a:t>设计、测试和仿真	</a:t>
              </a: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生产计划、工程和仿真</a:t>
              </a:r>
            </a:p>
          </p:txBody>
        </p:sp>
      </p:grpSp>
      <p:grpSp>
        <p:nvGrpSpPr>
          <p:cNvPr id="7" name="Group 42"/>
          <p:cNvGrpSpPr>
            <a:grpSpLocks/>
          </p:cNvGrpSpPr>
          <p:nvPr/>
        </p:nvGrpSpPr>
        <p:grpSpPr bwMode="auto">
          <a:xfrm>
            <a:off x="7599363" y="2127250"/>
            <a:ext cx="4300537" cy="3943350"/>
            <a:chOff x="0" y="0"/>
            <a:chExt cx="4300535" cy="3943351"/>
          </a:xfrm>
        </p:grpSpPr>
        <p:sp>
          <p:nvSpPr>
            <p:cNvPr id="19477" name="Rectangular Callout 43"/>
            <p:cNvSpPr>
              <a:spLocks noChangeArrowheads="1"/>
            </p:cNvSpPr>
            <p:nvPr/>
          </p:nvSpPr>
          <p:spPr bwMode="auto">
            <a:xfrm>
              <a:off x="555849" y="0"/>
              <a:ext cx="3744686" cy="1842018"/>
            </a:xfrm>
            <a:prstGeom prst="wedgeRectCallout">
              <a:avLst>
                <a:gd name="adj1" fmla="val -86333"/>
                <a:gd name="adj2" fmla="val 106625"/>
              </a:avLst>
            </a:prstGeom>
            <a:solidFill>
              <a:schemeClr val="accent2"/>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sp>
          <p:nvSpPr>
            <p:cNvPr id="19478" name="Right Arrow 44"/>
            <p:cNvSpPr>
              <a:spLocks noChangeArrowheads="1"/>
            </p:cNvSpPr>
            <p:nvPr/>
          </p:nvSpPr>
          <p:spPr bwMode="auto">
            <a:xfrm flipH="1">
              <a:off x="0" y="2723652"/>
              <a:ext cx="4300535" cy="1219699"/>
            </a:xfrm>
            <a:prstGeom prst="rightArrow">
              <a:avLst>
                <a:gd name="adj1" fmla="val 50000"/>
                <a:gd name="adj2" fmla="val 49999"/>
              </a:avLst>
            </a:prstGeom>
            <a:solidFill>
              <a:srgbClr val="006487"/>
            </a:solidFill>
            <a:ln w="9525">
              <a:noFill/>
              <a:miter lim="800000"/>
              <a:headEnd/>
              <a:tailEnd/>
            </a:ln>
          </p:spPr>
          <p:txBody>
            <a:bodyPr lIns="108000" tIns="54000" rIns="108000" bIns="54000" anchor="ctr"/>
            <a:lstStyle/>
            <a:p>
              <a:pPr algn="ctr">
                <a:lnSpc>
                  <a:spcPct val="110000"/>
                </a:lnSpc>
                <a:spcBef>
                  <a:spcPct val="0"/>
                </a:spcBef>
              </a:pPr>
              <a:r>
                <a:rPr lang="zh-CN" altLang="en-US" b="1">
                  <a:solidFill>
                    <a:srgbClr val="FFFFFF"/>
                  </a:solidFill>
                  <a:latin typeface="微软雅黑" panose="020B0503020204020204" pitchFamily="34" charset="-122"/>
                  <a:ea typeface="微软雅黑" panose="020B0503020204020204" pitchFamily="34" charset="-122"/>
                </a:rPr>
                <a:t>自下而上的过程驱动</a:t>
              </a:r>
              <a:endParaRPr lang="zh-CN" altLang="en-US">
                <a:solidFill>
                  <a:srgbClr val="ADBECB"/>
                </a:solidFill>
                <a:latin typeface="微软雅黑" panose="020B0503020204020204" pitchFamily="34" charset="-122"/>
                <a:ea typeface="微软雅黑" panose="020B0503020204020204" pitchFamily="34" charset="-122"/>
              </a:endParaRPr>
            </a:p>
          </p:txBody>
        </p:sp>
      </p:grpSp>
      <p:grpSp>
        <p:nvGrpSpPr>
          <p:cNvPr id="8" name="Group 51"/>
          <p:cNvGrpSpPr>
            <a:grpSpLocks/>
          </p:cNvGrpSpPr>
          <p:nvPr/>
        </p:nvGrpSpPr>
        <p:grpSpPr bwMode="auto">
          <a:xfrm>
            <a:off x="8154988" y="1498600"/>
            <a:ext cx="3744912" cy="2470150"/>
            <a:chOff x="0" y="0"/>
            <a:chExt cx="3744686" cy="2471591"/>
          </a:xfrm>
        </p:grpSpPr>
        <p:sp>
          <p:nvSpPr>
            <p:cNvPr id="19475" name="Rectangle 53"/>
            <p:cNvSpPr>
              <a:spLocks noChangeArrowheads="1"/>
            </p:cNvSpPr>
            <p:nvPr/>
          </p:nvSpPr>
          <p:spPr bwMode="auto">
            <a:xfrm>
              <a:off x="0" y="0"/>
              <a:ext cx="3744686" cy="629573"/>
            </a:xfrm>
            <a:prstGeom prst="rect">
              <a:avLst/>
            </a:prstGeom>
            <a:solidFill>
              <a:srgbClr val="006487"/>
            </a:solidFill>
            <a:ln w="9525">
              <a:noFill/>
              <a:miter lim="800000"/>
              <a:headEnd/>
              <a:tailEnd/>
            </a:ln>
          </p:spPr>
          <p:txBody>
            <a:bodyPr lIns="108000" tIns="180000" rIns="108000" bIns="54000"/>
            <a:lstStyle/>
            <a:p>
              <a:pPr>
                <a:lnSpc>
                  <a:spcPct val="110000"/>
                </a:lnSpc>
                <a:spcBef>
                  <a:spcPct val="0"/>
                </a:spcBef>
              </a:pPr>
              <a:r>
                <a:rPr lang="zh-CN" altLang="en-US" b="1" dirty="0">
                  <a:solidFill>
                    <a:srgbClr val="FFFFFF"/>
                  </a:solidFill>
                  <a:latin typeface="微软雅黑" panose="020B0503020204020204" pitchFamily="34" charset="-122"/>
                  <a:ea typeface="微软雅黑" panose="020B0503020204020204" pitchFamily="34" charset="-122"/>
                </a:rPr>
                <a:t> </a:t>
              </a:r>
              <a:r>
                <a:rPr lang="zh-CN" altLang="en-US" b="1" dirty="0" smtClean="0">
                  <a:solidFill>
                    <a:srgbClr val="FFFFFF"/>
                  </a:solidFill>
                  <a:latin typeface="微软雅黑" panose="020B0503020204020204" pitchFamily="34" charset="-122"/>
                  <a:ea typeface="微软雅黑" panose="020B0503020204020204" pitchFamily="34" charset="-122"/>
                </a:rPr>
                <a:t>全集</a:t>
              </a:r>
              <a:r>
                <a:rPr lang="zh-CN" altLang="en-US" b="1" dirty="0">
                  <a:solidFill>
                    <a:srgbClr val="FFFFFF"/>
                  </a:solidFill>
                  <a:latin typeface="微软雅黑" panose="020B0503020204020204" pitchFamily="34" charset="-122"/>
                  <a:ea typeface="微软雅黑" panose="020B0503020204020204" pitchFamily="34" charset="-122"/>
                </a:rPr>
                <a:t>成自动</a:t>
              </a:r>
              <a:r>
                <a:rPr lang="zh-CN" altLang="en-US" b="1" dirty="0" smtClean="0">
                  <a:solidFill>
                    <a:srgbClr val="FFFFFF"/>
                  </a:solidFill>
                  <a:latin typeface="微软雅黑" panose="020B0503020204020204" pitchFamily="34" charset="-122"/>
                  <a:ea typeface="微软雅黑" panose="020B0503020204020204" pitchFamily="34" charset="-122"/>
                </a:rPr>
                <a:t>化产品组</a:t>
              </a:r>
              <a:r>
                <a:rPr lang="zh-CN" altLang="en-US" b="1" dirty="0">
                  <a:solidFill>
                    <a:srgbClr val="FFFFFF"/>
                  </a:solidFill>
                  <a:latin typeface="微软雅黑" panose="020B0503020204020204" pitchFamily="34" charset="-122"/>
                  <a:ea typeface="微软雅黑" panose="020B0503020204020204" pitchFamily="34" charset="-122"/>
                </a:rPr>
                <a:t>合</a:t>
              </a:r>
            </a:p>
          </p:txBody>
        </p:sp>
        <p:sp>
          <p:nvSpPr>
            <p:cNvPr id="19476" name="Rectangle 54"/>
            <p:cNvSpPr>
              <a:spLocks noChangeArrowheads="1"/>
            </p:cNvSpPr>
            <p:nvPr/>
          </p:nvSpPr>
          <p:spPr bwMode="auto">
            <a:xfrm>
              <a:off x="0" y="629573"/>
              <a:ext cx="3744686" cy="1842018"/>
            </a:xfrm>
            <a:prstGeom prst="rect">
              <a:avLst/>
            </a:prstGeom>
            <a:solidFill>
              <a:schemeClr val="accent2"/>
            </a:solidFill>
            <a:ln w="9525">
              <a:noFill/>
              <a:miter lim="800000"/>
              <a:headEnd/>
              <a:tailEnd/>
            </a:ln>
          </p:spPr>
          <p:txBody>
            <a:bodyPr lIns="108000" tIns="144000" rIns="108000" bIns="54000"/>
            <a:lstStyle/>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控制器、分布式I/O、人机界面、驱动器、运动控制和马达的工程与运行</a:t>
              </a:r>
              <a:r>
                <a:rPr lang="zh-CN" altLang="en-US" dirty="0" smtClean="0">
                  <a:solidFill>
                    <a:srgbClr val="000000"/>
                  </a:solidFill>
                  <a:latin typeface="微软雅黑" panose="020B0503020204020204" pitchFamily="34" charset="-122"/>
                  <a:ea typeface="微软雅黑" panose="020B0503020204020204" pitchFamily="34" charset="-122"/>
                </a:rPr>
                <a:t>时集</a:t>
              </a:r>
              <a:r>
                <a:rPr lang="zh-CN" altLang="en-US" dirty="0">
                  <a:solidFill>
                    <a:srgbClr val="000000"/>
                  </a:solidFill>
                  <a:latin typeface="微软雅黑" panose="020B0503020204020204" pitchFamily="34" charset="-122"/>
                  <a:ea typeface="微软雅黑" panose="020B0503020204020204" pitchFamily="34" charset="-122"/>
                </a:rPr>
                <a:t>成</a:t>
              </a: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工业安全</a:t>
              </a:r>
              <a:endParaRPr lang="zh-CN" altLang="en-US" dirty="0">
                <a:solidFill>
                  <a:srgbClr val="ADBECB"/>
                </a:solidFill>
                <a:latin typeface="微软雅黑" panose="020B0503020204020204" pitchFamily="34" charset="-122"/>
                <a:ea typeface="微软雅黑" panose="020B0503020204020204" pitchFamily="34" charset="-122"/>
              </a:endParaRPr>
            </a:p>
          </p:txBody>
        </p:sp>
      </p:grpSp>
      <p:sp>
        <p:nvSpPr>
          <p:cNvPr id="29741" name="Rectangular Callout 45"/>
          <p:cNvSpPr>
            <a:spLocks noChangeArrowheads="1"/>
          </p:cNvSpPr>
          <p:nvPr/>
        </p:nvSpPr>
        <p:spPr bwMode="auto">
          <a:xfrm>
            <a:off x="4241800" y="2127250"/>
            <a:ext cx="3743325" cy="1841500"/>
          </a:xfrm>
          <a:prstGeom prst="wedgeRectCallout">
            <a:avLst>
              <a:gd name="adj1" fmla="val 5134"/>
              <a:gd name="adj2" fmla="val 97954"/>
            </a:avLst>
          </a:prstGeom>
          <a:solidFill>
            <a:schemeClr val="accent2"/>
          </a:solidFill>
          <a:ln w="9525">
            <a:noFill/>
            <a:miter lim="800000"/>
            <a:headEnd/>
            <a:tailEnd/>
          </a:ln>
        </p:spPr>
        <p:txBody>
          <a:bodyPr lIns="108000" tIns="54000" rIns="108000" bIns="54000" anchor="ctr"/>
          <a:lstStyle/>
          <a:p>
            <a:pPr algn="ctr">
              <a:lnSpc>
                <a:spcPct val="110000"/>
              </a:lnSpc>
              <a:spcBef>
                <a:spcPct val="0"/>
              </a:spcBef>
            </a:pPr>
            <a:endParaRPr lang="zh-CN" altLang="zh-CN" b="1">
              <a:solidFill>
                <a:srgbClr val="000000"/>
              </a:solidFill>
              <a:latin typeface="微软雅黑" panose="020B0503020204020204" pitchFamily="34" charset="-122"/>
              <a:ea typeface="微软雅黑" panose="020B0503020204020204" pitchFamily="34" charset="-122"/>
            </a:endParaRPr>
          </a:p>
        </p:txBody>
      </p:sp>
      <p:grpSp>
        <p:nvGrpSpPr>
          <p:cNvPr id="9" name="Group 3"/>
          <p:cNvGrpSpPr>
            <a:grpSpLocks/>
          </p:cNvGrpSpPr>
          <p:nvPr/>
        </p:nvGrpSpPr>
        <p:grpSpPr bwMode="auto">
          <a:xfrm>
            <a:off x="3960813" y="1498600"/>
            <a:ext cx="4310062" cy="2470150"/>
            <a:chOff x="0" y="0"/>
            <a:chExt cx="4309581" cy="2471591"/>
          </a:xfrm>
        </p:grpSpPr>
        <p:grpSp>
          <p:nvGrpSpPr>
            <p:cNvPr id="19470" name="Group 46"/>
            <p:cNvGrpSpPr>
              <a:grpSpLocks/>
            </p:cNvGrpSpPr>
            <p:nvPr/>
          </p:nvGrpSpPr>
          <p:grpSpPr bwMode="auto">
            <a:xfrm>
              <a:off x="0" y="0"/>
              <a:ext cx="4035959" cy="2471591"/>
              <a:chOff x="0" y="0"/>
              <a:chExt cx="4035959" cy="2471591"/>
            </a:xfrm>
          </p:grpSpPr>
          <p:sp>
            <p:nvSpPr>
              <p:cNvPr id="19472" name="Rectangle 47"/>
              <p:cNvSpPr>
                <a:spLocks noChangeArrowheads="1"/>
              </p:cNvSpPr>
              <p:nvPr/>
            </p:nvSpPr>
            <p:spPr bwMode="auto">
              <a:xfrm>
                <a:off x="280786" y="629573"/>
                <a:ext cx="3755173" cy="1842018"/>
              </a:xfrm>
              <a:prstGeom prst="rect">
                <a:avLst/>
              </a:prstGeom>
              <a:solidFill>
                <a:schemeClr val="accent2"/>
              </a:solidFill>
              <a:ln w="9525">
                <a:noFill/>
                <a:miter lim="800000"/>
                <a:headEnd/>
                <a:tailEnd/>
              </a:ln>
            </p:spPr>
            <p:txBody>
              <a:bodyPr lIns="108000" tIns="144000" rIns="108000" bIns="54000"/>
              <a:lstStyle/>
              <a:p>
                <a:pPr marL="285750" indent="-285750">
                  <a:lnSpc>
                    <a:spcPct val="110000"/>
                  </a:lnSpc>
                  <a:spcBef>
                    <a:spcPct val="0"/>
                  </a:spcBef>
                  <a:buFont typeface="Arial" pitchFamily="34" charset="0"/>
                  <a:buChar char="•"/>
                </a:pPr>
                <a:r>
                  <a:rPr lang="zh-CN" altLang="en-US" dirty="0" smtClean="0">
                    <a:solidFill>
                      <a:srgbClr val="000000"/>
                    </a:solidFill>
                    <a:latin typeface="微软雅黑" panose="020B0503020204020204" pitchFamily="34" charset="-122"/>
                    <a:ea typeface="微软雅黑" panose="020B0503020204020204" pitchFamily="34" charset="-122"/>
                  </a:rPr>
                  <a:t>工艺规划和调度</a:t>
                </a:r>
                <a:endParaRPr lang="zh-CN" altLang="en-US" dirty="0">
                  <a:solidFill>
                    <a:srgbClr val="000000"/>
                  </a:solidFill>
                  <a:latin typeface="微软雅黑" panose="020B0503020204020204" pitchFamily="34" charset="-122"/>
                  <a:ea typeface="微软雅黑" panose="020B0503020204020204" pitchFamily="34" charset="-122"/>
                </a:endParaRP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质量管理</a:t>
                </a: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制造执行</a:t>
                </a: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制造智能</a:t>
                </a:r>
              </a:p>
              <a:p>
                <a:pPr marL="285750" indent="-285750">
                  <a:lnSpc>
                    <a:spcPct val="110000"/>
                  </a:lnSpc>
                  <a:spcBef>
                    <a:spcPct val="0"/>
                  </a:spcBef>
                  <a:buFont typeface="Arial" pitchFamily="34" charset="0"/>
                  <a:buChar char="•"/>
                </a:pPr>
                <a:r>
                  <a:rPr lang="zh-CN" altLang="en-US" dirty="0">
                    <a:solidFill>
                      <a:srgbClr val="000000"/>
                    </a:solidFill>
                    <a:latin typeface="微软雅黑" panose="020B0503020204020204" pitchFamily="34" charset="-122"/>
                    <a:ea typeface="微软雅黑" panose="020B0503020204020204" pitchFamily="34" charset="-122"/>
                  </a:rPr>
                  <a:t>SCADA / HMI</a:t>
                </a:r>
              </a:p>
            </p:txBody>
          </p:sp>
          <p:sp>
            <p:nvSpPr>
              <p:cNvPr id="19473" name="Rectangle 48"/>
              <p:cNvSpPr>
                <a:spLocks noChangeArrowheads="1"/>
              </p:cNvSpPr>
              <p:nvPr/>
            </p:nvSpPr>
            <p:spPr bwMode="auto">
              <a:xfrm>
                <a:off x="291273" y="0"/>
                <a:ext cx="3744686" cy="629573"/>
              </a:xfrm>
              <a:prstGeom prst="rect">
                <a:avLst/>
              </a:prstGeom>
              <a:solidFill>
                <a:srgbClr val="EB780A"/>
              </a:solidFill>
              <a:ln w="9525">
                <a:noFill/>
                <a:miter lim="800000"/>
                <a:headEnd/>
                <a:tailEnd/>
              </a:ln>
            </p:spPr>
            <p:txBody>
              <a:bodyPr lIns="108000" tIns="180000" rIns="108000" bIns="54000"/>
              <a:lstStyle/>
              <a:p>
                <a:pPr algn="ctr">
                  <a:lnSpc>
                    <a:spcPct val="110000"/>
                  </a:lnSpc>
                  <a:spcBef>
                    <a:spcPct val="0"/>
                  </a:spcBef>
                </a:pPr>
                <a:r>
                  <a:rPr lang="zh-CN" altLang="en-US" b="1" dirty="0">
                    <a:solidFill>
                      <a:srgbClr val="FFFFFF"/>
                    </a:solidFill>
                    <a:latin typeface="微软雅黑" panose="020B0503020204020204" pitchFamily="34" charset="-122"/>
                    <a:ea typeface="微软雅黑" panose="020B0503020204020204" pitchFamily="34" charset="-122"/>
                  </a:rPr>
                  <a:t>MES/MOM 软件组合</a:t>
                </a:r>
              </a:p>
            </p:txBody>
          </p:sp>
          <p:sp>
            <p:nvSpPr>
              <p:cNvPr id="19474" name="Oval 49"/>
              <p:cNvSpPr>
                <a:spLocks noChangeArrowheads="1"/>
              </p:cNvSpPr>
              <p:nvPr/>
            </p:nvSpPr>
            <p:spPr bwMode="auto">
              <a:xfrm>
                <a:off x="0" y="102752"/>
                <a:ext cx="424070" cy="424070"/>
              </a:xfrm>
              <a:prstGeom prst="ellipse">
                <a:avLst/>
              </a:prstGeom>
              <a:solidFill>
                <a:schemeClr val="accent1"/>
              </a:solidFill>
              <a:ln w="9525">
                <a:noFill/>
                <a:round/>
                <a:headEnd/>
                <a:tailEnd/>
              </a:ln>
            </p:spPr>
            <p:txBody>
              <a:bodyPr lIns="108000" tIns="54000" rIns="108000" bIns="54000" anchor="ctr"/>
              <a:lstStyle/>
              <a:p>
                <a:pPr algn="ctr">
                  <a:lnSpc>
                    <a:spcPct val="110000"/>
                  </a:lnSpc>
                  <a:spcBef>
                    <a:spcPct val="0"/>
                  </a:spcBef>
                </a:pPr>
                <a:r>
                  <a:rPr lang="zh-CN" altLang="zh-CN" sz="3200">
                    <a:solidFill>
                      <a:srgbClr val="FFFFFF"/>
                    </a:solidFill>
                    <a:latin typeface="微软雅黑" panose="020B0503020204020204" pitchFamily="34" charset="-122"/>
                    <a:ea typeface="微软雅黑" panose="020B0503020204020204" pitchFamily="34" charset="-122"/>
                  </a:rPr>
                  <a:t>+</a:t>
                </a:r>
              </a:p>
            </p:txBody>
          </p:sp>
        </p:grpSp>
        <p:sp>
          <p:nvSpPr>
            <p:cNvPr id="19471" name="Oval 55"/>
            <p:cNvSpPr>
              <a:spLocks noChangeArrowheads="1"/>
            </p:cNvSpPr>
            <p:nvPr/>
          </p:nvSpPr>
          <p:spPr bwMode="auto">
            <a:xfrm>
              <a:off x="3885511" y="102752"/>
              <a:ext cx="424070" cy="424070"/>
            </a:xfrm>
            <a:prstGeom prst="ellipse">
              <a:avLst/>
            </a:prstGeom>
            <a:solidFill>
              <a:schemeClr val="accent1"/>
            </a:solidFill>
            <a:ln w="9525">
              <a:noFill/>
              <a:round/>
              <a:headEnd/>
              <a:tailEnd/>
            </a:ln>
          </p:spPr>
          <p:txBody>
            <a:bodyPr lIns="108000" tIns="54000" rIns="108000" bIns="54000" anchor="ctr"/>
            <a:lstStyle/>
            <a:p>
              <a:pPr algn="ctr">
                <a:lnSpc>
                  <a:spcPct val="110000"/>
                </a:lnSpc>
                <a:spcBef>
                  <a:spcPct val="0"/>
                </a:spcBef>
              </a:pPr>
              <a:r>
                <a:rPr lang="zh-CN" altLang="zh-CN" sz="3200">
                  <a:solidFill>
                    <a:srgbClr val="FFFFFF"/>
                  </a:solidFill>
                  <a:latin typeface="微软雅黑" panose="020B0503020204020204" pitchFamily="34" charset="-122"/>
                  <a:ea typeface="微软雅黑" panose="020B0503020204020204" pitchFamily="34" charset="-122"/>
                </a:rPr>
                <a:t>+</a:t>
              </a:r>
            </a:p>
          </p:txBody>
        </p:sp>
      </p:grpSp>
    </p:spTree>
    <p:extLst>
      <p:ext uri="{BB962C8B-B14F-4D97-AF65-F5344CB8AC3E}">
        <p14:creationId xmlns:p14="http://schemas.microsoft.com/office/powerpoint/2010/main" val="94134843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29728"/>
                                        </p:tgtEl>
                                      </p:cBhvr>
                                      <p:by x="50000" y="50000"/>
                                    </p:animScale>
                                  </p:childTnLst>
                                </p:cTn>
                              </p:par>
                              <p:par>
                                <p:cTn id="7" presetID="42" presetClass="path" presetSubtype="0" accel="50000" decel="50000" fill="hold" nodeType="withEffect">
                                  <p:stCondLst>
                                    <p:cond delay="0"/>
                                  </p:stCondLst>
                                  <p:childTnLst>
                                    <p:animMotion origin="layout" path="M 0 0 L 0 0.16296 " pathEditMode="relative" rAng="0" ptsTypes="AA">
                                      <p:cBhvr>
                                        <p:cTn id="8" dur="2000" fill="hold"/>
                                        <p:tgtEl>
                                          <p:spTgt spid="29728"/>
                                        </p:tgtEl>
                                        <p:attrNameLst>
                                          <p:attrName>ppt_x,ppt_y</p:attrName>
                                        </p:attrNameLst>
                                      </p:cBhvr>
                                      <p:rCtr x="0" y="8148"/>
                                    </p:animMotion>
                                  </p:childTnLst>
                                </p:cTn>
                              </p:par>
                            </p:childTnLst>
                          </p:cTn>
                        </p:par>
                        <p:par>
                          <p:cTn id="9" fill="hold">
                            <p:stCondLst>
                              <p:cond delay="20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p:cBhvr>
                                        <p:cTn id="12" dur="500"/>
                                        <p:tgtEl>
                                          <p:spTgt spid="6"/>
                                        </p:tgtEl>
                                      </p:cBhvr>
                                    </p:animEffect>
                                  </p:childTnLst>
                                </p:cTn>
                              </p:par>
                            </p:childTnLst>
                          </p:cTn>
                        </p:par>
                        <p:par>
                          <p:cTn id="13" fill="hold">
                            <p:stCondLst>
                              <p:cond delay="2500"/>
                            </p:stCondLst>
                            <p:childTnLst>
                              <p:par>
                                <p:cTn id="14" presetID="22" presetClass="entr" presetSubtype="8"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p:cBhvr>
                                        <p:cTn id="21" dur="500"/>
                                        <p:tgtEl>
                                          <p:spTgt spid="8"/>
                                        </p:tgtEl>
                                      </p:cBhvr>
                                    </p:animEffect>
                                  </p:childTnLst>
                                </p:cTn>
                              </p:par>
                            </p:childTnLst>
                          </p:cTn>
                        </p:par>
                        <p:par>
                          <p:cTn id="22" fill="hold">
                            <p:stCondLst>
                              <p:cond delay="500"/>
                            </p:stCondLst>
                            <p:childTnLst>
                              <p:par>
                                <p:cTn id="23" presetID="22" presetClass="entr" presetSubtype="2"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p:cBhvr>
                                        <p:cTn id="30" dur="500"/>
                                        <p:tgtEl>
                                          <p:spTgt spid="9"/>
                                        </p:tgtEl>
                                      </p:cBhvr>
                                    </p:animEffect>
                                  </p:childTnLst>
                                </p:cTn>
                              </p:par>
                            </p:childTnLst>
                          </p:cTn>
                        </p:par>
                        <p:par>
                          <p:cTn id="31" fill="hold">
                            <p:stCondLst>
                              <p:cond delay="500"/>
                            </p:stCondLst>
                            <p:childTnLst>
                              <p:par>
                                <p:cTn id="32" presetID="22" presetClass="entr" presetSubtype="4" fill="hold" grpId="0" nodeType="afterEffect">
                                  <p:stCondLst>
                                    <p:cond delay="0"/>
                                  </p:stCondLst>
                                  <p:childTnLst>
                                    <p:set>
                                      <p:cBhvr>
                                        <p:cTn id="33" dur="1" fill="hold">
                                          <p:stCondLst>
                                            <p:cond delay="0"/>
                                          </p:stCondLst>
                                        </p:cTn>
                                        <p:tgtEl>
                                          <p:spTgt spid="29741"/>
                                        </p:tgtEl>
                                        <p:attrNameLst>
                                          <p:attrName>style.visibility</p:attrName>
                                        </p:attrNameLst>
                                      </p:cBhvr>
                                      <p:to>
                                        <p:strVal val="visible"/>
                                      </p:to>
                                    </p:set>
                                    <p:animEffect>
                                      <p:cBhvr>
                                        <p:cTn id="34" dur="500"/>
                                        <p:tgtEl>
                                          <p:spTgt spid="29741"/>
                                        </p:tgtEl>
                                      </p:cBhvr>
                                    </p:animEffect>
                                  </p:childTnLst>
                                </p:cTn>
                              </p:par>
                              <p:par>
                                <p:cTn id="35" presetID="4" presetClass="entr" presetSubtype="32" fill="hold" grpId="0" nodeType="withEffect">
                                  <p:stCondLst>
                                    <p:cond delay="0"/>
                                  </p:stCondLst>
                                  <p:childTnLst>
                                    <p:set>
                                      <p:cBhvr>
                                        <p:cTn id="36" dur="1" fill="hold">
                                          <p:stCondLst>
                                            <p:cond delay="0"/>
                                          </p:stCondLst>
                                        </p:cTn>
                                        <p:tgtEl>
                                          <p:spTgt spid="29725"/>
                                        </p:tgtEl>
                                        <p:attrNameLst>
                                          <p:attrName>style.visibility</p:attrName>
                                        </p:attrNameLst>
                                      </p:cBhvr>
                                      <p:to>
                                        <p:strVal val="visible"/>
                                      </p:to>
                                    </p:set>
                                    <p:animEffect>
                                      <p:cBhvr>
                                        <p:cTn id="37" dur="500"/>
                                        <p:tgtEl>
                                          <p:spTgt spid="29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25" grpId="0" bldLvl="0" animBg="1" autoUpdateAnimBg="0"/>
      <p:bldP spid="29741" grpId="0" bldLvl="0" animBg="1"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622128" y="1619911"/>
            <a:ext cx="11093621" cy="4752975"/>
          </a:xfrm>
          <a:prstGeom prst="rect">
            <a:avLst/>
          </a:prstGeom>
          <a:solidFill>
            <a:srgbClr val="879B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404" name="Title 1"/>
          <p:cNvSpPr>
            <a:spLocks noGrp="1"/>
          </p:cNvSpPr>
          <p:nvPr>
            <p:ph type="title"/>
          </p:nvPr>
        </p:nvSpPr>
        <p:spPr/>
        <p:txBody>
          <a:bodyPr/>
          <a:lstStyle/>
          <a:p>
            <a:pPr>
              <a:defRPr/>
            </a:pPr>
            <a:r>
              <a:rPr lang="zh-CN" altLang="en-US" dirty="0" smtClean="0">
                <a:latin typeface="微软雅黑" panose="020B0503020204020204" pitchFamily="34" charset="-122"/>
                <a:ea typeface="微软雅黑" panose="020B0503020204020204" pitchFamily="34" charset="-122"/>
              </a:rPr>
              <a:t>纵向集</a:t>
            </a:r>
            <a:r>
              <a:rPr lang="zh-CN" altLang="en-US" dirty="0" smtClean="0">
                <a:latin typeface="微软雅黑" panose="020B0503020204020204" pitchFamily="34" charset="-122"/>
                <a:ea typeface="微软雅黑" panose="020B0503020204020204" pitchFamily="34" charset="-122"/>
              </a:rPr>
              <a:t>成（</a:t>
            </a:r>
            <a:r>
              <a:rPr lang="zh-CN" altLang="en-US" dirty="0" smtClean="0">
                <a:latin typeface="微软雅黑" panose="020B0503020204020204" pitchFamily="34" charset="-122"/>
                <a:ea typeface="微软雅黑" panose="020B0503020204020204" pitchFamily="34" charset="-122"/>
              </a:rPr>
              <a:t>离散制造业部分）</a:t>
            </a:r>
            <a:endParaRPr lang="en-US" b="0" dirty="0">
              <a:latin typeface="+mn-lt"/>
            </a:endParaRPr>
          </a:p>
        </p:txBody>
      </p:sp>
      <p:sp>
        <p:nvSpPr>
          <p:cNvPr id="1020" name="Rectangle 8"/>
          <p:cNvSpPr/>
          <p:nvPr>
            <p:custDataLst>
              <p:tags r:id="rId2"/>
            </p:custDataLst>
          </p:nvPr>
        </p:nvSpPr>
        <p:spPr bwMode="auto">
          <a:xfrm>
            <a:off x="675140" y="5420466"/>
            <a:ext cx="2711604" cy="876300"/>
          </a:xfrm>
          <a:prstGeom prst="rect">
            <a:avLst/>
          </a:prstGeom>
          <a:solidFill>
            <a:srgbClr val="ADBECB"/>
          </a:solidFill>
          <a:ln w="3175" cap="flat" cmpd="sng" algn="ctr">
            <a:solidFill>
              <a:srgbClr val="FFFFFF"/>
            </a:solidFill>
            <a:prstDash val="solid"/>
            <a:round/>
            <a:headEnd type="none" w="med" len="med"/>
            <a:tailEnd type="none" w="med" len="med"/>
          </a:ln>
          <a:effectLst/>
        </p:spPr>
        <p:txBody>
          <a:bodyPr wrap="none" lIns="72000" tIns="108000" rIns="36576" bIns="36576"/>
          <a:lstStyle/>
          <a:p>
            <a:pPr fontAlgn="auto">
              <a:spcBef>
                <a:spcPts val="300"/>
              </a:spcBef>
              <a:spcAft>
                <a:spcPts val="0"/>
              </a:spcAft>
              <a:buClr>
                <a:srgbClr val="949EAA"/>
              </a:buClr>
              <a:defRPr/>
            </a:pPr>
            <a:r>
              <a:rPr lang="en-US" sz="1200" b="1" kern="0" dirty="0" smtClean="0">
                <a:solidFill>
                  <a:srgbClr val="006487"/>
                </a:solidFill>
                <a:latin typeface="Arial"/>
                <a:ea typeface="ＭＳ Ｐゴシック" charset="-128"/>
                <a:cs typeface="+mn-cs"/>
              </a:rPr>
              <a:t>Field Level</a:t>
            </a:r>
            <a:endParaRPr lang="en-US" sz="1200" b="1" kern="0" dirty="0">
              <a:solidFill>
                <a:srgbClr val="006487"/>
              </a:solidFill>
              <a:latin typeface="Arial"/>
              <a:ea typeface="ＭＳ Ｐゴシック" charset="-128"/>
              <a:cs typeface="+mn-cs"/>
            </a:endParaRPr>
          </a:p>
        </p:txBody>
      </p:sp>
      <p:sp>
        <p:nvSpPr>
          <p:cNvPr id="1021" name="Rectangle 9"/>
          <p:cNvSpPr/>
          <p:nvPr>
            <p:custDataLst>
              <p:tags r:id="rId3"/>
            </p:custDataLst>
          </p:nvPr>
        </p:nvSpPr>
        <p:spPr bwMode="auto">
          <a:xfrm>
            <a:off x="675140" y="4478470"/>
            <a:ext cx="2711604" cy="876300"/>
          </a:xfrm>
          <a:prstGeom prst="rect">
            <a:avLst/>
          </a:prstGeom>
          <a:solidFill>
            <a:srgbClr val="ADBECB"/>
          </a:solidFill>
          <a:ln w="3175" cap="flat" cmpd="sng" algn="ctr">
            <a:solidFill>
              <a:srgbClr val="FFFFFF"/>
            </a:solidFill>
            <a:prstDash val="solid"/>
            <a:round/>
            <a:headEnd type="none" w="med" len="med"/>
            <a:tailEnd type="none" w="med" len="med"/>
          </a:ln>
          <a:effectLst/>
        </p:spPr>
        <p:txBody>
          <a:bodyPr wrap="none" lIns="72000" tIns="108000" rIns="36576" bIns="36576"/>
          <a:lstStyle/>
          <a:p>
            <a:pPr fontAlgn="auto">
              <a:spcBef>
                <a:spcPts val="300"/>
              </a:spcBef>
              <a:spcAft>
                <a:spcPts val="0"/>
              </a:spcAft>
              <a:buClr>
                <a:srgbClr val="949EAA"/>
              </a:buClr>
              <a:defRPr/>
            </a:pPr>
            <a:r>
              <a:rPr lang="en-US" sz="1200" b="1" kern="0" dirty="0" smtClean="0">
                <a:solidFill>
                  <a:srgbClr val="006487"/>
                </a:solidFill>
                <a:latin typeface="Arial"/>
                <a:ea typeface="ＭＳ Ｐゴシック" charset="-128"/>
                <a:cs typeface="+mn-cs"/>
              </a:rPr>
              <a:t>Control Level</a:t>
            </a:r>
            <a:endParaRPr lang="en-US" sz="1200" b="1" kern="0" dirty="0">
              <a:solidFill>
                <a:srgbClr val="006487"/>
              </a:solidFill>
              <a:latin typeface="Arial"/>
              <a:ea typeface="ＭＳ Ｐゴシック" charset="-128"/>
              <a:cs typeface="+mn-cs"/>
            </a:endParaRPr>
          </a:p>
        </p:txBody>
      </p:sp>
      <p:sp>
        <p:nvSpPr>
          <p:cNvPr id="1022" name="Rectangle 7"/>
          <p:cNvSpPr/>
          <p:nvPr>
            <p:custDataLst>
              <p:tags r:id="rId4"/>
            </p:custDataLst>
          </p:nvPr>
        </p:nvSpPr>
        <p:spPr bwMode="auto">
          <a:xfrm>
            <a:off x="675140" y="1647718"/>
            <a:ext cx="2711604" cy="877887"/>
          </a:xfrm>
          <a:prstGeom prst="rect">
            <a:avLst/>
          </a:prstGeom>
          <a:solidFill>
            <a:srgbClr val="ADBECB"/>
          </a:solidFill>
          <a:ln w="3175" cap="flat" cmpd="sng" algn="ctr">
            <a:solidFill>
              <a:srgbClr val="FFFFFF"/>
            </a:solidFill>
            <a:prstDash val="solid"/>
            <a:round/>
            <a:headEnd type="none" w="med" len="med"/>
            <a:tailEnd type="none" w="med" len="med"/>
          </a:ln>
          <a:effectLst/>
        </p:spPr>
        <p:txBody>
          <a:bodyPr wrap="none" lIns="72000" tIns="108000" rIns="36576" bIns="36576"/>
          <a:lstStyle/>
          <a:p>
            <a:pPr fontAlgn="auto">
              <a:spcBef>
                <a:spcPts val="300"/>
              </a:spcBef>
              <a:spcAft>
                <a:spcPts val="0"/>
              </a:spcAft>
              <a:buClr>
                <a:srgbClr val="949EAA"/>
              </a:buClr>
              <a:defRPr/>
            </a:pPr>
            <a:r>
              <a:rPr lang="en-US" sz="1200" b="1" kern="0" dirty="0" smtClean="0">
                <a:solidFill>
                  <a:srgbClr val="006487"/>
                </a:solidFill>
                <a:latin typeface="Arial"/>
                <a:ea typeface="ＭＳ Ｐゴシック" charset="-128"/>
                <a:cs typeface="+mn-cs"/>
              </a:rPr>
              <a:t>Enterprise Level</a:t>
            </a:r>
            <a:endParaRPr lang="en-US" sz="1200" b="1" kern="0" dirty="0">
              <a:solidFill>
                <a:srgbClr val="006487"/>
              </a:solidFill>
              <a:latin typeface="Arial"/>
              <a:ea typeface="ＭＳ Ｐゴシック" charset="-128"/>
              <a:cs typeface="+mn-cs"/>
            </a:endParaRPr>
          </a:p>
        </p:txBody>
      </p:sp>
      <p:sp>
        <p:nvSpPr>
          <p:cNvPr id="1023" name="Rectangle 11"/>
          <p:cNvSpPr/>
          <p:nvPr>
            <p:custDataLst>
              <p:tags r:id="rId5"/>
            </p:custDataLst>
          </p:nvPr>
        </p:nvSpPr>
        <p:spPr bwMode="auto">
          <a:xfrm>
            <a:off x="675140" y="2591302"/>
            <a:ext cx="2711604" cy="877887"/>
          </a:xfrm>
          <a:prstGeom prst="rect">
            <a:avLst/>
          </a:prstGeom>
          <a:solidFill>
            <a:srgbClr val="ADBECB"/>
          </a:solidFill>
          <a:ln w="3175" cap="flat" cmpd="sng" algn="ctr">
            <a:solidFill>
              <a:srgbClr val="FFFFFF"/>
            </a:solidFill>
            <a:prstDash val="solid"/>
            <a:round/>
            <a:headEnd type="none" w="med" len="med"/>
            <a:tailEnd type="none" w="med" len="med"/>
          </a:ln>
          <a:effectLst/>
        </p:spPr>
        <p:txBody>
          <a:bodyPr wrap="none" lIns="72000" tIns="108000" rIns="36576" bIns="36576"/>
          <a:lstStyle/>
          <a:p>
            <a:pPr fontAlgn="auto">
              <a:spcBef>
                <a:spcPts val="300"/>
              </a:spcBef>
              <a:spcAft>
                <a:spcPts val="0"/>
              </a:spcAft>
              <a:buClr>
                <a:srgbClr val="949EAA"/>
              </a:buClr>
              <a:defRPr/>
            </a:pPr>
            <a:r>
              <a:rPr lang="en-US" sz="1200" b="1" kern="0" dirty="0" smtClean="0">
                <a:solidFill>
                  <a:srgbClr val="006487"/>
                </a:solidFill>
                <a:latin typeface="Arial"/>
                <a:ea typeface="ＭＳ Ｐゴシック" charset="-128"/>
                <a:cs typeface="+mn-cs"/>
              </a:rPr>
              <a:t>Management Level</a:t>
            </a:r>
            <a:endParaRPr lang="en-US" sz="1200" b="1" kern="0" dirty="0">
              <a:solidFill>
                <a:srgbClr val="006487"/>
              </a:solidFill>
              <a:latin typeface="Arial"/>
              <a:ea typeface="ＭＳ Ｐゴシック" charset="-128"/>
              <a:cs typeface="+mn-cs"/>
            </a:endParaRPr>
          </a:p>
        </p:txBody>
      </p:sp>
      <p:sp>
        <p:nvSpPr>
          <p:cNvPr id="1025" name="Rectangle 10"/>
          <p:cNvSpPr/>
          <p:nvPr>
            <p:custDataLst>
              <p:tags r:id="rId6"/>
            </p:custDataLst>
          </p:nvPr>
        </p:nvSpPr>
        <p:spPr bwMode="auto">
          <a:xfrm>
            <a:off x="675140" y="3534886"/>
            <a:ext cx="2711604" cy="877887"/>
          </a:xfrm>
          <a:prstGeom prst="rect">
            <a:avLst/>
          </a:prstGeom>
          <a:solidFill>
            <a:srgbClr val="ADBECB"/>
          </a:solidFill>
          <a:ln w="3175" cap="flat" cmpd="sng" algn="ctr">
            <a:solidFill>
              <a:srgbClr val="FFFFFF"/>
            </a:solidFill>
            <a:prstDash val="solid"/>
            <a:round/>
            <a:headEnd type="none" w="med" len="med"/>
            <a:tailEnd type="none" w="med" len="med"/>
          </a:ln>
          <a:effectLst/>
        </p:spPr>
        <p:txBody>
          <a:bodyPr wrap="none" lIns="72000" tIns="108000" rIns="36576" bIns="36576"/>
          <a:lstStyle/>
          <a:p>
            <a:pPr fontAlgn="auto">
              <a:spcBef>
                <a:spcPts val="300"/>
              </a:spcBef>
              <a:spcAft>
                <a:spcPts val="0"/>
              </a:spcAft>
              <a:buClr>
                <a:srgbClr val="949EAA"/>
              </a:buClr>
              <a:defRPr/>
            </a:pPr>
            <a:r>
              <a:rPr lang="en-US" sz="1200" b="1" kern="0" dirty="0" smtClean="0">
                <a:solidFill>
                  <a:srgbClr val="006487"/>
                </a:solidFill>
                <a:latin typeface="Arial"/>
                <a:ea typeface="ＭＳ Ｐゴシック" charset="-128"/>
                <a:cs typeface="+mn-cs"/>
              </a:rPr>
              <a:t>Operator Level</a:t>
            </a:r>
            <a:endParaRPr lang="en-US" sz="1200" b="1" kern="0" dirty="0">
              <a:solidFill>
                <a:srgbClr val="006487"/>
              </a:solidFill>
              <a:latin typeface="Arial"/>
              <a:ea typeface="ＭＳ Ｐゴシック" charset="-128"/>
              <a:cs typeface="+mn-cs"/>
            </a:endParaRPr>
          </a:p>
        </p:txBody>
      </p:sp>
      <p:grpSp>
        <p:nvGrpSpPr>
          <p:cNvPr id="7" name="Gruppieren 6"/>
          <p:cNvGrpSpPr/>
          <p:nvPr/>
        </p:nvGrpSpPr>
        <p:grpSpPr>
          <a:xfrm>
            <a:off x="1735012" y="1874267"/>
            <a:ext cx="1617793" cy="4397232"/>
            <a:chOff x="1647698" y="1667231"/>
            <a:chExt cx="1617793" cy="4397232"/>
          </a:xfrm>
        </p:grpSpPr>
        <p:pic>
          <p:nvPicPr>
            <p:cNvPr id="2063" name="Grafik 2062"/>
            <p:cNvPicPr>
              <a:picLocks noChangeAspect="1"/>
            </p:cNvPicPr>
            <p:nvPr/>
          </p:nvPicPr>
          <p:blipFill rotWithShape="1">
            <a:blip r:embed="rId20">
              <a:duotone>
                <a:schemeClr val="accent5">
                  <a:shade val="45000"/>
                  <a:satMod val="135000"/>
                </a:schemeClr>
                <a:prstClr val="white"/>
              </a:duotone>
              <a:extLst>
                <a:ext uri="{28A0092B-C50C-407E-A947-70E740481C1C}">
                  <a14:useLocalDpi xmlns:a14="http://schemas.microsoft.com/office/drawing/2010/main" val="0"/>
                </a:ext>
              </a:extLst>
            </a:blip>
            <a:srcRect r="47024" b="26464"/>
            <a:stretch/>
          </p:blipFill>
          <p:spPr>
            <a:xfrm>
              <a:off x="1647698" y="1667231"/>
              <a:ext cx="1617793" cy="4397232"/>
            </a:xfrm>
            <a:prstGeom prst="rect">
              <a:avLst/>
            </a:prstGeom>
          </p:spPr>
        </p:pic>
        <p:sp>
          <p:nvSpPr>
            <p:cNvPr id="2059" name="Text Box 1032"/>
            <p:cNvSpPr txBox="1">
              <a:spLocks noChangeArrowheads="1"/>
            </p:cNvSpPr>
            <p:nvPr>
              <p:custDataLst>
                <p:tags r:id="rId16"/>
              </p:custDataLst>
            </p:nvPr>
          </p:nvSpPr>
          <p:spPr bwMode="auto">
            <a:xfrm>
              <a:off x="2186909" y="2048888"/>
              <a:ext cx="177840" cy="138499"/>
            </a:xfrm>
            <a:prstGeom prst="rect">
              <a:avLst/>
            </a:prstGeom>
            <a:noFill/>
            <a:ln w="9525">
              <a:noFill/>
              <a:miter lim="800000"/>
              <a:headEnd/>
              <a:tailEnd/>
            </a:ln>
            <a:effectLst/>
            <a:extLst>
              <a:ext uri="{909E8E84-426E-40DD-AFC4-6F175D3DCCD1}">
                <a14:hiddenFill xmlns:a14="http://schemas.microsoft.com/office/drawing/2010/main">
                  <a:solidFill>
                    <a:srgbClr val="BBE0E3"/>
                  </a:solidFill>
                </a14:hiddenFill>
              </a:ext>
            </a:extLst>
          </p:spPr>
          <p:txBody>
            <a:bodyPr wrap="none" lIns="0" tIns="0" rIns="0" bIns="0">
              <a:spAutoFit/>
            </a:bodyPr>
            <a:lstStyle/>
            <a:p>
              <a:pPr algn="ctr">
                <a:buClr>
                  <a:srgbClr val="879BAA"/>
                </a:buClr>
                <a:buSzPct val="100000"/>
                <a:buFont typeface="Wingdings" pitchFamily="2" charset="2"/>
                <a:buNone/>
                <a:defRPr/>
              </a:pPr>
              <a:r>
                <a:rPr lang="en-US" sz="900" kern="0" dirty="0">
                  <a:solidFill>
                    <a:srgbClr val="006487"/>
                  </a:solidFill>
                  <a:latin typeface="Arial"/>
                  <a:cs typeface="Arial" pitchFamily="34" charset="0"/>
                  <a:sym typeface="Arial" charset="0"/>
                </a:rPr>
                <a:t>ERP</a:t>
              </a:r>
            </a:p>
          </p:txBody>
        </p:sp>
        <p:sp>
          <p:nvSpPr>
            <p:cNvPr id="2060" name="Text Box 1032"/>
            <p:cNvSpPr txBox="1">
              <a:spLocks noChangeArrowheads="1"/>
            </p:cNvSpPr>
            <p:nvPr>
              <p:custDataLst>
                <p:tags r:id="rId17"/>
              </p:custDataLst>
            </p:nvPr>
          </p:nvSpPr>
          <p:spPr bwMode="auto">
            <a:xfrm>
              <a:off x="2749115" y="2048888"/>
              <a:ext cx="177840" cy="138499"/>
            </a:xfrm>
            <a:prstGeom prst="rect">
              <a:avLst/>
            </a:prstGeom>
            <a:noFill/>
            <a:ln w="9525">
              <a:noFill/>
              <a:miter lim="800000"/>
              <a:headEnd/>
              <a:tailEnd/>
            </a:ln>
            <a:effectLst/>
            <a:extLst>
              <a:ext uri="{909E8E84-426E-40DD-AFC4-6F175D3DCCD1}">
                <a14:hiddenFill xmlns:a14="http://schemas.microsoft.com/office/drawing/2010/main">
                  <a:solidFill>
                    <a:srgbClr val="BBE0E3"/>
                  </a:solidFill>
                </a14:hiddenFill>
              </a:ext>
            </a:extLst>
          </p:spPr>
          <p:txBody>
            <a:bodyPr wrap="none" lIns="0" tIns="0" rIns="0" bIns="0">
              <a:spAutoFit/>
            </a:bodyPr>
            <a:lstStyle/>
            <a:p>
              <a:pPr algn="ctr">
                <a:buClr>
                  <a:srgbClr val="879BAA"/>
                </a:buClr>
                <a:buSzPct val="100000"/>
                <a:buFont typeface="Wingdings" pitchFamily="2" charset="2"/>
                <a:buNone/>
                <a:defRPr/>
              </a:pPr>
              <a:r>
                <a:rPr lang="en-US" sz="900" kern="0" dirty="0" smtClean="0">
                  <a:solidFill>
                    <a:srgbClr val="006487"/>
                  </a:solidFill>
                  <a:latin typeface="Arial"/>
                  <a:cs typeface="Arial" pitchFamily="34" charset="0"/>
                  <a:sym typeface="Arial" charset="0"/>
                </a:rPr>
                <a:t>PLM</a:t>
              </a:r>
              <a:endParaRPr lang="en-US" sz="900" kern="0" dirty="0">
                <a:solidFill>
                  <a:srgbClr val="006487"/>
                </a:solidFill>
                <a:latin typeface="Arial"/>
                <a:cs typeface="Arial" pitchFamily="34" charset="0"/>
                <a:sym typeface="Arial" charset="0"/>
              </a:endParaRPr>
            </a:p>
          </p:txBody>
        </p:sp>
        <p:sp>
          <p:nvSpPr>
            <p:cNvPr id="2061" name="Text Box 1032"/>
            <p:cNvSpPr txBox="1">
              <a:spLocks noChangeArrowheads="1"/>
            </p:cNvSpPr>
            <p:nvPr/>
          </p:nvSpPr>
          <p:spPr bwMode="auto">
            <a:xfrm>
              <a:off x="2274804" y="2972100"/>
              <a:ext cx="564258" cy="138499"/>
            </a:xfrm>
            <a:prstGeom prst="rect">
              <a:avLst/>
            </a:prstGeom>
            <a:solidFill>
              <a:srgbClr val="ADBECB"/>
            </a:solidFill>
            <a:ln w="9525">
              <a:noFill/>
              <a:miter lim="800000"/>
              <a:headEnd/>
              <a:tailEnd/>
            </a:ln>
            <a:effectLst/>
          </p:spPr>
          <p:txBody>
            <a:bodyPr wrap="none" lIns="0" tIns="0" rIns="0" bIns="0">
              <a:spAutoFit/>
            </a:bodyPr>
            <a:lstStyle/>
            <a:p>
              <a:pPr algn="ctr" fontAlgn="auto">
                <a:spcBef>
                  <a:spcPts val="0"/>
                </a:spcBef>
                <a:spcAft>
                  <a:spcPts val="0"/>
                </a:spcAft>
                <a:buClr>
                  <a:srgbClr val="949EAA"/>
                </a:buClr>
                <a:buSzPct val="100000"/>
                <a:defRPr/>
              </a:pPr>
              <a:r>
                <a:rPr lang="en-US" sz="900" kern="0" dirty="0" smtClean="0">
                  <a:solidFill>
                    <a:srgbClr val="006487"/>
                  </a:solidFill>
                  <a:latin typeface="Arial"/>
                  <a:cs typeface="Arial" pitchFamily="34" charset="0"/>
                  <a:sym typeface="Arial" charset="0"/>
                </a:rPr>
                <a:t>MOM/MES</a:t>
              </a:r>
              <a:endParaRPr lang="en-US" sz="900" kern="0" dirty="0">
                <a:solidFill>
                  <a:srgbClr val="006487"/>
                </a:solidFill>
                <a:latin typeface="Arial"/>
                <a:ea typeface="ＭＳ Ｐゴシック" charset="-128"/>
                <a:cs typeface="Arial" pitchFamily="34" charset="0"/>
                <a:sym typeface="Arial" charset="0"/>
              </a:endParaRPr>
            </a:p>
          </p:txBody>
        </p:sp>
        <p:sp>
          <p:nvSpPr>
            <p:cNvPr id="2062" name="Text Box 1052"/>
            <p:cNvSpPr txBox="1">
              <a:spLocks noChangeArrowheads="1"/>
            </p:cNvSpPr>
            <p:nvPr/>
          </p:nvSpPr>
          <p:spPr bwMode="auto">
            <a:xfrm>
              <a:off x="2407931" y="4010978"/>
              <a:ext cx="298004" cy="138499"/>
            </a:xfrm>
            <a:prstGeom prst="rect">
              <a:avLst/>
            </a:prstGeom>
            <a:solidFill>
              <a:srgbClr val="ADBECB"/>
            </a:solidFill>
            <a:ln w="9525">
              <a:noFill/>
              <a:miter lim="800000"/>
              <a:headEnd/>
              <a:tailEnd/>
            </a:ln>
            <a:effectLst/>
          </p:spPr>
          <p:txBody>
            <a:bodyPr wrap="none" lIns="0" tIns="0" rIns="0" bIns="0">
              <a:spAutoFit/>
            </a:bodyPr>
            <a:lstStyle/>
            <a:p>
              <a:pPr algn="ctr" fontAlgn="auto">
                <a:spcBef>
                  <a:spcPts val="0"/>
                </a:spcBef>
                <a:spcAft>
                  <a:spcPts val="0"/>
                </a:spcAft>
                <a:buClr>
                  <a:srgbClr val="949EAA"/>
                </a:buClr>
                <a:buSzPct val="100000"/>
                <a:defRPr/>
              </a:pPr>
              <a:r>
                <a:rPr lang="en-US" sz="900" kern="0" dirty="0">
                  <a:solidFill>
                    <a:srgbClr val="006487"/>
                  </a:solidFill>
                  <a:latin typeface="Arial"/>
                  <a:ea typeface="ＭＳ Ｐゴシック" charset="-128"/>
                  <a:cs typeface="Arial" pitchFamily="34" charset="0"/>
                  <a:sym typeface="Arial" charset="0"/>
                </a:rPr>
                <a:t>SCADA</a:t>
              </a:r>
            </a:p>
          </p:txBody>
        </p:sp>
      </p:grpSp>
      <p:grpSp>
        <p:nvGrpSpPr>
          <p:cNvPr id="3" name="Gruppieren 2"/>
          <p:cNvGrpSpPr/>
          <p:nvPr/>
        </p:nvGrpSpPr>
        <p:grpSpPr>
          <a:xfrm>
            <a:off x="3452760" y="1636862"/>
            <a:ext cx="8232167" cy="4707539"/>
            <a:chOff x="3483582" y="1450374"/>
            <a:chExt cx="5287963" cy="4707539"/>
          </a:xfrm>
        </p:grpSpPr>
        <p:sp>
          <p:nvSpPr>
            <p:cNvPr id="4073" name="Rectangle 4072"/>
            <p:cNvSpPr/>
            <p:nvPr/>
          </p:nvSpPr>
          <p:spPr bwMode="auto">
            <a:xfrm>
              <a:off x="3483582" y="1450374"/>
              <a:ext cx="5287963" cy="895350"/>
            </a:xfrm>
            <a:prstGeom prst="rect">
              <a:avLst/>
            </a:prstGeom>
            <a:solidFill>
              <a:srgbClr val="FFFFFF"/>
            </a:solidFill>
            <a:ln w="9525" cap="flat" cmpd="sng" algn="ctr">
              <a:noFill/>
              <a:prstDash val="solid"/>
              <a:round/>
              <a:headEnd type="none" w="med" len="med"/>
              <a:tailEnd type="none" w="med" len="med"/>
            </a:ln>
            <a:effectLst/>
          </p:spPr>
          <p:txBody>
            <a:bodyPr wrap="none" lIns="0" tIns="0" rIns="0" bIns="0">
              <a:noAutofit/>
            </a:bodyPr>
            <a:lstStyle/>
            <a:p>
              <a:pPr fontAlgn="auto">
                <a:spcBef>
                  <a:spcPct val="50000"/>
                </a:spcBef>
                <a:spcAft>
                  <a:spcPts val="0"/>
                </a:spcAft>
                <a:buClr>
                  <a:srgbClr val="949EAA"/>
                </a:buClr>
                <a:defRPr/>
              </a:pPr>
              <a:endParaRPr lang="en-US" kern="0">
                <a:solidFill>
                  <a:srgbClr val="000000"/>
                </a:solidFill>
                <a:latin typeface="Arial"/>
                <a:ea typeface="ＭＳ Ｐゴシック" charset="-128"/>
                <a:cs typeface="+mn-cs"/>
              </a:endParaRPr>
            </a:p>
          </p:txBody>
        </p:sp>
        <p:sp>
          <p:nvSpPr>
            <p:cNvPr id="1405" name="Rectangle 1404"/>
            <p:cNvSpPr/>
            <p:nvPr/>
          </p:nvSpPr>
          <p:spPr bwMode="auto">
            <a:xfrm>
              <a:off x="3483582" y="1450374"/>
              <a:ext cx="5287963" cy="895350"/>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9" name="TextBox 1418"/>
            <p:cNvSpPr txBox="1"/>
            <p:nvPr/>
          </p:nvSpPr>
          <p:spPr>
            <a:xfrm>
              <a:off x="8415647" y="1488474"/>
              <a:ext cx="327323" cy="238527"/>
            </a:xfrm>
            <a:prstGeom prst="rect">
              <a:avLst/>
            </a:prstGeom>
            <a:noFill/>
          </p:spPr>
          <p:txBody>
            <a:bodyPr wrap="none" lIns="68580" tIns="34290" rIns="68580" bIns="34290">
              <a:spAutoFit/>
            </a:bodyPr>
            <a:lstStyle/>
            <a:p>
              <a:pPr algn="r">
                <a:spcBef>
                  <a:spcPct val="50000"/>
                </a:spcBef>
                <a:buClr>
                  <a:srgbClr val="949EAA"/>
                </a:buClr>
                <a:buFont typeface="Wingdings" pitchFamily="2" charset="2"/>
                <a:buNone/>
                <a:defRPr/>
              </a:pPr>
              <a:r>
                <a:rPr lang="en-US" sz="1100" b="1">
                  <a:solidFill>
                    <a:srgbClr val="000000"/>
                  </a:solidFill>
                  <a:latin typeface="+mn-lt"/>
                  <a:ea typeface="ＭＳ Ｐゴシック" charset="-128"/>
                  <a:cs typeface="+mn-cs"/>
                </a:rPr>
                <a:t>PLM</a:t>
              </a:r>
            </a:p>
          </p:txBody>
        </p:sp>
        <p:sp>
          <p:nvSpPr>
            <p:cNvPr id="1436" name="Rectangle 1435"/>
            <p:cNvSpPr/>
            <p:nvPr/>
          </p:nvSpPr>
          <p:spPr bwMode="auto">
            <a:xfrm>
              <a:off x="7144357" y="1705962"/>
              <a:ext cx="1511300" cy="5524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37" name="Text Box 1471"/>
            <p:cNvSpPr txBox="1">
              <a:spLocks noChangeArrowheads="1"/>
            </p:cNvSpPr>
            <p:nvPr/>
          </p:nvSpPr>
          <p:spPr bwMode="auto">
            <a:xfrm>
              <a:off x="7903182" y="1790099"/>
              <a:ext cx="731838" cy="415498"/>
            </a:xfrm>
            <a:prstGeom prst="rect">
              <a:avLst/>
            </a:prstGeom>
            <a:noFill/>
            <a:ln w="9525" algn="ctr">
              <a:noFill/>
              <a:miter lim="800000"/>
              <a:headEnd/>
              <a:tailEnd/>
            </a:ln>
          </p:spPr>
          <p:txBody>
            <a:bodyPr lIns="0" tIns="0" rIns="0" bIns="0">
              <a:spAutoFit/>
            </a:bodyPr>
            <a:lstStyle/>
            <a:p>
              <a:pPr algn="ctr">
                <a:spcBef>
                  <a:spcPct val="50000"/>
                </a:spcBef>
                <a:buClr>
                  <a:srgbClr val="949EAA"/>
                </a:buClr>
                <a:buFont typeface="Wingdings" pitchFamily="2" charset="2"/>
                <a:buNone/>
                <a:defRPr/>
              </a:pPr>
              <a:r>
                <a:rPr lang="en-US" sz="900" b="1" dirty="0">
                  <a:solidFill>
                    <a:srgbClr val="000000"/>
                  </a:solidFill>
                  <a:latin typeface="+mn-lt"/>
                  <a:ea typeface="ＭＳ Ｐゴシック" charset="-128"/>
                  <a:cs typeface="+mn-cs"/>
                </a:rPr>
                <a:t>TECNOMATIX</a:t>
              </a:r>
              <a:br>
                <a:rPr lang="en-US" sz="900" b="1"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Digital </a:t>
              </a:r>
              <a:br>
                <a:rPr lang="en-US" sz="900"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Manufacturing</a:t>
              </a:r>
            </a:p>
          </p:txBody>
        </p:sp>
        <p:sp>
          <p:nvSpPr>
            <p:cNvPr id="1440" name="Rectangle 1439"/>
            <p:cNvSpPr/>
            <p:nvPr/>
          </p:nvSpPr>
          <p:spPr bwMode="auto">
            <a:xfrm>
              <a:off x="5361595" y="1705962"/>
              <a:ext cx="1511300" cy="5524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41" name="Text Box 1471"/>
            <p:cNvSpPr txBox="1">
              <a:spLocks noChangeArrowheads="1"/>
            </p:cNvSpPr>
            <p:nvPr/>
          </p:nvSpPr>
          <p:spPr bwMode="auto">
            <a:xfrm>
              <a:off x="6114070" y="1790099"/>
              <a:ext cx="738187" cy="415498"/>
            </a:xfrm>
            <a:prstGeom prst="rect">
              <a:avLst/>
            </a:prstGeom>
            <a:noFill/>
            <a:ln w="9525" algn="ctr">
              <a:noFill/>
              <a:miter lim="800000"/>
              <a:headEnd/>
              <a:tailEnd/>
            </a:ln>
          </p:spPr>
          <p:txBody>
            <a:bodyPr lIns="0" tIns="0" rIns="0" bIns="0">
              <a:spAutoFit/>
            </a:bodyPr>
            <a:lstStyle/>
            <a:p>
              <a:pPr algn="ctr">
                <a:spcBef>
                  <a:spcPct val="50000"/>
                </a:spcBef>
                <a:buClr>
                  <a:srgbClr val="949EAA"/>
                </a:buClr>
                <a:buFont typeface="Wingdings" pitchFamily="2" charset="2"/>
                <a:buNone/>
                <a:defRPr/>
              </a:pPr>
              <a:r>
                <a:rPr lang="en-US" sz="900" b="1" dirty="0">
                  <a:solidFill>
                    <a:srgbClr val="000000"/>
                  </a:solidFill>
                  <a:latin typeface="+mn-lt"/>
                  <a:ea typeface="ＭＳ Ｐゴシック" charset="-128"/>
                  <a:cs typeface="+mn-cs"/>
                </a:rPr>
                <a:t>TEAMCENTER</a:t>
              </a:r>
              <a:br>
                <a:rPr lang="en-US" sz="900" b="1"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Collaborative</a:t>
              </a:r>
              <a:br>
                <a:rPr lang="en-US" sz="900"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PDM</a:t>
              </a:r>
            </a:p>
          </p:txBody>
        </p:sp>
        <p:sp>
          <p:nvSpPr>
            <p:cNvPr id="1444" name="Rectangle 1443"/>
            <p:cNvSpPr/>
            <p:nvPr/>
          </p:nvSpPr>
          <p:spPr bwMode="auto">
            <a:xfrm>
              <a:off x="3578832" y="1705962"/>
              <a:ext cx="1511300" cy="5524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45" name="Text Box 1471"/>
            <p:cNvSpPr txBox="1">
              <a:spLocks noChangeArrowheads="1"/>
            </p:cNvSpPr>
            <p:nvPr/>
          </p:nvSpPr>
          <p:spPr bwMode="auto">
            <a:xfrm>
              <a:off x="4486073" y="1783749"/>
              <a:ext cx="436590" cy="415498"/>
            </a:xfrm>
            <a:prstGeom prst="rect">
              <a:avLst/>
            </a:prstGeom>
            <a:noFill/>
            <a:ln w="9525" algn="ctr">
              <a:noFill/>
              <a:miter lim="800000"/>
              <a:headEnd/>
              <a:tailEnd/>
            </a:ln>
          </p:spPr>
          <p:txBody>
            <a:bodyPr wrap="none" lIns="0" tIns="0" rIns="0" bIns="0">
              <a:spAutoFit/>
            </a:bodyPr>
            <a:lstStyle/>
            <a:p>
              <a:pPr algn="ctr">
                <a:spcBef>
                  <a:spcPct val="50000"/>
                </a:spcBef>
                <a:buClr>
                  <a:srgbClr val="949EAA"/>
                </a:buClr>
                <a:buFont typeface="Wingdings" pitchFamily="2" charset="2"/>
                <a:buNone/>
                <a:defRPr/>
              </a:pPr>
              <a:r>
                <a:rPr lang="en-US" sz="900" b="1" dirty="0">
                  <a:solidFill>
                    <a:srgbClr val="000000"/>
                  </a:solidFill>
                  <a:latin typeface="+mn-lt"/>
                  <a:ea typeface="ＭＳ Ｐゴシック" charset="-128"/>
                  <a:cs typeface="+mn-cs"/>
                </a:rPr>
                <a:t>NX</a:t>
              </a:r>
              <a:r>
                <a:rPr lang="en-US" sz="900" dirty="0">
                  <a:solidFill>
                    <a:srgbClr val="000000"/>
                  </a:solidFill>
                  <a:latin typeface="+mn-lt"/>
                  <a:ea typeface="ＭＳ Ｐゴシック" charset="-128"/>
                  <a:cs typeface="+mn-cs"/>
                </a:rPr>
                <a:t/>
              </a:r>
              <a:br>
                <a:rPr lang="en-US" sz="900"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Product </a:t>
              </a:r>
              <a:br>
                <a:rPr lang="en-US" sz="900" dirty="0">
                  <a:solidFill>
                    <a:srgbClr val="000000"/>
                  </a:solidFill>
                  <a:latin typeface="+mn-lt"/>
                  <a:ea typeface="ＭＳ Ｐゴシック" charset="-128"/>
                  <a:cs typeface="+mn-cs"/>
                </a:rPr>
              </a:br>
              <a:r>
                <a:rPr lang="en-US" sz="900" dirty="0">
                  <a:solidFill>
                    <a:srgbClr val="000000"/>
                  </a:solidFill>
                  <a:latin typeface="+mn-lt"/>
                  <a:ea typeface="ＭＳ Ｐゴシック" charset="-128"/>
                  <a:cs typeface="+mn-cs"/>
                </a:rPr>
                <a:t>Development</a:t>
              </a:r>
            </a:p>
          </p:txBody>
        </p:sp>
        <p:sp>
          <p:nvSpPr>
            <p:cNvPr id="1406" name="Rectangle 1405"/>
            <p:cNvSpPr/>
            <p:nvPr/>
          </p:nvSpPr>
          <p:spPr bwMode="auto">
            <a:xfrm>
              <a:off x="3483582" y="2411413"/>
              <a:ext cx="893763" cy="3746500"/>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07" name="Rectangle 1406"/>
            <p:cNvSpPr/>
            <p:nvPr/>
          </p:nvSpPr>
          <p:spPr bwMode="auto">
            <a:xfrm flipH="1">
              <a:off x="4417032" y="2411413"/>
              <a:ext cx="3452813" cy="889479"/>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08" name="Rectangle 1407"/>
            <p:cNvSpPr/>
            <p:nvPr/>
          </p:nvSpPr>
          <p:spPr bwMode="auto">
            <a:xfrm flipH="1">
              <a:off x="4420207" y="3346466"/>
              <a:ext cx="3449638" cy="931911"/>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09" name="Rectangle 1408"/>
            <p:cNvSpPr/>
            <p:nvPr/>
          </p:nvSpPr>
          <p:spPr bwMode="auto">
            <a:xfrm flipH="1">
              <a:off x="4417032" y="4328666"/>
              <a:ext cx="808038" cy="884764"/>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0" name="Rectangle 1409"/>
            <p:cNvSpPr/>
            <p:nvPr/>
          </p:nvSpPr>
          <p:spPr bwMode="auto">
            <a:xfrm flipH="1">
              <a:off x="6972907" y="4328666"/>
              <a:ext cx="889000" cy="884764"/>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1" name="Rectangle 1410"/>
            <p:cNvSpPr/>
            <p:nvPr/>
          </p:nvSpPr>
          <p:spPr bwMode="auto">
            <a:xfrm flipH="1">
              <a:off x="6120420" y="4328666"/>
              <a:ext cx="808037" cy="884764"/>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2" name="Rectangle 1411"/>
            <p:cNvSpPr/>
            <p:nvPr/>
          </p:nvSpPr>
          <p:spPr bwMode="auto">
            <a:xfrm flipH="1">
              <a:off x="4417032" y="5271577"/>
              <a:ext cx="808038" cy="886336"/>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3" name="Rectangle 1412"/>
            <p:cNvSpPr/>
            <p:nvPr/>
          </p:nvSpPr>
          <p:spPr bwMode="auto">
            <a:xfrm flipH="1">
              <a:off x="6972907" y="5271577"/>
              <a:ext cx="889000" cy="886336"/>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4" name="Rectangle 1413"/>
            <p:cNvSpPr/>
            <p:nvPr/>
          </p:nvSpPr>
          <p:spPr bwMode="auto">
            <a:xfrm flipH="1">
              <a:off x="6120420" y="5271577"/>
              <a:ext cx="808037" cy="886336"/>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5" name="Rectangle 1414"/>
            <p:cNvSpPr/>
            <p:nvPr/>
          </p:nvSpPr>
          <p:spPr bwMode="auto">
            <a:xfrm flipH="1">
              <a:off x="5269520" y="5271577"/>
              <a:ext cx="806450" cy="886336"/>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16" name="Rectangle 1415"/>
            <p:cNvSpPr/>
            <p:nvPr/>
          </p:nvSpPr>
          <p:spPr bwMode="auto">
            <a:xfrm flipH="1">
              <a:off x="5269520" y="4328666"/>
              <a:ext cx="806450" cy="884764"/>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20" name="Rectangle 1419"/>
            <p:cNvSpPr/>
            <p:nvPr/>
          </p:nvSpPr>
          <p:spPr bwMode="auto">
            <a:xfrm>
              <a:off x="7911120" y="2411413"/>
              <a:ext cx="860425" cy="3744928"/>
            </a:xfrm>
            <a:prstGeom prst="rect">
              <a:avLst/>
            </a:prstGeom>
            <a:solidFill>
              <a:srgbClr val="EBF0F5"/>
            </a:solidFill>
            <a:ln w="9525" cap="flat" cmpd="sng" algn="ctr">
              <a:noFill/>
              <a:prstDash val="solid"/>
              <a:round/>
              <a:headEnd type="none" w="med" len="med"/>
              <a:tailEnd type="none" w="med" len="med"/>
            </a:ln>
            <a:effectLst/>
          </p:spPr>
          <p:txBody>
            <a:bodyPr wrap="none" lIns="0" tIns="0" rIns="0" bIns="0">
              <a:noAutofit/>
            </a:bodyPr>
            <a:lstStyle/>
            <a:p>
              <a:pPr>
                <a:spcBef>
                  <a:spcPct val="50000"/>
                </a:spcBef>
                <a:buClr>
                  <a:srgbClr val="949EAA"/>
                </a:buClr>
                <a:buFont typeface="Wingdings" pitchFamily="2" charset="2"/>
                <a:buNone/>
                <a:defRPr/>
              </a:pPr>
              <a:endParaRPr lang="en-US">
                <a:solidFill>
                  <a:srgbClr val="000000"/>
                </a:solidFill>
                <a:latin typeface="+mn-lt"/>
                <a:ea typeface="ＭＳ Ｐゴシック" charset="-128"/>
                <a:cs typeface="+mn-cs"/>
              </a:endParaRPr>
            </a:p>
          </p:txBody>
        </p:sp>
        <p:sp>
          <p:nvSpPr>
            <p:cNvPr id="1421" name="Text Box 8"/>
            <p:cNvSpPr txBox="1">
              <a:spLocks noChangeArrowheads="1"/>
            </p:cNvSpPr>
            <p:nvPr>
              <p:custDataLst>
                <p:tags r:id="rId7"/>
              </p:custDataLst>
            </p:nvPr>
          </p:nvSpPr>
          <p:spPr bwMode="auto">
            <a:xfrm>
              <a:off x="5361595" y="4947844"/>
              <a:ext cx="620712" cy="223156"/>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MATIC</a:t>
              </a:r>
              <a:br>
                <a:rPr lang="en-US" sz="800" b="1">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HMI</a:t>
              </a:r>
            </a:p>
          </p:txBody>
        </p:sp>
        <p:sp>
          <p:nvSpPr>
            <p:cNvPr id="1422" name="Text Box 8"/>
            <p:cNvSpPr txBox="1">
              <a:spLocks noChangeArrowheads="1"/>
            </p:cNvSpPr>
            <p:nvPr>
              <p:custDataLst>
                <p:tags r:id="rId8"/>
              </p:custDataLst>
            </p:nvPr>
          </p:nvSpPr>
          <p:spPr bwMode="auto">
            <a:xfrm>
              <a:off x="4507520" y="4947844"/>
              <a:ext cx="625475" cy="223156"/>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MATIC</a:t>
              </a:r>
              <a:r>
                <a:rPr lang="en-US" sz="800">
                  <a:solidFill>
                    <a:srgbClr val="000000"/>
                  </a:solidFill>
                  <a:latin typeface="+mn-lt"/>
                  <a:ea typeface="ＭＳ Ｐゴシック" charset="-128"/>
                  <a:cs typeface="+mn-cs"/>
                </a:rPr>
                <a:t> Controllers</a:t>
              </a:r>
            </a:p>
          </p:txBody>
        </p:sp>
        <p:sp>
          <p:nvSpPr>
            <p:cNvPr id="1423" name="Text Box 8"/>
            <p:cNvSpPr txBox="1">
              <a:spLocks noChangeArrowheads="1"/>
            </p:cNvSpPr>
            <p:nvPr>
              <p:custDataLst>
                <p:tags r:id="rId9"/>
              </p:custDataLst>
            </p:nvPr>
          </p:nvSpPr>
          <p:spPr bwMode="auto">
            <a:xfrm>
              <a:off x="5272695" y="5874059"/>
              <a:ext cx="798512" cy="221599"/>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dirty="0">
                  <a:solidFill>
                    <a:srgbClr val="000000"/>
                  </a:solidFill>
                  <a:latin typeface="+mn-lt"/>
                  <a:ea typeface="ＭＳ Ｐゴシック" charset="-128"/>
                  <a:cs typeface="+mn-cs"/>
                </a:rPr>
                <a:t>SIMATIC IDENT</a:t>
              </a:r>
              <a:br>
                <a:rPr lang="en-US" sz="800" b="1" dirty="0">
                  <a:solidFill>
                    <a:srgbClr val="000000"/>
                  </a:solidFill>
                  <a:latin typeface="+mn-lt"/>
                  <a:ea typeface="ＭＳ Ｐゴシック" charset="-128"/>
                  <a:cs typeface="+mn-cs"/>
                </a:rPr>
              </a:br>
              <a:r>
                <a:rPr lang="en-US" sz="800" dirty="0">
                  <a:solidFill>
                    <a:srgbClr val="000000"/>
                  </a:solidFill>
                  <a:latin typeface="+mn-lt"/>
                  <a:ea typeface="ＭＳ Ｐゴシック" charset="-128"/>
                  <a:cs typeface="+mn-cs"/>
                </a:rPr>
                <a:t>Industrial Identification</a:t>
              </a:r>
            </a:p>
          </p:txBody>
        </p:sp>
        <p:sp>
          <p:nvSpPr>
            <p:cNvPr id="1424" name="Text Box 8"/>
            <p:cNvSpPr txBox="1">
              <a:spLocks noChangeArrowheads="1"/>
            </p:cNvSpPr>
            <p:nvPr>
              <p:custDataLst>
                <p:tags r:id="rId10"/>
              </p:custDataLst>
            </p:nvPr>
          </p:nvSpPr>
          <p:spPr bwMode="auto">
            <a:xfrm>
              <a:off x="6122007" y="5874059"/>
              <a:ext cx="811213" cy="224727"/>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MATIC </a:t>
              </a:r>
              <a:r>
                <a:rPr lang="en-US" sz="800">
                  <a:solidFill>
                    <a:srgbClr val="000000"/>
                  </a:solidFill>
                  <a:latin typeface="+mn-lt"/>
                  <a:ea typeface="ＭＳ Ｐゴシック" charset="-128"/>
                  <a:cs typeface="+mn-cs"/>
                </a:rPr>
                <a:t>Distributed  I/O</a:t>
              </a:r>
            </a:p>
          </p:txBody>
        </p:sp>
        <p:sp>
          <p:nvSpPr>
            <p:cNvPr id="1425" name="Text Box 8"/>
            <p:cNvSpPr txBox="1">
              <a:spLocks noChangeArrowheads="1"/>
            </p:cNvSpPr>
            <p:nvPr>
              <p:custDataLst>
                <p:tags r:id="rId11"/>
              </p:custDataLst>
            </p:nvPr>
          </p:nvSpPr>
          <p:spPr bwMode="auto">
            <a:xfrm>
              <a:off x="6972907" y="5874059"/>
              <a:ext cx="881063" cy="224727"/>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NAMICS</a:t>
              </a:r>
              <a:r>
                <a:rPr lang="en-US" sz="800">
                  <a:solidFill>
                    <a:srgbClr val="000000"/>
                  </a:solidFill>
                  <a:latin typeface="+mn-lt"/>
                  <a:ea typeface="ＭＳ Ｐゴシック" charset="-128"/>
                  <a:cs typeface="+mn-cs"/>
                </a:rPr>
                <a:t/>
              </a:r>
              <a:br>
                <a:rPr lang="en-US" sz="800">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Drive Systems</a:t>
              </a:r>
            </a:p>
          </p:txBody>
        </p:sp>
        <p:sp>
          <p:nvSpPr>
            <p:cNvPr id="1426" name="Text Box 1471"/>
            <p:cNvSpPr txBox="1">
              <a:spLocks noChangeArrowheads="1"/>
            </p:cNvSpPr>
            <p:nvPr/>
          </p:nvSpPr>
          <p:spPr bwMode="auto">
            <a:xfrm>
              <a:off x="4594832" y="3689057"/>
              <a:ext cx="828675" cy="248300"/>
            </a:xfrm>
            <a:prstGeom prst="rect">
              <a:avLst/>
            </a:prstGeom>
            <a:noFill/>
            <a:ln w="9525" algn="ctr">
              <a:noFill/>
              <a:miter lim="800000"/>
              <a:headEnd/>
              <a:tailEnd/>
            </a:ln>
          </p:spPr>
          <p:txBody>
            <a:bodyPr lIns="0" tIns="0" rIns="0" bIns="0">
              <a:spAutoFit/>
            </a:bodyPr>
            <a:lstStyle/>
            <a:p>
              <a:pPr algn="ctr">
                <a:spcBef>
                  <a:spcPct val="50000"/>
                </a:spcBef>
                <a:buClr>
                  <a:srgbClr val="949EAA"/>
                </a:buClr>
                <a:buFont typeface="Wingdings" pitchFamily="2" charset="2"/>
                <a:buNone/>
                <a:defRPr/>
              </a:pPr>
              <a:r>
                <a:rPr lang="en-US" sz="800" b="1">
                  <a:solidFill>
                    <a:srgbClr val="000000"/>
                  </a:solidFill>
                  <a:latin typeface="+mn-lt"/>
                  <a:ea typeface="ＭＳ Ｐゴシック" charset="-128"/>
                  <a:cs typeface="+mn-cs"/>
                </a:rPr>
                <a:t>SIMATIC </a:t>
              </a:r>
              <a:r>
                <a:rPr lang="en-US" sz="800" b="1" err="1">
                  <a:solidFill>
                    <a:srgbClr val="000000"/>
                  </a:solidFill>
                  <a:latin typeface="+mn-lt"/>
                  <a:ea typeface="ＭＳ Ｐゴシック" charset="-128"/>
                  <a:cs typeface="+mn-cs"/>
                </a:rPr>
                <a:t>WinCC</a:t>
              </a:r>
              <a:r>
                <a:rPr lang="en-US" sz="800" b="1">
                  <a:solidFill>
                    <a:srgbClr val="000000"/>
                  </a:solidFill>
                  <a:latin typeface="+mn-lt"/>
                  <a:ea typeface="ＭＳ Ｐゴシック" charset="-128"/>
                  <a:cs typeface="+mn-cs"/>
                </a:rPr>
                <a:t/>
              </a:r>
              <a:br>
                <a:rPr lang="en-US" sz="800" b="1">
                  <a:solidFill>
                    <a:srgbClr val="000000"/>
                  </a:solidFill>
                  <a:latin typeface="+mn-lt"/>
                  <a:ea typeface="ＭＳ Ｐゴシック" charset="-128"/>
                  <a:cs typeface="+mn-cs"/>
                </a:rPr>
              </a:br>
              <a:r>
                <a:rPr lang="en-US" sz="800" b="1">
                  <a:solidFill>
                    <a:srgbClr val="000000"/>
                  </a:solidFill>
                  <a:latin typeface="+mn-lt"/>
                  <a:ea typeface="ＭＳ Ｐゴシック" charset="-128"/>
                  <a:cs typeface="+mn-cs"/>
                </a:rPr>
                <a:t>SCADA System</a:t>
              </a:r>
            </a:p>
          </p:txBody>
        </p:sp>
        <p:sp>
          <p:nvSpPr>
            <p:cNvPr id="1427" name="Text Box 8"/>
            <p:cNvSpPr txBox="1">
              <a:spLocks noChangeArrowheads="1"/>
            </p:cNvSpPr>
            <p:nvPr>
              <p:custDataLst>
                <p:tags r:id="rId12"/>
              </p:custDataLst>
            </p:nvPr>
          </p:nvSpPr>
          <p:spPr bwMode="auto">
            <a:xfrm>
              <a:off x="3521682" y="5518304"/>
              <a:ext cx="785813" cy="336305"/>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dirty="0">
                  <a:solidFill>
                    <a:srgbClr val="000000"/>
                  </a:solidFill>
                  <a:latin typeface="+mn-lt"/>
                  <a:ea typeface="ＭＳ Ｐゴシック" charset="-128"/>
                  <a:cs typeface="+mn-cs"/>
                </a:rPr>
                <a:t>SIMATIC NET</a:t>
              </a:r>
              <a:br>
                <a:rPr lang="en-US" sz="800" b="1" dirty="0">
                  <a:solidFill>
                    <a:srgbClr val="000000"/>
                  </a:solidFill>
                  <a:latin typeface="+mn-lt"/>
                  <a:ea typeface="ＭＳ Ｐゴシック" charset="-128"/>
                  <a:cs typeface="+mn-cs"/>
                </a:rPr>
              </a:br>
              <a:r>
                <a:rPr lang="en-US" sz="800" dirty="0">
                  <a:solidFill>
                    <a:srgbClr val="000000"/>
                  </a:solidFill>
                  <a:latin typeface="+mn-lt"/>
                  <a:ea typeface="ＭＳ Ｐゴシック" charset="-128"/>
                  <a:cs typeface="+mn-cs"/>
                </a:rPr>
                <a:t>Industrial Communication</a:t>
              </a:r>
            </a:p>
          </p:txBody>
        </p:sp>
        <p:sp>
          <p:nvSpPr>
            <p:cNvPr id="1428" name="Text Box 8"/>
            <p:cNvSpPr txBox="1">
              <a:spLocks noChangeArrowheads="1"/>
            </p:cNvSpPr>
            <p:nvPr>
              <p:custDataLst>
                <p:tags r:id="rId13"/>
              </p:custDataLst>
            </p:nvPr>
          </p:nvSpPr>
          <p:spPr bwMode="auto">
            <a:xfrm>
              <a:off x="4415445" y="5874059"/>
              <a:ext cx="800100" cy="221599"/>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dirty="0">
                  <a:solidFill>
                    <a:srgbClr val="000000"/>
                  </a:solidFill>
                  <a:latin typeface="+mn-lt"/>
                  <a:ea typeface="ＭＳ Ｐゴシック" charset="-128"/>
                  <a:cs typeface="+mn-cs"/>
                </a:rPr>
                <a:t>SIRIUS</a:t>
              </a:r>
              <a:r>
                <a:rPr lang="en-US" sz="800" dirty="0">
                  <a:solidFill>
                    <a:srgbClr val="000000"/>
                  </a:solidFill>
                  <a:latin typeface="+mn-lt"/>
                  <a:ea typeface="ＭＳ Ｐゴシック" charset="-128"/>
                  <a:cs typeface="+mn-cs"/>
                </a:rPr>
                <a:t/>
              </a:r>
              <a:br>
                <a:rPr lang="en-US" sz="800" dirty="0">
                  <a:solidFill>
                    <a:srgbClr val="000000"/>
                  </a:solidFill>
                  <a:latin typeface="+mn-lt"/>
                  <a:ea typeface="ＭＳ Ｐゴシック" charset="-128"/>
                  <a:cs typeface="+mn-cs"/>
                </a:rPr>
              </a:br>
              <a:r>
                <a:rPr lang="en-US" sz="800" dirty="0">
                  <a:solidFill>
                    <a:srgbClr val="000000"/>
                  </a:solidFill>
                  <a:latin typeface="+mn-lt"/>
                  <a:ea typeface="ＭＳ Ｐゴシック" charset="-128"/>
                  <a:cs typeface="+mn-cs"/>
                </a:rPr>
                <a:t>Industrial Controls</a:t>
              </a:r>
            </a:p>
          </p:txBody>
        </p:sp>
        <p:sp>
          <p:nvSpPr>
            <p:cNvPr id="1429" name="Text Box 8"/>
            <p:cNvSpPr txBox="1">
              <a:spLocks noChangeArrowheads="1"/>
            </p:cNvSpPr>
            <p:nvPr>
              <p:custDataLst>
                <p:tags r:id="rId14"/>
              </p:custDataLst>
            </p:nvPr>
          </p:nvSpPr>
          <p:spPr bwMode="auto">
            <a:xfrm>
              <a:off x="6214082" y="4947844"/>
              <a:ext cx="620713" cy="223156"/>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NUMERIK</a:t>
              </a:r>
              <a:br>
                <a:rPr lang="en-US" sz="800" b="1">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CNC</a:t>
              </a:r>
            </a:p>
          </p:txBody>
        </p:sp>
        <p:sp>
          <p:nvSpPr>
            <p:cNvPr id="1431" name="Text Box 8"/>
            <p:cNvSpPr txBox="1">
              <a:spLocks noChangeArrowheads="1"/>
            </p:cNvSpPr>
            <p:nvPr>
              <p:custDataLst>
                <p:tags r:id="rId15"/>
              </p:custDataLst>
            </p:nvPr>
          </p:nvSpPr>
          <p:spPr bwMode="auto">
            <a:xfrm>
              <a:off x="6998307" y="4947844"/>
              <a:ext cx="838200" cy="223156"/>
            </a:xfrm>
            <a:prstGeom prst="rect">
              <a:avLst/>
            </a:prstGeom>
            <a:noFill/>
            <a:ln w="9525">
              <a:noFill/>
              <a:miter lim="800000"/>
              <a:headEnd/>
              <a:tailEnd/>
            </a:ln>
          </p:spPr>
          <p:txBody>
            <a:bodyPr lIns="22494" tIns="0" rIns="22494" bIns="0">
              <a:spAutoFit/>
            </a:bodyPr>
            <a:lstStyle/>
            <a:p>
              <a:pPr algn="ctr" defTabSz="571500">
                <a:lnSpc>
                  <a:spcPct val="90000"/>
                </a:lnSpc>
                <a:spcBef>
                  <a:spcPct val="50000"/>
                </a:spcBef>
                <a:buClr>
                  <a:srgbClr val="FF9900"/>
                </a:buClr>
                <a:buSzPct val="80000"/>
                <a:defRPr/>
              </a:pPr>
              <a:r>
                <a:rPr lang="en-US" sz="800" b="1">
                  <a:solidFill>
                    <a:srgbClr val="000000"/>
                  </a:solidFill>
                  <a:latin typeface="+mn-lt"/>
                  <a:ea typeface="ＭＳ Ｐゴシック" charset="-128"/>
                  <a:cs typeface="+mn-cs"/>
                </a:rPr>
                <a:t>SIMOTION</a:t>
              </a:r>
              <a:br>
                <a:rPr lang="en-US" sz="800" b="1">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Motion Control</a:t>
              </a:r>
            </a:p>
          </p:txBody>
        </p:sp>
        <p:sp>
          <p:nvSpPr>
            <p:cNvPr id="1432" name="Text Box 1471"/>
            <p:cNvSpPr txBox="1">
              <a:spLocks noChangeArrowheads="1"/>
            </p:cNvSpPr>
            <p:nvPr/>
          </p:nvSpPr>
          <p:spPr bwMode="auto">
            <a:xfrm>
              <a:off x="7982557" y="4328666"/>
              <a:ext cx="717550" cy="492443"/>
            </a:xfrm>
            <a:prstGeom prst="rect">
              <a:avLst/>
            </a:prstGeom>
            <a:noFill/>
            <a:ln w="9525" algn="ctr">
              <a:noFill/>
              <a:miter lim="800000"/>
              <a:headEnd/>
              <a:tailEnd/>
            </a:ln>
          </p:spPr>
          <p:txBody>
            <a:bodyPr lIns="0" tIns="0" rIns="0" bIns="0">
              <a:spAutoFit/>
            </a:bodyPr>
            <a:lstStyle/>
            <a:p>
              <a:pPr algn="ctr">
                <a:spcBef>
                  <a:spcPct val="50000"/>
                </a:spcBef>
                <a:buClr>
                  <a:srgbClr val="949EAA"/>
                </a:buClr>
                <a:buFont typeface="Wingdings" pitchFamily="2" charset="2"/>
                <a:buNone/>
                <a:defRPr/>
              </a:pPr>
              <a:r>
                <a:rPr lang="en-US" sz="800" b="1">
                  <a:solidFill>
                    <a:srgbClr val="000000"/>
                  </a:solidFill>
                  <a:latin typeface="+mn-lt"/>
                  <a:ea typeface="ＭＳ Ｐゴシック" charset="-128"/>
                  <a:cs typeface="+mn-cs"/>
                </a:rPr>
                <a:t>TIA PORTAL</a:t>
              </a:r>
              <a:br>
                <a:rPr lang="en-US" sz="800" b="1">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Engineering Framework for Automation Tasks</a:t>
              </a:r>
            </a:p>
          </p:txBody>
        </p:sp>
        <p:sp>
          <p:nvSpPr>
            <p:cNvPr id="1433" name="Text Box 27"/>
            <p:cNvSpPr txBox="1">
              <a:spLocks noChangeArrowheads="1"/>
            </p:cNvSpPr>
            <p:nvPr/>
          </p:nvSpPr>
          <p:spPr bwMode="auto">
            <a:xfrm>
              <a:off x="5150457" y="2669142"/>
              <a:ext cx="871538" cy="246221"/>
            </a:xfrm>
            <a:prstGeom prst="rect">
              <a:avLst/>
            </a:prstGeom>
            <a:noFill/>
            <a:ln w="9525">
              <a:noFill/>
              <a:miter lim="800000"/>
              <a:headEnd/>
              <a:tailEnd/>
            </a:ln>
            <a:effectLst/>
          </p:spPr>
          <p:txBody>
            <a:bodyPr lIns="22494" tIns="0" rIns="22494" bIns="0">
              <a:spAutoFit/>
            </a:bodyPr>
            <a:lstStyle/>
            <a:p>
              <a:pPr algn="ctr" defTabSz="571500">
                <a:spcBef>
                  <a:spcPct val="50000"/>
                </a:spcBef>
                <a:buClr>
                  <a:srgbClr val="FF9900"/>
                </a:buClr>
                <a:buSzPct val="80000"/>
                <a:defRPr/>
              </a:pPr>
              <a:r>
                <a:rPr lang="en-US" sz="800" b="1">
                  <a:solidFill>
                    <a:srgbClr val="000000"/>
                  </a:solidFill>
                  <a:latin typeface="+mn-lt"/>
                  <a:ea typeface="ＭＳ Ｐゴシック" charset="-128"/>
                  <a:cs typeface="+mn-cs"/>
                </a:rPr>
                <a:t>SIMATIC IT Production</a:t>
              </a:r>
              <a:r>
                <a:rPr lang="en-US" sz="800">
                  <a:solidFill>
                    <a:srgbClr val="000000"/>
                  </a:solidFill>
                  <a:latin typeface="+mn-lt"/>
                  <a:ea typeface="ＭＳ Ｐゴシック" charset="-128"/>
                  <a:cs typeface="+mn-cs"/>
                </a:rPr>
                <a:t/>
              </a:r>
              <a:br>
                <a:rPr lang="en-US" sz="800">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Suite </a:t>
              </a:r>
            </a:p>
          </p:txBody>
        </p:sp>
        <p:sp>
          <p:nvSpPr>
            <p:cNvPr id="1434" name="Text Box 42"/>
            <p:cNvSpPr txBox="1">
              <a:spLocks noChangeArrowheads="1"/>
            </p:cNvSpPr>
            <p:nvPr/>
          </p:nvSpPr>
          <p:spPr bwMode="auto">
            <a:xfrm>
              <a:off x="7287364" y="2673856"/>
              <a:ext cx="447412" cy="369332"/>
            </a:xfrm>
            <a:prstGeom prst="rect">
              <a:avLst/>
            </a:prstGeom>
            <a:noFill/>
            <a:ln w="9525">
              <a:noFill/>
              <a:miter lim="800000"/>
              <a:headEnd/>
              <a:tailEnd/>
            </a:ln>
            <a:effectLst/>
          </p:spPr>
          <p:txBody>
            <a:bodyPr wrap="none" lIns="22494" tIns="0" rIns="22494" bIns="0">
              <a:spAutoFit/>
            </a:bodyPr>
            <a:lstStyle/>
            <a:p>
              <a:pPr algn="ctr" defTabSz="571500">
                <a:spcBef>
                  <a:spcPct val="50000"/>
                </a:spcBef>
                <a:buClr>
                  <a:srgbClr val="FF9900"/>
                </a:buClr>
                <a:buSzPct val="80000"/>
                <a:defRPr/>
              </a:pPr>
              <a:r>
                <a:rPr lang="en-US" sz="800" b="1">
                  <a:solidFill>
                    <a:srgbClr val="000000"/>
                  </a:solidFill>
                  <a:latin typeface="+mn-lt"/>
                  <a:ea typeface="ＭＳ Ｐゴシック" charset="-128"/>
                  <a:cs typeface="+mn-cs"/>
                </a:rPr>
                <a:t>SIMATIC IT</a:t>
              </a:r>
              <a:br>
                <a:rPr lang="en-US" sz="800" b="1">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Intelligence </a:t>
              </a:r>
              <a:br>
                <a:rPr lang="en-US" sz="800">
                  <a:solidFill>
                    <a:srgbClr val="000000"/>
                  </a:solidFill>
                  <a:latin typeface="+mn-lt"/>
                  <a:ea typeface="ＭＳ Ｐゴシック" charset="-128"/>
                  <a:cs typeface="+mn-cs"/>
                </a:rPr>
              </a:br>
              <a:r>
                <a:rPr lang="en-US" sz="800">
                  <a:solidFill>
                    <a:srgbClr val="000000"/>
                  </a:solidFill>
                  <a:latin typeface="+mn-lt"/>
                  <a:ea typeface="ＭＳ Ｐゴシック" charset="-128"/>
                  <a:cs typeface="+mn-cs"/>
                </a:rPr>
                <a:t>Suite</a:t>
              </a:r>
            </a:p>
          </p:txBody>
        </p:sp>
        <p:pic>
          <p:nvPicPr>
            <p:cNvPr id="181283" name="Picture 2"/>
            <p:cNvPicPr>
              <a:picLocks noChangeAspect="1" noChangeArrowheads="1"/>
            </p:cNvPicPr>
            <p:nvPr/>
          </p:nvPicPr>
          <p:blipFill>
            <a:blip r:embed="rId21"/>
            <a:srcRect/>
            <a:stretch>
              <a:fillRect/>
            </a:stretch>
          </p:blipFill>
          <p:spPr bwMode="auto">
            <a:xfrm>
              <a:off x="3612170" y="3197172"/>
              <a:ext cx="284162" cy="295445"/>
            </a:xfrm>
            <a:prstGeom prst="rect">
              <a:avLst/>
            </a:prstGeom>
            <a:noFill/>
            <a:ln w="9525">
              <a:noFill/>
              <a:miter lim="800000"/>
              <a:headEnd/>
              <a:tailEnd/>
            </a:ln>
          </p:spPr>
        </p:pic>
        <p:sp>
          <p:nvSpPr>
            <p:cNvPr id="74" name="Rechteck 73"/>
            <p:cNvSpPr/>
            <p:nvPr/>
          </p:nvSpPr>
          <p:spPr bwMode="auto">
            <a:xfrm>
              <a:off x="3596207" y="3500036"/>
              <a:ext cx="316774" cy="273342"/>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grpSp>
      <p:pic>
        <p:nvPicPr>
          <p:cNvPr id="77" name="Picture 1437" descr="Tecnomatix_thumb.png"/>
          <p:cNvPicPr>
            <a:picLocks/>
          </p:cNvPicPr>
          <p:nvPr/>
        </p:nvPicPr>
        <p:blipFill>
          <a:blip r:embed="rId22"/>
          <a:srcRect/>
          <a:stretch>
            <a:fillRect/>
          </a:stretch>
        </p:blipFill>
        <p:spPr bwMode="auto">
          <a:xfrm>
            <a:off x="9182584" y="1922301"/>
            <a:ext cx="712902" cy="511976"/>
          </a:xfrm>
          <a:prstGeom prst="rect">
            <a:avLst/>
          </a:prstGeom>
          <a:noFill/>
          <a:ln w="9525">
            <a:noFill/>
            <a:miter lim="800000"/>
            <a:headEnd/>
            <a:tailEnd/>
          </a:ln>
        </p:spPr>
      </p:pic>
      <p:pic>
        <p:nvPicPr>
          <p:cNvPr id="78" name="Picture 1441" descr="teamcenter_thumb.png"/>
          <p:cNvPicPr>
            <a:picLocks/>
          </p:cNvPicPr>
          <p:nvPr/>
        </p:nvPicPr>
        <p:blipFill>
          <a:blip r:embed="rId23"/>
          <a:srcRect/>
          <a:stretch>
            <a:fillRect/>
          </a:stretch>
        </p:blipFill>
        <p:spPr bwMode="auto">
          <a:xfrm>
            <a:off x="6420370" y="1925327"/>
            <a:ext cx="712964" cy="505925"/>
          </a:xfrm>
          <a:prstGeom prst="rect">
            <a:avLst/>
          </a:prstGeom>
          <a:noFill/>
          <a:ln w="9525">
            <a:noFill/>
            <a:miter lim="800000"/>
            <a:headEnd/>
            <a:tailEnd/>
          </a:ln>
        </p:spPr>
      </p:pic>
      <p:pic>
        <p:nvPicPr>
          <p:cNvPr id="79" name="Picture 1445" descr="NX_thumb.png"/>
          <p:cNvPicPr>
            <a:picLocks/>
          </p:cNvPicPr>
          <p:nvPr/>
        </p:nvPicPr>
        <p:blipFill>
          <a:blip r:embed="rId24"/>
          <a:srcRect/>
          <a:stretch>
            <a:fillRect/>
          </a:stretch>
        </p:blipFill>
        <p:spPr bwMode="auto">
          <a:xfrm>
            <a:off x="3636454" y="1925327"/>
            <a:ext cx="712964" cy="505925"/>
          </a:xfrm>
          <a:prstGeom prst="rect">
            <a:avLst/>
          </a:prstGeom>
          <a:noFill/>
          <a:ln w="9525">
            <a:noFill/>
            <a:miter lim="800000"/>
            <a:headEnd/>
            <a:tailEnd/>
          </a:ln>
        </p:spPr>
      </p:pic>
      <p:pic>
        <p:nvPicPr>
          <p:cNvPr id="80" name="Picture 37"/>
          <p:cNvPicPr>
            <a:picLocks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3621695" y="3753085"/>
            <a:ext cx="617537" cy="1477227"/>
          </a:xfrm>
          <a:prstGeom prst="rect">
            <a:avLst/>
          </a:prstGeom>
          <a:noFill/>
          <a:ln w="9525">
            <a:noFill/>
            <a:miter lim="800000"/>
            <a:headEnd/>
            <a:tailEnd/>
          </a:ln>
        </p:spPr>
      </p:pic>
      <p:pic>
        <p:nvPicPr>
          <p:cNvPr id="81" name="Picture 2"/>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293464" y="4593847"/>
            <a:ext cx="450850" cy="458883"/>
          </a:xfrm>
          <a:prstGeom prst="rect">
            <a:avLst/>
          </a:prstGeom>
          <a:solidFill>
            <a:srgbClr val="FFFFFF"/>
          </a:solidFill>
          <a:ln w="9525">
            <a:noFill/>
            <a:miter lim="800000"/>
            <a:headEnd/>
            <a:tailEnd/>
          </a:ln>
        </p:spPr>
      </p:pic>
      <p:pic>
        <p:nvPicPr>
          <p:cNvPr id="82" name="Picture 1451"/>
          <p:cNvPicPr>
            <a:picLocks noChangeArrowheads="1"/>
          </p:cNvPicPr>
          <p:nvPr/>
        </p:nvPicPr>
        <p:blipFill>
          <a:blip r:embed="rId27"/>
          <a:srcRect/>
          <a:stretch>
            <a:fillRect/>
          </a:stretch>
        </p:blipFill>
        <p:spPr bwMode="auto">
          <a:xfrm>
            <a:off x="6518454" y="5553318"/>
            <a:ext cx="690562" cy="424310"/>
          </a:xfrm>
          <a:prstGeom prst="rect">
            <a:avLst/>
          </a:prstGeom>
          <a:noFill/>
          <a:ln w="9525">
            <a:noFill/>
            <a:miter lim="800000"/>
            <a:headEnd/>
            <a:tailEnd/>
          </a:ln>
        </p:spPr>
      </p:pic>
      <p:pic>
        <p:nvPicPr>
          <p:cNvPr id="83" name="Picture 1452"/>
          <p:cNvPicPr>
            <a:picLocks noChangeArrowheads="1"/>
          </p:cNvPicPr>
          <p:nvPr/>
        </p:nvPicPr>
        <p:blipFill>
          <a:blip r:embed="rId28"/>
          <a:srcRect/>
          <a:stretch>
            <a:fillRect/>
          </a:stretch>
        </p:blipFill>
        <p:spPr bwMode="auto">
          <a:xfrm>
            <a:off x="7955240" y="5553318"/>
            <a:ext cx="569913" cy="392880"/>
          </a:xfrm>
          <a:prstGeom prst="rect">
            <a:avLst/>
          </a:prstGeom>
          <a:noFill/>
          <a:ln w="9525">
            <a:noFill/>
            <a:miter lim="800000"/>
            <a:headEnd/>
            <a:tailEnd/>
          </a:ln>
        </p:spPr>
      </p:pic>
      <p:pic>
        <p:nvPicPr>
          <p:cNvPr id="84" name="Picture 1453"/>
          <p:cNvPicPr>
            <a:picLocks noChangeArrowheads="1"/>
          </p:cNvPicPr>
          <p:nvPr/>
        </p:nvPicPr>
        <p:blipFill>
          <a:blip r:embed="rId29"/>
          <a:srcRect/>
          <a:stretch>
            <a:fillRect/>
          </a:stretch>
        </p:blipFill>
        <p:spPr bwMode="auto">
          <a:xfrm>
            <a:off x="9321696" y="5553318"/>
            <a:ext cx="527050" cy="407024"/>
          </a:xfrm>
          <a:prstGeom prst="rect">
            <a:avLst/>
          </a:prstGeom>
          <a:noFill/>
          <a:ln w="9525">
            <a:noFill/>
            <a:miter lim="800000"/>
            <a:headEnd/>
            <a:tailEnd/>
          </a:ln>
        </p:spPr>
      </p:pic>
      <p:pic>
        <p:nvPicPr>
          <p:cNvPr id="85" name="Picture 1454"/>
          <p:cNvPicPr>
            <a:picLocks noChangeArrowheads="1"/>
          </p:cNvPicPr>
          <p:nvPr/>
        </p:nvPicPr>
        <p:blipFill>
          <a:blip r:embed="rId30"/>
          <a:srcRect/>
          <a:stretch>
            <a:fillRect/>
          </a:stretch>
        </p:blipFill>
        <p:spPr bwMode="auto">
          <a:xfrm>
            <a:off x="6839557" y="3686524"/>
            <a:ext cx="1619250" cy="594034"/>
          </a:xfrm>
          <a:prstGeom prst="rect">
            <a:avLst/>
          </a:prstGeom>
          <a:noFill/>
          <a:ln w="9525">
            <a:noFill/>
            <a:miter lim="800000"/>
            <a:headEnd/>
            <a:tailEnd/>
          </a:ln>
        </p:spPr>
      </p:pic>
      <p:pic>
        <p:nvPicPr>
          <p:cNvPr id="86" name="Picture 2"/>
          <p:cNvPicPr>
            <a:picLocks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335488" y="5531317"/>
            <a:ext cx="387350" cy="457312"/>
          </a:xfrm>
          <a:prstGeom prst="rect">
            <a:avLst/>
          </a:prstGeom>
          <a:solidFill>
            <a:srgbClr val="FFFFFF"/>
          </a:solidFill>
          <a:ln w="9525">
            <a:noFill/>
            <a:miter lim="800000"/>
            <a:headEnd/>
            <a:tailEnd/>
          </a:ln>
        </p:spPr>
      </p:pic>
      <p:pic>
        <p:nvPicPr>
          <p:cNvPr id="87" name="Picture 2"/>
          <p:cNvPicPr>
            <a:picLocks noChangeArrowheads="1"/>
          </p:cNvPicPr>
          <p:nvPr/>
        </p:nvPicPr>
        <p:blipFill>
          <a:blip r:embed="rId32"/>
          <a:srcRect/>
          <a:stretch>
            <a:fillRect/>
          </a:stretch>
        </p:blipFill>
        <p:spPr bwMode="auto">
          <a:xfrm>
            <a:off x="8052346" y="4540416"/>
            <a:ext cx="252413" cy="564176"/>
          </a:xfrm>
          <a:prstGeom prst="rect">
            <a:avLst/>
          </a:prstGeom>
          <a:solidFill>
            <a:srgbClr val="FFFFFF"/>
          </a:solidFill>
          <a:ln w="9525">
            <a:noFill/>
            <a:miter lim="800000"/>
            <a:headEnd/>
            <a:tailEnd/>
          </a:ln>
        </p:spPr>
      </p:pic>
      <p:grpSp>
        <p:nvGrpSpPr>
          <p:cNvPr id="88" name="Gruppieren 6"/>
          <p:cNvGrpSpPr>
            <a:grpSpLocks/>
          </p:cNvGrpSpPr>
          <p:nvPr/>
        </p:nvGrpSpPr>
        <p:grpSpPr bwMode="auto">
          <a:xfrm>
            <a:off x="6596241" y="4562417"/>
            <a:ext cx="536575" cy="517030"/>
            <a:chOff x="5381396" y="4362328"/>
            <a:chExt cx="536448" cy="522282"/>
          </a:xfrm>
        </p:grpSpPr>
        <p:pic>
          <p:nvPicPr>
            <p:cNvPr id="89" name="Picture 2"/>
            <p:cNvPicPr>
              <a:picLocks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5381396" y="4362328"/>
              <a:ext cx="536448" cy="469392"/>
            </a:xfrm>
            <a:prstGeom prst="rect">
              <a:avLst/>
            </a:prstGeom>
            <a:solidFill>
              <a:srgbClr val="FFFFFF"/>
            </a:solidFill>
            <a:ln w="9525">
              <a:noFill/>
              <a:miter lim="800000"/>
              <a:headEnd/>
              <a:tailEnd/>
            </a:ln>
          </p:spPr>
        </p:pic>
        <p:pic>
          <p:nvPicPr>
            <p:cNvPr id="90" name="Picture 2"/>
            <p:cNvPicPr>
              <a:picLocks noChangeAspect="1" noChangeArrowheads="1"/>
            </p:cNvPicPr>
            <p:nvPr/>
          </p:nvPicPr>
          <p:blipFill>
            <a:blip r:embed="rId34"/>
            <a:srcRect/>
            <a:stretch>
              <a:fillRect/>
            </a:stretch>
          </p:blipFill>
          <p:spPr bwMode="auto">
            <a:xfrm>
              <a:off x="5673652" y="4614041"/>
              <a:ext cx="193873" cy="270569"/>
            </a:xfrm>
            <a:prstGeom prst="rect">
              <a:avLst/>
            </a:prstGeom>
            <a:solidFill>
              <a:srgbClr val="FFFFFF"/>
            </a:solidFill>
            <a:ln w="9525">
              <a:noFill/>
              <a:miter lim="800000"/>
              <a:headEnd/>
              <a:tailEnd/>
            </a:ln>
          </p:spPr>
        </p:pic>
      </p:grpSp>
      <p:pic>
        <p:nvPicPr>
          <p:cNvPr id="91" name="Picture 2"/>
          <p:cNvPicPr>
            <a:picLocks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9355034" y="4563989"/>
            <a:ext cx="461962" cy="546888"/>
          </a:xfrm>
          <a:prstGeom prst="rect">
            <a:avLst/>
          </a:prstGeom>
          <a:solidFill>
            <a:srgbClr val="FFFFFF"/>
          </a:solidFill>
          <a:ln w="9525">
            <a:noFill/>
            <a:miter lim="800000"/>
            <a:headEnd/>
            <a:tailEnd/>
          </a:ln>
        </p:spPr>
      </p:pic>
      <p:pic>
        <p:nvPicPr>
          <p:cNvPr id="92" name="Picture 58"/>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0600791" y="3710654"/>
            <a:ext cx="762000" cy="606606"/>
          </a:xfrm>
          <a:prstGeom prst="rect">
            <a:avLst/>
          </a:prstGeom>
          <a:noFill/>
          <a:ln w="9525">
            <a:noFill/>
            <a:miter lim="800000"/>
            <a:headEnd/>
            <a:tailEnd/>
          </a:ln>
        </p:spPr>
      </p:pic>
      <p:pic>
        <p:nvPicPr>
          <p:cNvPr id="93" name="Picture 59"/>
          <p:cNvPicPr>
            <a:picLocks noChangeAspect="1" noChangeArrowheads="1"/>
          </p:cNvPicPr>
          <p:nvPr/>
        </p:nvPicPr>
        <p:blipFill>
          <a:blip r:embed="rId37"/>
          <a:srcRect/>
          <a:stretch>
            <a:fillRect/>
          </a:stretch>
        </p:blipFill>
        <p:spPr bwMode="auto">
          <a:xfrm>
            <a:off x="8015772" y="2747114"/>
            <a:ext cx="1166812" cy="606606"/>
          </a:xfrm>
          <a:prstGeom prst="rect">
            <a:avLst/>
          </a:prstGeom>
          <a:noFill/>
          <a:ln w="3175">
            <a:noFill/>
            <a:miter lim="800000"/>
            <a:headEnd/>
            <a:tailEnd/>
          </a:ln>
        </p:spPr>
      </p:pic>
      <p:pic>
        <p:nvPicPr>
          <p:cNvPr id="94" name="Picture 1462" descr="SIT_prod.png"/>
          <p:cNvPicPr>
            <a:picLocks/>
          </p:cNvPicPr>
          <p:nvPr/>
        </p:nvPicPr>
        <p:blipFill>
          <a:blip r:embed="rId38"/>
          <a:srcRect/>
          <a:stretch>
            <a:fillRect/>
          </a:stretch>
        </p:blipFill>
        <p:spPr bwMode="auto">
          <a:xfrm>
            <a:off x="5169572" y="2743734"/>
            <a:ext cx="784225" cy="606606"/>
          </a:xfrm>
          <a:prstGeom prst="rect">
            <a:avLst/>
          </a:prstGeom>
          <a:noFill/>
          <a:ln w="9525">
            <a:noFill/>
            <a:miter lim="800000"/>
            <a:headEnd/>
            <a:tailEnd/>
          </a:ln>
        </p:spPr>
      </p:pic>
      <p:sp>
        <p:nvSpPr>
          <p:cNvPr id="95" name="Rechteck 94"/>
          <p:cNvSpPr/>
          <p:nvPr/>
        </p:nvSpPr>
        <p:spPr bwMode="auto">
          <a:xfrm>
            <a:off x="3627482" y="3685628"/>
            <a:ext cx="316774" cy="273342"/>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custDataLst>
      <p:tags r:id="rId1"/>
    </p:custDataLst>
    <p:extLst>
      <p:ext uri="{BB962C8B-B14F-4D97-AF65-F5344CB8AC3E}">
        <p14:creationId xmlns:p14="http://schemas.microsoft.com/office/powerpoint/2010/main" val="1773469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3"/>
          <p:cNvSpPr txBox="1">
            <a:spLocks noChangeArrowheads="1"/>
          </p:cNvSpPr>
          <p:nvPr/>
        </p:nvSpPr>
        <p:spPr bwMode="auto">
          <a:xfrm>
            <a:off x="8119527" y="3673478"/>
            <a:ext cx="798400" cy="244475"/>
          </a:xfrm>
          <a:prstGeom prst="rect">
            <a:avLst/>
          </a:prstGeom>
          <a:noFill/>
          <a:ln w="9525">
            <a:noFill/>
            <a:miter lim="800000"/>
            <a:headEnd/>
            <a:tailEnd/>
          </a:ln>
        </p:spPr>
        <p:txBody>
          <a:bodyPr>
            <a:spAutoFit/>
          </a:bodyPr>
          <a:lstStyle/>
          <a:p>
            <a:pPr>
              <a:spcBef>
                <a:spcPct val="0"/>
              </a:spcBef>
            </a:pPr>
            <a:r>
              <a:rPr lang="en-US" altLang="zh-CN" sz="1000" b="1" dirty="0">
                <a:solidFill>
                  <a:schemeClr val="tx1"/>
                </a:solidFill>
                <a:latin typeface="微软雅黑" pitchFamily="34" charset="-122"/>
                <a:ea typeface="微软雅黑" pitchFamily="34" charset="-122"/>
                <a:sym typeface="Times New Roman" pitchFamily="18" charset="0"/>
              </a:rPr>
              <a:t>HTTP</a:t>
            </a:r>
          </a:p>
        </p:txBody>
      </p:sp>
      <p:sp>
        <p:nvSpPr>
          <p:cNvPr id="7171" name="AutoShape 4"/>
          <p:cNvSpPr>
            <a:spLocks noChangeArrowheads="1"/>
          </p:cNvSpPr>
          <p:nvPr/>
        </p:nvSpPr>
        <p:spPr bwMode="auto">
          <a:xfrm>
            <a:off x="8867100" y="3121025"/>
            <a:ext cx="3157593" cy="1981200"/>
          </a:xfrm>
          <a:prstGeom prst="roundRect">
            <a:avLst>
              <a:gd name="adj" fmla="val 16667"/>
            </a:avLst>
          </a:prstGeom>
          <a:solidFill>
            <a:schemeClr val="bg2"/>
          </a:solidFill>
          <a:ln w="9525" algn="ctr">
            <a:noFill/>
            <a:round/>
            <a:headEnd/>
            <a:tailEnd/>
          </a:ln>
        </p:spPr>
        <p:txBody>
          <a:bodyPr wrap="none" anchor="ctr"/>
          <a:lstStyle/>
          <a:p>
            <a:r>
              <a:rPr lang="en-US" altLang="zh-CN" sz="1000" b="1">
                <a:solidFill>
                  <a:schemeClr val="bg1"/>
                </a:solidFill>
                <a:latin typeface="微软雅黑" pitchFamily="34" charset="-122"/>
                <a:ea typeface="微软雅黑" pitchFamily="34" charset="-122"/>
                <a:sym typeface="Times New Roman" pitchFamily="18" charset="0"/>
              </a:rPr>
              <a:t>m</a:t>
            </a:r>
          </a:p>
        </p:txBody>
      </p:sp>
      <p:sp>
        <p:nvSpPr>
          <p:cNvPr id="7172" name="AutoShape 5"/>
          <p:cNvSpPr>
            <a:spLocks noChangeArrowheads="1"/>
          </p:cNvSpPr>
          <p:nvPr/>
        </p:nvSpPr>
        <p:spPr bwMode="auto">
          <a:xfrm>
            <a:off x="228719" y="3168650"/>
            <a:ext cx="3178772" cy="1958975"/>
          </a:xfrm>
          <a:prstGeom prst="roundRect">
            <a:avLst>
              <a:gd name="adj" fmla="val 16667"/>
            </a:avLst>
          </a:prstGeom>
          <a:solidFill>
            <a:schemeClr val="bg2"/>
          </a:solidFill>
          <a:ln w="9525">
            <a:noFill/>
            <a:round/>
            <a:headEnd/>
            <a:tailEnd/>
          </a:ln>
        </p:spPr>
        <p:txBody>
          <a:bodyPr wrap="none" anchor="ctr"/>
          <a:lstStyle/>
          <a:p>
            <a:r>
              <a:rPr lang="en-US" altLang="zh-CN" sz="1000" b="1">
                <a:solidFill>
                  <a:schemeClr val="bg1"/>
                </a:solidFill>
                <a:latin typeface="微软雅黑" pitchFamily="34" charset="-122"/>
                <a:ea typeface="微软雅黑" pitchFamily="34" charset="-122"/>
                <a:sym typeface="Times New Roman" pitchFamily="18" charset="0"/>
              </a:rPr>
              <a:t>m</a:t>
            </a:r>
          </a:p>
        </p:txBody>
      </p:sp>
      <p:sp>
        <p:nvSpPr>
          <p:cNvPr id="7173" name="AutoShape 6"/>
          <p:cNvSpPr>
            <a:spLocks noChangeArrowheads="1"/>
          </p:cNvSpPr>
          <p:nvPr/>
        </p:nvSpPr>
        <p:spPr bwMode="auto">
          <a:xfrm>
            <a:off x="330374" y="3676650"/>
            <a:ext cx="1683627" cy="1219200"/>
          </a:xfrm>
          <a:prstGeom prst="roundRect">
            <a:avLst>
              <a:gd name="adj" fmla="val 16667"/>
            </a:avLst>
          </a:prstGeom>
          <a:solidFill>
            <a:srgbClr val="728BD2"/>
          </a:solidFill>
          <a:ln w="9525">
            <a:noFill/>
            <a:round/>
            <a:headEnd/>
            <a:tailEnd/>
          </a:ln>
          <a:effectLst>
            <a:outerShdw dist="107763" dir="2700000" algn="ctr" rotWithShape="0">
              <a:srgbClr val="808080"/>
            </a:outerShdw>
          </a:effectLst>
        </p:spPr>
        <p:txBody>
          <a:bodyPr wrap="none" anchor="ctr"/>
          <a:lstStyle/>
          <a:p>
            <a:r>
              <a:rPr lang="en-US" altLang="zh-CN" sz="1600" b="1">
                <a:solidFill>
                  <a:schemeClr val="bg1"/>
                </a:solidFill>
                <a:latin typeface="微软雅黑" pitchFamily="34" charset="-122"/>
                <a:ea typeface="微软雅黑" pitchFamily="34" charset="-122"/>
                <a:sym typeface="Times New Roman" pitchFamily="18" charset="0"/>
              </a:rPr>
              <a:t> </a:t>
            </a:r>
          </a:p>
        </p:txBody>
      </p:sp>
      <p:sp>
        <p:nvSpPr>
          <p:cNvPr id="7174" name="Line 7"/>
          <p:cNvSpPr>
            <a:spLocks noChangeShapeType="1"/>
          </p:cNvSpPr>
          <p:nvPr/>
        </p:nvSpPr>
        <p:spPr bwMode="auto">
          <a:xfrm flipH="1">
            <a:off x="2147418" y="4286250"/>
            <a:ext cx="294371" cy="0"/>
          </a:xfrm>
          <a:prstGeom prst="line">
            <a:avLst/>
          </a:prstGeom>
          <a:noFill/>
          <a:ln w="9525">
            <a:solidFill>
              <a:schemeClr val="tx1"/>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175" name="AutoShape 9"/>
          <p:cNvSpPr>
            <a:spLocks noChangeArrowheads="1"/>
          </p:cNvSpPr>
          <p:nvPr/>
        </p:nvSpPr>
        <p:spPr bwMode="auto">
          <a:xfrm>
            <a:off x="2490497" y="3676650"/>
            <a:ext cx="711570" cy="1219200"/>
          </a:xfrm>
          <a:prstGeom prst="roundRect">
            <a:avLst>
              <a:gd name="adj" fmla="val 16667"/>
            </a:avLst>
          </a:prstGeom>
          <a:solidFill>
            <a:srgbClr val="008000"/>
          </a:solidFill>
          <a:ln w="9525">
            <a:noFill/>
            <a:round/>
            <a:headEnd/>
            <a:tailEnd/>
          </a:ln>
          <a:effectLst>
            <a:outerShdw dist="107763" dir="2700000" algn="ctr" rotWithShape="0">
              <a:srgbClr val="808080"/>
            </a:outerShdw>
          </a:effectLst>
        </p:spPr>
        <p:txBody>
          <a:bodyPr wrap="none" anchor="ctr"/>
          <a:lstStyle/>
          <a:p>
            <a:r>
              <a:rPr lang="en-US" altLang="zh-CN" sz="1600" b="1">
                <a:solidFill>
                  <a:schemeClr val="bg1"/>
                </a:solidFill>
                <a:latin typeface="微软雅黑" pitchFamily="34" charset="-122"/>
                <a:ea typeface="微软雅黑" pitchFamily="34" charset="-122"/>
                <a:sym typeface="Times New Roman" pitchFamily="18" charset="0"/>
              </a:rPr>
              <a:t> </a:t>
            </a:r>
          </a:p>
        </p:txBody>
      </p:sp>
      <p:sp>
        <p:nvSpPr>
          <p:cNvPr id="7176" name="AutoShape 10"/>
          <p:cNvSpPr>
            <a:spLocks noChangeArrowheads="1"/>
          </p:cNvSpPr>
          <p:nvPr/>
        </p:nvSpPr>
        <p:spPr bwMode="auto">
          <a:xfrm>
            <a:off x="10120819" y="3676650"/>
            <a:ext cx="1685744" cy="1219200"/>
          </a:xfrm>
          <a:prstGeom prst="roundRect">
            <a:avLst>
              <a:gd name="adj" fmla="val 16667"/>
            </a:avLst>
          </a:prstGeom>
          <a:solidFill>
            <a:srgbClr val="728BD2"/>
          </a:solidFill>
          <a:ln w="9525">
            <a:noFill/>
            <a:round/>
            <a:headEnd/>
            <a:tailEnd/>
          </a:ln>
          <a:effectLst>
            <a:outerShdw dist="107763" dir="2700000" algn="ctr" rotWithShape="0">
              <a:srgbClr val="808080"/>
            </a:outerShdw>
          </a:effectLst>
        </p:spPr>
        <p:txBody>
          <a:bodyPr wrap="none" anchor="ctr"/>
          <a:lstStyle/>
          <a:p>
            <a:r>
              <a:rPr lang="en-US" altLang="zh-CN" sz="1600" b="1">
                <a:solidFill>
                  <a:schemeClr val="bg1"/>
                </a:solidFill>
                <a:latin typeface="微软雅黑" pitchFamily="34" charset="-122"/>
                <a:ea typeface="微软雅黑" pitchFamily="34" charset="-122"/>
                <a:sym typeface="Times New Roman" pitchFamily="18" charset="0"/>
              </a:rPr>
              <a:t> </a:t>
            </a:r>
          </a:p>
        </p:txBody>
      </p:sp>
      <p:sp>
        <p:nvSpPr>
          <p:cNvPr id="7177" name="AutoShape 11"/>
          <p:cNvSpPr>
            <a:spLocks noChangeArrowheads="1"/>
          </p:cNvSpPr>
          <p:nvPr/>
        </p:nvSpPr>
        <p:spPr bwMode="auto">
          <a:xfrm>
            <a:off x="8983577" y="3676650"/>
            <a:ext cx="711570" cy="1219200"/>
          </a:xfrm>
          <a:prstGeom prst="roundRect">
            <a:avLst>
              <a:gd name="adj" fmla="val 16667"/>
            </a:avLst>
          </a:prstGeom>
          <a:solidFill>
            <a:srgbClr val="008000"/>
          </a:solidFill>
          <a:ln w="9525">
            <a:noFill/>
            <a:round/>
            <a:headEnd/>
            <a:tailEnd/>
          </a:ln>
          <a:effectLst>
            <a:outerShdw dist="107763" dir="2700000" algn="ctr" rotWithShape="0">
              <a:srgbClr val="808080"/>
            </a:outerShdw>
          </a:effectLst>
        </p:spPr>
        <p:txBody>
          <a:bodyPr wrap="none" anchor="ctr"/>
          <a:lstStyle/>
          <a:p>
            <a:r>
              <a:rPr lang="en-US" altLang="zh-CN" b="1">
                <a:solidFill>
                  <a:schemeClr val="bg1"/>
                </a:solidFill>
                <a:latin typeface="微软雅黑" pitchFamily="34" charset="-122"/>
                <a:ea typeface="微软雅黑" pitchFamily="34" charset="-122"/>
                <a:sym typeface="Times New Roman" pitchFamily="18" charset="0"/>
              </a:rPr>
              <a:t> </a:t>
            </a:r>
          </a:p>
        </p:txBody>
      </p:sp>
      <p:sp>
        <p:nvSpPr>
          <p:cNvPr id="7178" name="Line 12"/>
          <p:cNvSpPr>
            <a:spLocks noChangeShapeType="1"/>
          </p:cNvSpPr>
          <p:nvPr/>
        </p:nvSpPr>
        <p:spPr bwMode="auto">
          <a:xfrm flipH="1">
            <a:off x="3405373" y="3673475"/>
            <a:ext cx="798400" cy="0"/>
          </a:xfrm>
          <a:prstGeom prst="line">
            <a:avLst/>
          </a:prstGeom>
          <a:noFill/>
          <a:ln w="44450">
            <a:solidFill>
              <a:schemeClr val="folHlink"/>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179" name="Line 13"/>
          <p:cNvSpPr>
            <a:spLocks noChangeShapeType="1"/>
          </p:cNvSpPr>
          <p:nvPr/>
        </p:nvSpPr>
        <p:spPr bwMode="auto">
          <a:xfrm flipH="1">
            <a:off x="9813743" y="4286250"/>
            <a:ext cx="300723" cy="0"/>
          </a:xfrm>
          <a:prstGeom prst="line">
            <a:avLst/>
          </a:prstGeom>
          <a:noFill/>
          <a:ln w="9525">
            <a:solidFill>
              <a:schemeClr val="tx1"/>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180" name="Text Box 14"/>
          <p:cNvSpPr txBox="1">
            <a:spLocks noChangeArrowheads="1"/>
          </p:cNvSpPr>
          <p:nvPr/>
        </p:nvSpPr>
        <p:spPr bwMode="auto">
          <a:xfrm rot="5400000">
            <a:off x="8720501" y="4037162"/>
            <a:ext cx="1233488" cy="461665"/>
          </a:xfrm>
          <a:prstGeom prst="rect">
            <a:avLst/>
          </a:prstGeom>
          <a:noFill/>
          <a:ln w="9525">
            <a:noFill/>
            <a:miter lim="800000"/>
            <a:headEnd/>
            <a:tailEnd/>
          </a:ln>
        </p:spPr>
        <p:txBody>
          <a:bodyPr>
            <a:spAutoFit/>
          </a:bodyPr>
          <a:lstStyle/>
          <a:p>
            <a:pPr algn="ctr">
              <a:spcBef>
                <a:spcPct val="0"/>
              </a:spcBef>
            </a:pPr>
            <a:r>
              <a:rPr lang="en-US" altLang="zh-CN" sz="1200" b="1" dirty="0">
                <a:solidFill>
                  <a:schemeClr val="bg1"/>
                </a:solidFill>
                <a:latin typeface="微软雅黑" pitchFamily="34" charset="-122"/>
                <a:ea typeface="微软雅黑" pitchFamily="34" charset="-122"/>
                <a:sym typeface="Times New Roman" pitchFamily="18" charset="0"/>
              </a:rPr>
              <a:t>PLM-MES </a:t>
            </a:r>
          </a:p>
          <a:p>
            <a:pPr algn="ctr">
              <a:spcBef>
                <a:spcPct val="0"/>
              </a:spcBef>
            </a:pPr>
            <a:r>
              <a:rPr lang="zh-CN" altLang="en-US" sz="1200" b="1" dirty="0">
                <a:solidFill>
                  <a:schemeClr val="bg1"/>
                </a:solidFill>
                <a:latin typeface="微软雅黑" pitchFamily="34" charset="-122"/>
                <a:ea typeface="微软雅黑" pitchFamily="34" charset="-122"/>
                <a:sym typeface="Times New Roman" pitchFamily="18" charset="0"/>
              </a:rPr>
              <a:t>接口</a:t>
            </a:r>
          </a:p>
        </p:txBody>
      </p:sp>
      <p:sp>
        <p:nvSpPr>
          <p:cNvPr id="7181" name="Text Box 15"/>
          <p:cNvSpPr txBox="1">
            <a:spLocks noChangeArrowheads="1"/>
          </p:cNvSpPr>
          <p:nvPr/>
        </p:nvSpPr>
        <p:spPr bwMode="auto">
          <a:xfrm rot="10800000">
            <a:off x="2628790" y="3671337"/>
            <a:ext cx="369332" cy="1263166"/>
          </a:xfrm>
          <a:prstGeom prst="rect">
            <a:avLst/>
          </a:prstGeom>
          <a:noFill/>
          <a:ln w="9525">
            <a:noFill/>
            <a:miter lim="800000"/>
            <a:headEnd/>
            <a:tailEnd/>
          </a:ln>
        </p:spPr>
        <p:txBody>
          <a:bodyPr vert="eaVert" wrap="none">
            <a:spAutoFit/>
          </a:bodyPr>
          <a:lstStyle/>
          <a:p>
            <a:pPr>
              <a:spcBef>
                <a:spcPct val="0"/>
              </a:spcBef>
            </a:pPr>
            <a:r>
              <a:rPr lang="en-US" altLang="zh-CN" sz="1200" b="1">
                <a:solidFill>
                  <a:schemeClr val="bg1"/>
                </a:solidFill>
                <a:latin typeface="微软雅黑" pitchFamily="34" charset="-122"/>
                <a:ea typeface="微软雅黑" pitchFamily="34" charset="-122"/>
                <a:sym typeface="Times New Roman" pitchFamily="18" charset="0"/>
              </a:rPr>
              <a:t>AI Web Service</a:t>
            </a:r>
          </a:p>
        </p:txBody>
      </p:sp>
      <p:sp>
        <p:nvSpPr>
          <p:cNvPr id="7182" name="Text Box 16"/>
          <p:cNvSpPr txBox="1">
            <a:spLocks noChangeArrowheads="1"/>
          </p:cNvSpPr>
          <p:nvPr/>
        </p:nvSpPr>
        <p:spPr bwMode="auto">
          <a:xfrm>
            <a:off x="3291014" y="3422653"/>
            <a:ext cx="801823" cy="246221"/>
          </a:xfrm>
          <a:prstGeom prst="rect">
            <a:avLst/>
          </a:prstGeom>
          <a:noFill/>
          <a:ln w="9525">
            <a:noFill/>
            <a:miter lim="800000"/>
            <a:headEnd/>
            <a:tailEnd/>
          </a:ln>
        </p:spPr>
        <p:txBody>
          <a:bodyPr wrap="none">
            <a:spAutoFit/>
          </a:bodyPr>
          <a:lstStyle/>
          <a:p>
            <a:pPr>
              <a:spcBef>
                <a:spcPct val="0"/>
              </a:spcBef>
            </a:pPr>
            <a:r>
              <a:rPr lang="en-US" altLang="zh-CN" sz="1000" b="1" dirty="0">
                <a:solidFill>
                  <a:schemeClr val="tx1"/>
                </a:solidFill>
                <a:latin typeface="微软雅黑" pitchFamily="34" charset="-122"/>
                <a:ea typeface="微软雅黑" pitchFamily="34" charset="-122"/>
                <a:sym typeface="Times New Roman" pitchFamily="18" charset="0"/>
              </a:rPr>
              <a:t>PLM XML</a:t>
            </a:r>
          </a:p>
        </p:txBody>
      </p:sp>
      <p:sp>
        <p:nvSpPr>
          <p:cNvPr id="7183" name="Text Box 17"/>
          <p:cNvSpPr txBox="1">
            <a:spLocks noChangeArrowheads="1"/>
          </p:cNvSpPr>
          <p:nvPr/>
        </p:nvSpPr>
        <p:spPr bwMode="auto">
          <a:xfrm>
            <a:off x="3346077" y="3660778"/>
            <a:ext cx="758161" cy="244475"/>
          </a:xfrm>
          <a:prstGeom prst="rect">
            <a:avLst/>
          </a:prstGeom>
          <a:noFill/>
          <a:ln w="9525">
            <a:noFill/>
            <a:miter lim="800000"/>
            <a:headEnd/>
            <a:tailEnd/>
          </a:ln>
        </p:spPr>
        <p:txBody>
          <a:bodyPr>
            <a:spAutoFit/>
          </a:bodyPr>
          <a:lstStyle/>
          <a:p>
            <a:pPr>
              <a:spcBef>
                <a:spcPct val="0"/>
              </a:spcBef>
            </a:pPr>
            <a:r>
              <a:rPr lang="en-US" altLang="zh-CN" sz="1000" b="1" dirty="0">
                <a:solidFill>
                  <a:schemeClr val="tx1"/>
                </a:solidFill>
                <a:latin typeface="微软雅黑" pitchFamily="34" charset="-122"/>
                <a:ea typeface="微软雅黑" pitchFamily="34" charset="-122"/>
                <a:sym typeface="Times New Roman" pitchFamily="18" charset="0"/>
              </a:rPr>
              <a:t>HTTP</a:t>
            </a:r>
          </a:p>
        </p:txBody>
      </p:sp>
      <p:sp>
        <p:nvSpPr>
          <p:cNvPr id="7184" name="Text Box 18"/>
          <p:cNvSpPr txBox="1">
            <a:spLocks noChangeArrowheads="1"/>
          </p:cNvSpPr>
          <p:nvPr/>
        </p:nvSpPr>
        <p:spPr bwMode="auto">
          <a:xfrm rot="10800000" flipV="1">
            <a:off x="9445250" y="4007568"/>
            <a:ext cx="1018648" cy="246221"/>
          </a:xfrm>
          <a:prstGeom prst="rect">
            <a:avLst/>
          </a:prstGeom>
          <a:noFill/>
          <a:ln w="9525">
            <a:noFill/>
            <a:miter lim="800000"/>
            <a:headEnd/>
            <a:tailEnd/>
          </a:ln>
        </p:spPr>
        <p:txBody>
          <a:bodyPr>
            <a:spAutoFit/>
          </a:bodyPr>
          <a:lstStyle/>
          <a:p>
            <a:pPr>
              <a:spcBef>
                <a:spcPct val="0"/>
              </a:spcBef>
            </a:pPr>
            <a:r>
              <a:rPr lang="en-US" altLang="zh-CN" sz="1000" b="1" dirty="0">
                <a:solidFill>
                  <a:schemeClr val="tx1"/>
                </a:solidFill>
                <a:latin typeface="微软雅黑" pitchFamily="34" charset="-122"/>
                <a:ea typeface="微软雅黑" pitchFamily="34" charset="-122"/>
                <a:sym typeface="Times New Roman" pitchFamily="18" charset="0"/>
              </a:rPr>
              <a:t>SIT B2MML</a:t>
            </a:r>
          </a:p>
        </p:txBody>
      </p:sp>
      <p:sp>
        <p:nvSpPr>
          <p:cNvPr id="7185" name="Text Box 19"/>
          <p:cNvSpPr txBox="1">
            <a:spLocks noChangeArrowheads="1"/>
          </p:cNvSpPr>
          <p:nvPr/>
        </p:nvSpPr>
        <p:spPr bwMode="auto">
          <a:xfrm>
            <a:off x="1327842" y="3155950"/>
            <a:ext cx="643125" cy="338554"/>
          </a:xfrm>
          <a:prstGeom prst="rect">
            <a:avLst/>
          </a:prstGeom>
          <a:noFill/>
          <a:ln w="9525">
            <a:noFill/>
            <a:miter lim="800000"/>
            <a:headEnd/>
            <a:tailEnd/>
          </a:ln>
        </p:spPr>
        <p:txBody>
          <a:bodyPr wrap="none">
            <a:spAutoFit/>
          </a:bodyPr>
          <a:lstStyle/>
          <a:p>
            <a:pPr>
              <a:spcBef>
                <a:spcPct val="0"/>
              </a:spcBef>
            </a:pPr>
            <a:r>
              <a:rPr lang="en-US" altLang="zh-CN" sz="1600" b="1">
                <a:latin typeface="微软雅黑" pitchFamily="34" charset="-122"/>
                <a:ea typeface="微软雅黑" pitchFamily="34" charset="-122"/>
                <a:sym typeface="Times New Roman" pitchFamily="18" charset="0"/>
              </a:rPr>
              <a:t>PLM</a:t>
            </a:r>
          </a:p>
        </p:txBody>
      </p:sp>
      <p:sp>
        <p:nvSpPr>
          <p:cNvPr id="7186" name="Text Box 20"/>
          <p:cNvSpPr txBox="1">
            <a:spLocks noChangeArrowheads="1"/>
          </p:cNvSpPr>
          <p:nvPr/>
        </p:nvSpPr>
        <p:spPr bwMode="auto">
          <a:xfrm>
            <a:off x="9981048" y="3155950"/>
            <a:ext cx="636713" cy="338554"/>
          </a:xfrm>
          <a:prstGeom prst="rect">
            <a:avLst/>
          </a:prstGeom>
          <a:noFill/>
          <a:ln w="9525">
            <a:noFill/>
            <a:miter lim="800000"/>
            <a:headEnd/>
            <a:tailEnd/>
          </a:ln>
        </p:spPr>
        <p:txBody>
          <a:bodyPr wrap="none">
            <a:spAutoFit/>
          </a:bodyPr>
          <a:lstStyle/>
          <a:p>
            <a:pPr>
              <a:spcBef>
                <a:spcPct val="0"/>
              </a:spcBef>
            </a:pPr>
            <a:r>
              <a:rPr lang="en-US" altLang="zh-CN" sz="1600" b="1">
                <a:latin typeface="微软雅黑" pitchFamily="34" charset="-122"/>
                <a:ea typeface="微软雅黑" pitchFamily="34" charset="-122"/>
                <a:sym typeface="Times New Roman" pitchFamily="18" charset="0"/>
              </a:rPr>
              <a:t>MES</a:t>
            </a:r>
          </a:p>
        </p:txBody>
      </p:sp>
      <p:sp>
        <p:nvSpPr>
          <p:cNvPr id="7187" name="AutoShape 21"/>
          <p:cNvSpPr>
            <a:spLocks noChangeArrowheads="1"/>
          </p:cNvSpPr>
          <p:nvPr/>
        </p:nvSpPr>
        <p:spPr bwMode="auto">
          <a:xfrm>
            <a:off x="4964053" y="1727200"/>
            <a:ext cx="2471437" cy="774700"/>
          </a:xfrm>
          <a:prstGeom prst="roundRect">
            <a:avLst>
              <a:gd name="adj" fmla="val 16667"/>
            </a:avLst>
          </a:prstGeom>
          <a:solidFill>
            <a:srgbClr val="728BD2"/>
          </a:solidFill>
          <a:ln w="9525">
            <a:noFill/>
            <a:round/>
            <a:headEnd/>
            <a:tailEnd/>
          </a:ln>
          <a:effectLst>
            <a:outerShdw dist="107763" dir="2700000" algn="ctr" rotWithShape="0">
              <a:srgbClr val="808080"/>
            </a:outerShdw>
          </a:effectLst>
        </p:spPr>
        <p:txBody>
          <a:bodyPr wrap="none" anchor="ctr"/>
          <a:lstStyle/>
          <a:p>
            <a:r>
              <a:rPr lang="en-US" altLang="zh-CN" sz="1600" b="1">
                <a:solidFill>
                  <a:schemeClr val="tx1"/>
                </a:solidFill>
                <a:latin typeface="微软雅黑" pitchFamily="34" charset="-122"/>
                <a:ea typeface="微软雅黑" pitchFamily="34" charset="-122"/>
                <a:sym typeface="Times New Roman" pitchFamily="18" charset="0"/>
              </a:rPr>
              <a:t> </a:t>
            </a:r>
          </a:p>
        </p:txBody>
      </p:sp>
      <p:sp>
        <p:nvSpPr>
          <p:cNvPr id="7188" name="Text Box 22"/>
          <p:cNvSpPr txBox="1">
            <a:spLocks noChangeArrowheads="1"/>
          </p:cNvSpPr>
          <p:nvPr/>
        </p:nvSpPr>
        <p:spPr bwMode="auto">
          <a:xfrm>
            <a:off x="5570630" y="1756889"/>
            <a:ext cx="1319371" cy="646331"/>
          </a:xfrm>
          <a:prstGeom prst="rect">
            <a:avLst/>
          </a:prstGeom>
          <a:noFill/>
          <a:ln w="9525">
            <a:noFill/>
            <a:miter lim="800000"/>
            <a:headEnd/>
            <a:tailEnd/>
          </a:ln>
        </p:spPr>
        <p:txBody>
          <a:bodyPr>
            <a:spAutoFit/>
          </a:bodyPr>
          <a:lstStyle/>
          <a:p>
            <a:pPr algn="ctr">
              <a:spcBef>
                <a:spcPct val="0"/>
              </a:spcBef>
            </a:pPr>
            <a:r>
              <a:rPr lang="en-US" altLang="zh-CN" sz="1600" b="1" dirty="0" smtClean="0">
                <a:solidFill>
                  <a:schemeClr val="bg1"/>
                </a:solidFill>
                <a:latin typeface="微软雅黑" pitchFamily="34" charset="-122"/>
                <a:ea typeface="微软雅黑" pitchFamily="34" charset="-122"/>
                <a:sym typeface="Times New Roman" pitchFamily="18" charset="0"/>
              </a:rPr>
              <a:t>ERP</a:t>
            </a:r>
            <a:endParaRPr lang="en-US" altLang="zh-CN" sz="1600" b="1" dirty="0">
              <a:solidFill>
                <a:schemeClr val="bg1"/>
              </a:solidFill>
              <a:latin typeface="微软雅黑" pitchFamily="34" charset="-122"/>
              <a:ea typeface="微软雅黑" pitchFamily="34" charset="-122"/>
              <a:sym typeface="Times New Roman" pitchFamily="18" charset="0"/>
            </a:endParaRPr>
          </a:p>
          <a:p>
            <a:pPr algn="ctr">
              <a:spcBef>
                <a:spcPct val="0"/>
              </a:spcBef>
            </a:pPr>
            <a:endParaRPr lang="en-US" altLang="zh-CN" sz="1000" b="1" dirty="0" smtClean="0">
              <a:solidFill>
                <a:schemeClr val="bg1"/>
              </a:solidFill>
              <a:latin typeface="微软雅黑" pitchFamily="34" charset="-122"/>
              <a:ea typeface="微软雅黑" pitchFamily="34" charset="-122"/>
              <a:sym typeface="Times New Roman" pitchFamily="18" charset="0"/>
            </a:endParaRPr>
          </a:p>
          <a:p>
            <a:pPr algn="ctr">
              <a:spcBef>
                <a:spcPct val="0"/>
              </a:spcBef>
            </a:pPr>
            <a:r>
              <a:rPr lang="zh-CN" altLang="en-US" sz="1000" b="1" dirty="0" smtClean="0">
                <a:solidFill>
                  <a:schemeClr val="bg1"/>
                </a:solidFill>
                <a:latin typeface="微软雅黑" pitchFamily="34" charset="-122"/>
                <a:ea typeface="微软雅黑" pitchFamily="34" charset="-122"/>
                <a:sym typeface="Times New Roman" pitchFamily="18" charset="0"/>
              </a:rPr>
              <a:t>生</a:t>
            </a:r>
            <a:r>
              <a:rPr lang="zh-CN" altLang="en-US" sz="1000" b="1" dirty="0">
                <a:solidFill>
                  <a:schemeClr val="bg1"/>
                </a:solidFill>
                <a:latin typeface="微软雅黑" pitchFamily="34" charset="-122"/>
                <a:ea typeface="微软雅黑" pitchFamily="34" charset="-122"/>
                <a:sym typeface="Times New Roman" pitchFamily="18" charset="0"/>
              </a:rPr>
              <a:t>产工单</a:t>
            </a:r>
          </a:p>
        </p:txBody>
      </p:sp>
      <p:sp>
        <p:nvSpPr>
          <p:cNvPr id="7189" name="Line 26"/>
          <p:cNvSpPr>
            <a:spLocks noChangeShapeType="1"/>
          </p:cNvSpPr>
          <p:nvPr/>
        </p:nvSpPr>
        <p:spPr bwMode="auto">
          <a:xfrm>
            <a:off x="10698969" y="5119688"/>
            <a:ext cx="0" cy="411162"/>
          </a:xfrm>
          <a:prstGeom prst="line">
            <a:avLst/>
          </a:prstGeom>
          <a:noFill/>
          <a:ln w="44450">
            <a:solidFill>
              <a:schemeClr val="folHlink"/>
            </a:solidFill>
            <a:round/>
            <a:headEnd/>
            <a:tailEnd/>
          </a:ln>
        </p:spPr>
        <p:txBody>
          <a:bodyPr/>
          <a:lstStyle/>
          <a:p>
            <a:endParaRPr lang="en-US">
              <a:solidFill>
                <a:schemeClr val="tx1"/>
              </a:solidFill>
              <a:latin typeface="微软雅黑" pitchFamily="34" charset="-122"/>
              <a:ea typeface="微软雅黑" pitchFamily="34" charset="-122"/>
            </a:endParaRPr>
          </a:p>
        </p:txBody>
      </p:sp>
      <p:sp>
        <p:nvSpPr>
          <p:cNvPr id="7190" name="Line 29"/>
          <p:cNvSpPr>
            <a:spLocks noChangeShapeType="1"/>
          </p:cNvSpPr>
          <p:nvPr/>
        </p:nvSpPr>
        <p:spPr bwMode="auto">
          <a:xfrm flipH="1">
            <a:off x="8144942" y="5530850"/>
            <a:ext cx="2554030" cy="0"/>
          </a:xfrm>
          <a:prstGeom prst="line">
            <a:avLst/>
          </a:prstGeom>
          <a:noFill/>
          <a:ln w="44450">
            <a:solidFill>
              <a:schemeClr val="folHlink"/>
            </a:solidFill>
            <a:round/>
            <a:headEnd/>
            <a:tailEnd type="triangle" w="med" len="med"/>
          </a:ln>
        </p:spPr>
        <p:txBody>
          <a:bodyPr/>
          <a:lstStyle/>
          <a:p>
            <a:endParaRPr lang="en-US">
              <a:solidFill>
                <a:schemeClr val="tx1"/>
              </a:solidFill>
              <a:latin typeface="微软雅黑" pitchFamily="34" charset="-122"/>
              <a:ea typeface="微软雅黑" pitchFamily="34" charset="-122"/>
            </a:endParaRPr>
          </a:p>
        </p:txBody>
      </p:sp>
      <p:sp>
        <p:nvSpPr>
          <p:cNvPr id="7191" name="Line 30"/>
          <p:cNvSpPr>
            <a:spLocks noChangeShapeType="1"/>
          </p:cNvSpPr>
          <p:nvPr/>
        </p:nvSpPr>
        <p:spPr bwMode="auto">
          <a:xfrm>
            <a:off x="1380787" y="5530850"/>
            <a:ext cx="3125827" cy="0"/>
          </a:xfrm>
          <a:prstGeom prst="line">
            <a:avLst/>
          </a:prstGeom>
          <a:noFill/>
          <a:ln w="44450">
            <a:solidFill>
              <a:schemeClr val="folHlink"/>
            </a:solidFill>
            <a:round/>
            <a:headEnd/>
            <a:tailEnd/>
          </a:ln>
        </p:spPr>
        <p:txBody>
          <a:bodyPr/>
          <a:lstStyle/>
          <a:p>
            <a:endParaRPr lang="en-US">
              <a:latin typeface="微软雅黑" pitchFamily="34" charset="-122"/>
              <a:ea typeface="微软雅黑" pitchFamily="34" charset="-122"/>
            </a:endParaRPr>
          </a:p>
        </p:txBody>
      </p:sp>
      <p:sp>
        <p:nvSpPr>
          <p:cNvPr id="7192" name="Line 31"/>
          <p:cNvSpPr>
            <a:spLocks noChangeShapeType="1"/>
          </p:cNvSpPr>
          <p:nvPr/>
        </p:nvSpPr>
        <p:spPr bwMode="auto">
          <a:xfrm flipV="1">
            <a:off x="1380785" y="5119688"/>
            <a:ext cx="0" cy="411162"/>
          </a:xfrm>
          <a:prstGeom prst="line">
            <a:avLst/>
          </a:prstGeom>
          <a:noFill/>
          <a:ln w="44450">
            <a:solidFill>
              <a:schemeClr val="folHlink"/>
            </a:solidFill>
            <a:round/>
            <a:headEnd/>
            <a:tailEnd type="triangle" w="med" len="med"/>
          </a:ln>
        </p:spPr>
        <p:txBody>
          <a:bodyPr/>
          <a:lstStyle/>
          <a:p>
            <a:endParaRPr lang="en-US">
              <a:latin typeface="微软雅黑" pitchFamily="34" charset="-122"/>
              <a:ea typeface="微软雅黑" pitchFamily="34" charset="-122"/>
            </a:endParaRPr>
          </a:p>
        </p:txBody>
      </p:sp>
      <p:sp>
        <p:nvSpPr>
          <p:cNvPr id="7193" name="Text Box 32"/>
          <p:cNvSpPr txBox="1">
            <a:spLocks noChangeArrowheads="1"/>
          </p:cNvSpPr>
          <p:nvPr/>
        </p:nvSpPr>
        <p:spPr bwMode="auto">
          <a:xfrm>
            <a:off x="8318599" y="5302253"/>
            <a:ext cx="684803" cy="246221"/>
          </a:xfrm>
          <a:prstGeom prst="rect">
            <a:avLst/>
          </a:prstGeom>
          <a:noFill/>
          <a:ln w="9525">
            <a:noFill/>
            <a:miter lim="800000"/>
            <a:headEnd/>
            <a:tailEnd/>
          </a:ln>
        </p:spPr>
        <p:txBody>
          <a:bodyPr wrap="none">
            <a:spAutoFit/>
          </a:bodyPr>
          <a:lstStyle/>
          <a:p>
            <a:pPr>
              <a:spcBef>
                <a:spcPct val="0"/>
              </a:spcBef>
            </a:pPr>
            <a:r>
              <a:rPr lang="it-IT" altLang="zh-CN" sz="1000" b="1">
                <a:solidFill>
                  <a:schemeClr val="tx1"/>
                </a:solidFill>
                <a:latin typeface="微软雅黑" pitchFamily="34" charset="-122"/>
                <a:ea typeface="微软雅黑" pitchFamily="34" charset="-122"/>
                <a:sym typeface="Times New Roman" pitchFamily="18" charset="0"/>
              </a:rPr>
              <a:t>B2MML</a:t>
            </a:r>
            <a:endParaRPr lang="en-US" altLang="zh-CN" sz="1000" b="1">
              <a:solidFill>
                <a:schemeClr val="tx1"/>
              </a:solidFill>
              <a:latin typeface="微软雅黑" pitchFamily="34" charset="-122"/>
              <a:ea typeface="微软雅黑" pitchFamily="34" charset="-122"/>
              <a:sym typeface="Times New Roman" pitchFamily="18" charset="0"/>
            </a:endParaRPr>
          </a:p>
        </p:txBody>
      </p:sp>
      <p:sp>
        <p:nvSpPr>
          <p:cNvPr id="7194" name="Text Box 33"/>
          <p:cNvSpPr txBox="1">
            <a:spLocks noChangeArrowheads="1"/>
          </p:cNvSpPr>
          <p:nvPr/>
        </p:nvSpPr>
        <p:spPr bwMode="auto">
          <a:xfrm>
            <a:off x="3339725" y="5302253"/>
            <a:ext cx="684803" cy="246221"/>
          </a:xfrm>
          <a:prstGeom prst="rect">
            <a:avLst/>
          </a:prstGeom>
          <a:noFill/>
          <a:ln w="9525">
            <a:noFill/>
            <a:miter lim="800000"/>
            <a:headEnd/>
            <a:tailEnd/>
          </a:ln>
        </p:spPr>
        <p:txBody>
          <a:bodyPr wrap="none">
            <a:spAutoFit/>
          </a:bodyPr>
          <a:lstStyle/>
          <a:p>
            <a:pPr>
              <a:spcBef>
                <a:spcPct val="0"/>
              </a:spcBef>
            </a:pPr>
            <a:r>
              <a:rPr lang="en-US" altLang="zh-CN" sz="1000" b="1">
                <a:solidFill>
                  <a:schemeClr val="tx1"/>
                </a:solidFill>
                <a:latin typeface="微软雅黑" pitchFamily="34" charset="-122"/>
                <a:ea typeface="微软雅黑" pitchFamily="34" charset="-122"/>
                <a:sym typeface="Times New Roman" pitchFamily="18" charset="0"/>
              </a:rPr>
              <a:t>B2MML</a:t>
            </a:r>
          </a:p>
        </p:txBody>
      </p:sp>
      <p:sp>
        <p:nvSpPr>
          <p:cNvPr id="7195" name="Text Box 34"/>
          <p:cNvSpPr txBox="1">
            <a:spLocks noChangeArrowheads="1"/>
          </p:cNvSpPr>
          <p:nvPr/>
        </p:nvSpPr>
        <p:spPr bwMode="auto">
          <a:xfrm>
            <a:off x="10141998" y="3838576"/>
            <a:ext cx="1664565" cy="892552"/>
          </a:xfrm>
          <a:prstGeom prst="rect">
            <a:avLst/>
          </a:prstGeom>
          <a:noFill/>
          <a:ln w="9525">
            <a:noFill/>
            <a:miter lim="800000"/>
            <a:headEnd/>
            <a:tailEnd/>
          </a:ln>
        </p:spPr>
        <p:txBody>
          <a:bodyPr wrap="square">
            <a:spAutoFit/>
          </a:bodyPr>
          <a:lstStyle/>
          <a:p>
            <a:pPr algn="ctr">
              <a:spcBef>
                <a:spcPct val="0"/>
              </a:spcBef>
            </a:pPr>
            <a:r>
              <a:rPr lang="en-US" altLang="zh-CN" sz="1600" b="1" dirty="0" smtClean="0">
                <a:solidFill>
                  <a:schemeClr val="bg1"/>
                </a:solidFill>
                <a:latin typeface="微软雅黑" pitchFamily="34" charset="-122"/>
                <a:ea typeface="微软雅黑" pitchFamily="34" charset="-122"/>
                <a:sym typeface="Times New Roman" pitchFamily="18" charset="0"/>
              </a:rPr>
              <a:t>MES </a:t>
            </a:r>
            <a:r>
              <a:rPr lang="de-DE" altLang="zh-CN" sz="1600" b="1" dirty="0">
                <a:solidFill>
                  <a:schemeClr val="bg1"/>
                </a:solidFill>
                <a:latin typeface="微软雅黑" pitchFamily="34" charset="-122"/>
                <a:ea typeface="微软雅黑" pitchFamily="34" charset="-122"/>
                <a:sym typeface="Times New Roman" pitchFamily="18" charset="0"/>
              </a:rPr>
              <a:t/>
            </a:r>
            <a:br>
              <a:rPr lang="de-DE" altLang="zh-CN" sz="1600" b="1" dirty="0">
                <a:solidFill>
                  <a:schemeClr val="bg1"/>
                </a:solidFill>
                <a:latin typeface="微软雅黑" pitchFamily="34" charset="-122"/>
                <a:ea typeface="微软雅黑" pitchFamily="34" charset="-122"/>
                <a:sym typeface="Times New Roman" pitchFamily="18" charset="0"/>
              </a:rPr>
            </a:br>
            <a:endParaRPr lang="en-US" altLang="zh-CN" sz="1600" b="1" dirty="0">
              <a:solidFill>
                <a:schemeClr val="bg1"/>
              </a:solidFill>
              <a:latin typeface="微软雅黑" pitchFamily="34" charset="-122"/>
              <a:ea typeface="微软雅黑" pitchFamily="34" charset="-122"/>
              <a:sym typeface="Times New Roman" pitchFamily="18" charset="0"/>
            </a:endParaRPr>
          </a:p>
          <a:p>
            <a:pPr algn="ctr">
              <a:spcBef>
                <a:spcPct val="0"/>
              </a:spcBef>
            </a:pPr>
            <a:r>
              <a:rPr lang="en-US" altLang="zh-CN" sz="1000" b="1" dirty="0">
                <a:solidFill>
                  <a:schemeClr val="bg1"/>
                </a:solidFill>
                <a:latin typeface="微软雅黑" pitchFamily="34" charset="-122"/>
                <a:ea typeface="微软雅黑" pitchFamily="34" charset="-122"/>
                <a:sym typeface="Times New Roman" pitchFamily="18" charset="0"/>
              </a:rPr>
              <a:t>As-built</a:t>
            </a:r>
          </a:p>
          <a:p>
            <a:pPr algn="ctr">
              <a:spcBef>
                <a:spcPct val="0"/>
              </a:spcBef>
            </a:pPr>
            <a:r>
              <a:rPr lang="en-US" altLang="zh-CN" sz="1000" b="1" dirty="0">
                <a:solidFill>
                  <a:schemeClr val="bg1"/>
                </a:solidFill>
                <a:latin typeface="微软雅黑" pitchFamily="34" charset="-122"/>
                <a:ea typeface="微软雅黑" pitchFamily="34" charset="-122"/>
                <a:sym typeface="Times New Roman" pitchFamily="18" charset="0"/>
              </a:rPr>
              <a:t> </a:t>
            </a:r>
          </a:p>
        </p:txBody>
      </p:sp>
      <p:sp>
        <p:nvSpPr>
          <p:cNvPr id="7196" name="Text Box 35"/>
          <p:cNvSpPr txBox="1">
            <a:spLocks noChangeArrowheads="1"/>
          </p:cNvSpPr>
          <p:nvPr/>
        </p:nvSpPr>
        <p:spPr bwMode="auto">
          <a:xfrm>
            <a:off x="529653" y="3778252"/>
            <a:ext cx="1383392" cy="800219"/>
          </a:xfrm>
          <a:prstGeom prst="rect">
            <a:avLst/>
          </a:prstGeom>
          <a:noFill/>
          <a:ln w="9525">
            <a:noFill/>
            <a:miter lim="800000"/>
            <a:headEnd/>
            <a:tailEnd/>
          </a:ln>
        </p:spPr>
        <p:txBody>
          <a:bodyPr wrap="none">
            <a:spAutoFit/>
          </a:bodyPr>
          <a:lstStyle/>
          <a:p>
            <a:pPr algn="ctr">
              <a:spcBef>
                <a:spcPct val="0"/>
              </a:spcBef>
            </a:pPr>
            <a:r>
              <a:rPr lang="en-US" altLang="zh-CN" sz="1600" b="1" dirty="0" err="1">
                <a:solidFill>
                  <a:schemeClr val="bg1"/>
                </a:solidFill>
                <a:latin typeface="微软雅黑" pitchFamily="34" charset="-122"/>
                <a:ea typeface="微软雅黑" pitchFamily="34" charset="-122"/>
                <a:sym typeface="Times New Roman" pitchFamily="18" charset="0"/>
              </a:rPr>
              <a:t>Teamcenter</a:t>
            </a:r>
            <a:r>
              <a:rPr lang="en-US" altLang="zh-CN" sz="1600" b="1" dirty="0">
                <a:solidFill>
                  <a:schemeClr val="bg1"/>
                </a:solidFill>
                <a:latin typeface="微软雅黑" pitchFamily="34" charset="-122"/>
                <a:ea typeface="微软雅黑" pitchFamily="34" charset="-122"/>
                <a:sym typeface="Times New Roman" pitchFamily="18" charset="0"/>
              </a:rPr>
              <a:t/>
            </a:r>
            <a:br>
              <a:rPr lang="en-US" altLang="zh-CN" sz="1600" b="1" dirty="0">
                <a:solidFill>
                  <a:schemeClr val="bg1"/>
                </a:solidFill>
                <a:latin typeface="微软雅黑" pitchFamily="34" charset="-122"/>
                <a:ea typeface="微软雅黑" pitchFamily="34" charset="-122"/>
                <a:sym typeface="Times New Roman" pitchFamily="18" charset="0"/>
              </a:rPr>
            </a:br>
            <a:r>
              <a:rPr lang="en-US" altLang="zh-CN" sz="1000" b="1" dirty="0">
                <a:solidFill>
                  <a:schemeClr val="bg1"/>
                </a:solidFill>
                <a:latin typeface="微软雅黑" pitchFamily="34" charset="-122"/>
                <a:ea typeface="微软雅黑" pitchFamily="34" charset="-122"/>
                <a:sym typeface="Times New Roman" pitchFamily="18" charset="0"/>
              </a:rPr>
              <a:t>BOM</a:t>
            </a:r>
          </a:p>
          <a:p>
            <a:pPr algn="ctr">
              <a:spcBef>
                <a:spcPct val="0"/>
              </a:spcBef>
            </a:pPr>
            <a:r>
              <a:rPr lang="zh-CN" altLang="en-US" sz="1000" b="1" dirty="0">
                <a:solidFill>
                  <a:schemeClr val="bg1"/>
                </a:solidFill>
                <a:latin typeface="微软雅黑" pitchFamily="34" charset="-122"/>
                <a:ea typeface="微软雅黑" pitchFamily="34" charset="-122"/>
                <a:sym typeface="Times New Roman" pitchFamily="18" charset="0"/>
              </a:rPr>
              <a:t>工艺规划</a:t>
            </a:r>
          </a:p>
          <a:p>
            <a:pPr algn="ctr">
              <a:spcBef>
                <a:spcPct val="0"/>
              </a:spcBef>
            </a:pPr>
            <a:r>
              <a:rPr lang="zh-CN" altLang="en-US" sz="1000" b="1" dirty="0">
                <a:solidFill>
                  <a:schemeClr val="bg1"/>
                </a:solidFill>
                <a:latin typeface="微软雅黑" pitchFamily="34" charset="-122"/>
                <a:ea typeface="微软雅黑" pitchFamily="34" charset="-122"/>
                <a:sym typeface="Times New Roman" pitchFamily="18" charset="0"/>
              </a:rPr>
              <a:t>生产工单</a:t>
            </a:r>
          </a:p>
        </p:txBody>
      </p:sp>
      <p:sp>
        <p:nvSpPr>
          <p:cNvPr id="7197" name="Rectangle 38"/>
          <p:cNvSpPr>
            <a:spLocks noChangeArrowheads="1"/>
          </p:cNvSpPr>
          <p:nvPr/>
        </p:nvSpPr>
        <p:spPr bwMode="auto">
          <a:xfrm>
            <a:off x="4237658" y="2959100"/>
            <a:ext cx="3913637" cy="1435100"/>
          </a:xfrm>
          <a:prstGeom prst="roundRect">
            <a:avLst>
              <a:gd name="adj" fmla="val 16667"/>
            </a:avLst>
          </a:prstGeom>
          <a:solidFill>
            <a:srgbClr val="FFFFFF"/>
          </a:solidFill>
          <a:ln w="12700">
            <a:solidFill>
              <a:srgbClr val="000066"/>
            </a:solidFill>
            <a:round/>
            <a:headEnd/>
            <a:tailEnd/>
          </a:ln>
        </p:spPr>
        <p:txBody>
          <a:bodyPr wrap="none" anchor="ctr"/>
          <a:lstStyle/>
          <a:p>
            <a:pPr algn="l">
              <a:spcBef>
                <a:spcPct val="0"/>
              </a:spcBef>
            </a:pPr>
            <a:endParaRPr lang="en-US" altLang="zh-CN" sz="1200" b="1">
              <a:solidFill>
                <a:schemeClr val="tx1"/>
              </a:solidFill>
              <a:latin typeface="微软雅黑" pitchFamily="34" charset="-122"/>
              <a:ea typeface="微软雅黑" pitchFamily="34" charset="-122"/>
              <a:sym typeface="Times New Roman" pitchFamily="18" charset="0"/>
            </a:endParaRPr>
          </a:p>
        </p:txBody>
      </p:sp>
      <p:sp>
        <p:nvSpPr>
          <p:cNvPr id="7198" name="Text Box 39"/>
          <p:cNvSpPr txBox="1">
            <a:spLocks noChangeArrowheads="1"/>
          </p:cNvSpPr>
          <p:nvPr/>
        </p:nvSpPr>
        <p:spPr bwMode="auto">
          <a:xfrm>
            <a:off x="4968288" y="2643191"/>
            <a:ext cx="2471437" cy="274637"/>
          </a:xfrm>
          <a:prstGeom prst="rect">
            <a:avLst/>
          </a:prstGeom>
          <a:noFill/>
          <a:ln w="9525">
            <a:noFill/>
            <a:miter lim="800000"/>
            <a:headEnd/>
            <a:tailEnd/>
          </a:ln>
        </p:spPr>
        <p:txBody>
          <a:bodyPr>
            <a:spAutoFit/>
          </a:bodyPr>
          <a:lstStyle/>
          <a:p>
            <a:r>
              <a:rPr lang="en-US" altLang="zh-CN" sz="1200" b="1">
                <a:solidFill>
                  <a:schemeClr val="tx1"/>
                </a:solidFill>
                <a:latin typeface="微软雅黑" pitchFamily="34" charset="-122"/>
                <a:ea typeface="微软雅黑" pitchFamily="34" charset="-122"/>
                <a:sym typeface="Times New Roman" pitchFamily="18" charset="0"/>
              </a:rPr>
              <a:t>“</a:t>
            </a:r>
            <a:r>
              <a:rPr lang="zh-CN" altLang="en-US" sz="1200" b="1">
                <a:solidFill>
                  <a:schemeClr val="tx1"/>
                </a:solidFill>
                <a:latin typeface="微软雅黑" pitchFamily="34" charset="-122"/>
                <a:ea typeface="微软雅黑" pitchFamily="34" charset="-122"/>
                <a:sym typeface="Times New Roman" pitchFamily="18" charset="0"/>
              </a:rPr>
              <a:t>工作包”</a:t>
            </a:r>
          </a:p>
        </p:txBody>
      </p:sp>
      <p:sp>
        <p:nvSpPr>
          <p:cNvPr id="7199" name="Line 40"/>
          <p:cNvSpPr>
            <a:spLocks noChangeShapeType="1"/>
          </p:cNvSpPr>
          <p:nvPr/>
        </p:nvSpPr>
        <p:spPr bwMode="auto">
          <a:xfrm flipH="1" flipV="1">
            <a:off x="8170355" y="3673478"/>
            <a:ext cx="684040" cy="4763"/>
          </a:xfrm>
          <a:prstGeom prst="line">
            <a:avLst/>
          </a:prstGeom>
          <a:noFill/>
          <a:ln w="44450">
            <a:solidFill>
              <a:schemeClr val="folHlink"/>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200" name="Text Box 45"/>
          <p:cNvSpPr txBox="1">
            <a:spLocks noChangeArrowheads="1"/>
          </p:cNvSpPr>
          <p:nvPr/>
        </p:nvSpPr>
        <p:spPr bwMode="auto">
          <a:xfrm>
            <a:off x="3335488" y="5538791"/>
            <a:ext cx="535724" cy="246221"/>
          </a:xfrm>
          <a:prstGeom prst="rect">
            <a:avLst/>
          </a:prstGeom>
          <a:noFill/>
          <a:ln w="9525">
            <a:noFill/>
            <a:miter lim="800000"/>
            <a:headEnd/>
            <a:tailEnd/>
          </a:ln>
        </p:spPr>
        <p:txBody>
          <a:bodyPr wrap="none">
            <a:spAutoFit/>
          </a:bodyPr>
          <a:lstStyle/>
          <a:p>
            <a:pPr>
              <a:spcBef>
                <a:spcPct val="0"/>
              </a:spcBef>
            </a:pPr>
            <a:r>
              <a:rPr lang="en-US" altLang="zh-CN" sz="1000" b="1">
                <a:solidFill>
                  <a:schemeClr val="tx1"/>
                </a:solidFill>
                <a:latin typeface="微软雅黑" pitchFamily="34" charset="-122"/>
                <a:ea typeface="微软雅黑" pitchFamily="34" charset="-122"/>
                <a:sym typeface="Times New Roman" pitchFamily="18" charset="0"/>
              </a:rPr>
              <a:t>HTTP</a:t>
            </a:r>
          </a:p>
        </p:txBody>
      </p:sp>
      <p:sp>
        <p:nvSpPr>
          <p:cNvPr id="7201" name="Text Box 46"/>
          <p:cNvSpPr txBox="1">
            <a:spLocks noChangeArrowheads="1"/>
          </p:cNvSpPr>
          <p:nvPr/>
        </p:nvSpPr>
        <p:spPr bwMode="auto">
          <a:xfrm>
            <a:off x="8375779" y="5518153"/>
            <a:ext cx="535724" cy="246221"/>
          </a:xfrm>
          <a:prstGeom prst="rect">
            <a:avLst/>
          </a:prstGeom>
          <a:noFill/>
          <a:ln w="9525">
            <a:noFill/>
            <a:miter lim="800000"/>
            <a:headEnd/>
            <a:tailEnd/>
          </a:ln>
        </p:spPr>
        <p:txBody>
          <a:bodyPr wrap="none">
            <a:spAutoFit/>
          </a:bodyPr>
          <a:lstStyle/>
          <a:p>
            <a:pPr>
              <a:spcBef>
                <a:spcPct val="0"/>
              </a:spcBef>
            </a:pPr>
            <a:r>
              <a:rPr lang="en-US" altLang="zh-CN" sz="1000" b="1">
                <a:solidFill>
                  <a:schemeClr val="tx1"/>
                </a:solidFill>
                <a:latin typeface="微软雅黑" pitchFamily="34" charset="-122"/>
                <a:ea typeface="微软雅黑" pitchFamily="34" charset="-122"/>
                <a:sym typeface="Times New Roman" pitchFamily="18" charset="0"/>
              </a:rPr>
              <a:t>HTTP</a:t>
            </a:r>
          </a:p>
        </p:txBody>
      </p:sp>
      <p:sp>
        <p:nvSpPr>
          <p:cNvPr id="7202" name="Rectangle 38"/>
          <p:cNvSpPr>
            <a:spLocks noChangeArrowheads="1"/>
          </p:cNvSpPr>
          <p:nvPr/>
        </p:nvSpPr>
        <p:spPr bwMode="auto">
          <a:xfrm>
            <a:off x="4237658" y="2943228"/>
            <a:ext cx="3913637" cy="263525"/>
          </a:xfrm>
          <a:prstGeom prst="roundRect">
            <a:avLst>
              <a:gd name="adj" fmla="val 16667"/>
            </a:avLst>
          </a:prstGeom>
          <a:solidFill>
            <a:schemeClr val="folHlink"/>
          </a:solidFill>
          <a:ln w="12700">
            <a:solidFill>
              <a:srgbClr val="3366CC"/>
            </a:solidFill>
            <a:round/>
            <a:headEnd/>
            <a:tailEnd/>
          </a:ln>
        </p:spPr>
        <p:txBody>
          <a:bodyPr wrap="none" anchor="ctr"/>
          <a:lstStyle/>
          <a:p>
            <a:pPr algn="l">
              <a:spcBef>
                <a:spcPct val="0"/>
              </a:spcBef>
            </a:pPr>
            <a:endParaRPr lang="en-US" altLang="zh-CN" sz="1200" b="1">
              <a:solidFill>
                <a:srgbClr val="FFFFFF"/>
              </a:solidFill>
              <a:latin typeface="微软雅黑" pitchFamily="34" charset="-122"/>
              <a:ea typeface="微软雅黑" pitchFamily="34" charset="-122"/>
              <a:sym typeface="Times New Roman" pitchFamily="18" charset="0"/>
            </a:endParaRPr>
          </a:p>
        </p:txBody>
      </p:sp>
      <p:sp>
        <p:nvSpPr>
          <p:cNvPr id="7203" name="Text Box 35"/>
          <p:cNvSpPr txBox="1">
            <a:spLocks noChangeArrowheads="1"/>
          </p:cNvSpPr>
          <p:nvPr/>
        </p:nvSpPr>
        <p:spPr bwMode="auto">
          <a:xfrm>
            <a:off x="4908991" y="2919414"/>
            <a:ext cx="2808162" cy="330072"/>
          </a:xfrm>
          <a:prstGeom prst="rect">
            <a:avLst/>
          </a:prstGeom>
          <a:noFill/>
          <a:ln w="9525" algn="ctr">
            <a:noFill/>
            <a:miter lim="800000"/>
            <a:headEnd/>
            <a:tailEnd/>
          </a:ln>
        </p:spPr>
        <p:txBody>
          <a:bodyPr lIns="72000" tIns="72000" rIns="72000" bIns="72000">
            <a:spAutoFit/>
          </a:bodyPr>
          <a:lstStyle/>
          <a:p>
            <a:pPr>
              <a:buFont typeface="Wingdings" pitchFamily="2" charset="2"/>
              <a:buNone/>
            </a:pPr>
            <a:r>
              <a:rPr lang="zh-CN" altLang="en-US" sz="1200" b="1" i="1">
                <a:solidFill>
                  <a:schemeClr val="bg1"/>
                </a:solidFill>
                <a:latin typeface="微软雅黑" pitchFamily="34" charset="-122"/>
                <a:ea typeface="微软雅黑" pitchFamily="34" charset="-122"/>
                <a:sym typeface="Times New Roman" pitchFamily="18" charset="0"/>
              </a:rPr>
              <a:t>由上至下 </a:t>
            </a:r>
            <a:r>
              <a:rPr lang="en-US" altLang="zh-CN" sz="1200" b="1" i="1">
                <a:solidFill>
                  <a:schemeClr val="bg1"/>
                </a:solidFill>
                <a:latin typeface="微软雅黑" pitchFamily="34" charset="-122"/>
                <a:ea typeface="微软雅黑" pitchFamily="34" charset="-122"/>
                <a:sym typeface="Times New Roman" pitchFamily="18" charset="0"/>
              </a:rPr>
              <a:t>PLM-MES (*)</a:t>
            </a:r>
          </a:p>
        </p:txBody>
      </p:sp>
      <p:sp>
        <p:nvSpPr>
          <p:cNvPr id="7204" name="Text Box 36"/>
          <p:cNvSpPr txBox="1">
            <a:spLocks noChangeArrowheads="1"/>
          </p:cNvSpPr>
          <p:nvPr/>
        </p:nvSpPr>
        <p:spPr bwMode="auto">
          <a:xfrm>
            <a:off x="4455787" y="3222627"/>
            <a:ext cx="1893286" cy="1158875"/>
          </a:xfrm>
          <a:prstGeom prst="rect">
            <a:avLst/>
          </a:prstGeom>
          <a:noFill/>
          <a:ln w="9525">
            <a:noFill/>
            <a:miter lim="800000"/>
            <a:headEnd/>
            <a:tailEnd/>
          </a:ln>
        </p:spPr>
        <p:txBody>
          <a:bodyPr>
            <a:spAutoFit/>
          </a:bodyPr>
          <a:lstStyle/>
          <a:p>
            <a:pPr algn="l">
              <a:spcBef>
                <a:spcPct val="0"/>
              </a:spcBef>
              <a:buFontTx/>
              <a:buChar char="•"/>
            </a:pPr>
            <a:r>
              <a:rPr lang="en-US" altLang="zh-CN" sz="1000" b="1" dirty="0">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工单</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en-US" altLang="en-US"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物料组件</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en-US" altLang="en-US" sz="1000" b="1" dirty="0">
                <a:solidFill>
                  <a:schemeClr val="tx1"/>
                </a:solidFill>
                <a:latin typeface="微软雅黑" pitchFamily="34" charset="-122"/>
                <a:ea typeface="微软雅黑" pitchFamily="34" charset="-122"/>
                <a:sym typeface="Times New Roman" pitchFamily="18" charset="0"/>
              </a:rPr>
              <a:t> </a:t>
            </a:r>
            <a:r>
              <a:rPr lang="en-US" altLang="en-US" sz="1000" b="1" dirty="0" smtClean="0">
                <a:solidFill>
                  <a:schemeClr val="tx1"/>
                </a:solidFill>
                <a:latin typeface="微软雅黑" pitchFamily="34" charset="-122"/>
                <a:ea typeface="微软雅黑" pitchFamily="34" charset="-122"/>
                <a:sym typeface="Times New Roman" pitchFamily="18" charset="0"/>
              </a:rPr>
              <a:t>P</a:t>
            </a:r>
            <a:r>
              <a:rPr lang="en-US" altLang="zh-CN" sz="1000" b="1" dirty="0" smtClean="0">
                <a:solidFill>
                  <a:schemeClr val="tx1"/>
                </a:solidFill>
                <a:latin typeface="微软雅黑" pitchFamily="34" charset="-122"/>
                <a:ea typeface="微软雅黑" pitchFamily="34" charset="-122"/>
                <a:sym typeface="Times New Roman" pitchFamily="18" charset="0"/>
              </a:rPr>
              <a:t>BOM</a:t>
            </a:r>
            <a:endParaRPr lang="en-US" altLang="zh-CN"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zh-CN" altLang="en-US" sz="1000" b="1" dirty="0">
                <a:solidFill>
                  <a:schemeClr val="tx1"/>
                </a:solidFill>
                <a:latin typeface="微软雅黑" pitchFamily="34" charset="-122"/>
                <a:ea typeface="微软雅黑" pitchFamily="34" charset="-122"/>
                <a:sym typeface="Times New Roman" pitchFamily="18" charset="0"/>
              </a:rPr>
              <a:t> 加工路径</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zh-CN" altLang="en-US" sz="1000" b="1" dirty="0">
                <a:solidFill>
                  <a:schemeClr val="tx1"/>
                </a:solidFill>
                <a:latin typeface="微软雅黑" pitchFamily="34" charset="-122"/>
                <a:ea typeface="微软雅黑" pitchFamily="34" charset="-122"/>
                <a:sym typeface="Times New Roman" pitchFamily="18" charset="0"/>
              </a:rPr>
              <a:t> 加工操作</a:t>
            </a:r>
          </a:p>
          <a:p>
            <a:pPr algn="l">
              <a:spcBef>
                <a:spcPct val="0"/>
              </a:spcBef>
              <a:buFontTx/>
              <a:buChar char="•"/>
            </a:pPr>
            <a:r>
              <a:rPr lang="en-US" altLang="en-US"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操作要求</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endParaRPr lang="en-US" altLang="en-US" sz="1000" b="1" dirty="0">
              <a:latin typeface="微软雅黑" pitchFamily="34" charset="-122"/>
              <a:ea typeface="微软雅黑" pitchFamily="34" charset="-122"/>
              <a:sym typeface="Times New Roman" pitchFamily="18" charset="0"/>
            </a:endParaRPr>
          </a:p>
        </p:txBody>
      </p:sp>
      <p:sp>
        <p:nvSpPr>
          <p:cNvPr id="7205" name="Text Box 37"/>
          <p:cNvSpPr txBox="1">
            <a:spLocks noChangeArrowheads="1"/>
          </p:cNvSpPr>
          <p:nvPr/>
        </p:nvSpPr>
        <p:spPr bwMode="auto">
          <a:xfrm>
            <a:off x="6137297" y="3232151"/>
            <a:ext cx="1842459" cy="1015663"/>
          </a:xfrm>
          <a:prstGeom prst="rect">
            <a:avLst/>
          </a:prstGeom>
          <a:noFill/>
          <a:ln w="9525">
            <a:noFill/>
            <a:miter lim="800000"/>
            <a:headEnd/>
            <a:tailEnd/>
          </a:ln>
        </p:spPr>
        <p:txBody>
          <a:bodyPr>
            <a:spAutoFit/>
          </a:bodyPr>
          <a:lstStyle/>
          <a:p>
            <a:pPr algn="l">
              <a:spcBef>
                <a:spcPct val="0"/>
              </a:spcBef>
              <a:buFontTx/>
              <a:buChar char="•"/>
            </a:pPr>
            <a:r>
              <a:rPr lang="en-US" altLang="zh-CN" sz="1000" b="1" dirty="0">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工作指令指示</a:t>
            </a:r>
          </a:p>
          <a:p>
            <a:pPr algn="l">
              <a:spcBef>
                <a:spcPct val="0"/>
              </a:spcBef>
              <a:buFontTx/>
              <a:buChar char="•"/>
            </a:pPr>
            <a:r>
              <a:rPr lang="zh-CN" altLang="en-US" sz="1000" b="1" dirty="0">
                <a:solidFill>
                  <a:schemeClr val="tx1"/>
                </a:solidFill>
                <a:latin typeface="微软雅黑" pitchFamily="34" charset="-122"/>
                <a:ea typeface="微软雅黑" pitchFamily="34" charset="-122"/>
                <a:sym typeface="Times New Roman" pitchFamily="18" charset="0"/>
              </a:rPr>
              <a:t> 工作中心</a:t>
            </a:r>
          </a:p>
          <a:p>
            <a:pPr algn="l">
              <a:spcBef>
                <a:spcPct val="0"/>
              </a:spcBef>
              <a:buFontTx/>
              <a:buChar char="•"/>
            </a:pPr>
            <a:r>
              <a:rPr lang="en-US" altLang="zh-CN"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资源类型</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en-US" altLang="en-US"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资源</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en-US" altLang="zh-CN" sz="1000" b="1" dirty="0">
                <a:solidFill>
                  <a:schemeClr val="tx1"/>
                </a:solidFill>
                <a:latin typeface="微软雅黑" pitchFamily="34" charset="-122"/>
                <a:ea typeface="微软雅黑" pitchFamily="34" charset="-122"/>
                <a:sym typeface="Times New Roman" pitchFamily="18" charset="0"/>
              </a:rPr>
              <a:t> NC </a:t>
            </a:r>
            <a:r>
              <a:rPr lang="zh-CN" altLang="en-US" sz="1000" b="1" dirty="0">
                <a:solidFill>
                  <a:schemeClr val="tx1"/>
                </a:solidFill>
                <a:latin typeface="微软雅黑" pitchFamily="34" charset="-122"/>
                <a:ea typeface="微软雅黑" pitchFamily="34" charset="-122"/>
                <a:sym typeface="Times New Roman" pitchFamily="18" charset="0"/>
              </a:rPr>
              <a:t>程</a:t>
            </a:r>
            <a:r>
              <a:rPr lang="zh-CN" altLang="en-US" sz="1000" b="1" dirty="0" smtClean="0">
                <a:solidFill>
                  <a:schemeClr val="tx1"/>
                </a:solidFill>
                <a:latin typeface="微软雅黑" pitchFamily="34" charset="-122"/>
                <a:ea typeface="微软雅黑" pitchFamily="34" charset="-122"/>
                <a:sym typeface="Times New Roman" pitchFamily="18" charset="0"/>
              </a:rPr>
              <a:t>序</a:t>
            </a:r>
            <a:endParaRPr lang="en-US" altLang="zh-CN" sz="1000" b="1" dirty="0" smtClean="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en-US" altLang="en-US" sz="1000" b="1" dirty="0" smtClean="0">
                <a:solidFill>
                  <a:schemeClr val="tx1"/>
                </a:solidFill>
                <a:latin typeface="微软雅黑" pitchFamily="34" charset="-122"/>
                <a:ea typeface="微软雅黑" pitchFamily="34" charset="-122"/>
                <a:sym typeface="Times New Roman" pitchFamily="18" charset="0"/>
              </a:rPr>
              <a:t> 3D</a:t>
            </a:r>
            <a:r>
              <a:rPr lang="zh-CN" altLang="en-US" sz="1000" b="1" dirty="0" smtClean="0">
                <a:solidFill>
                  <a:schemeClr val="tx1"/>
                </a:solidFill>
                <a:latin typeface="微软雅黑" pitchFamily="34" charset="-122"/>
                <a:ea typeface="微软雅黑" pitchFamily="34" charset="-122"/>
                <a:sym typeface="Times New Roman" pitchFamily="18" charset="0"/>
              </a:rPr>
              <a:t>作业指导书</a:t>
            </a:r>
            <a:endParaRPr lang="en-US" altLang="en-US" sz="1000" b="1" dirty="0">
              <a:solidFill>
                <a:schemeClr val="tx1"/>
              </a:solidFill>
              <a:latin typeface="微软雅黑" pitchFamily="34" charset="-122"/>
              <a:ea typeface="微软雅黑" pitchFamily="34" charset="-122"/>
              <a:sym typeface="Times New Roman" pitchFamily="18" charset="0"/>
            </a:endParaRPr>
          </a:p>
        </p:txBody>
      </p:sp>
      <p:sp>
        <p:nvSpPr>
          <p:cNvPr id="7206" name="Rectangle 38"/>
          <p:cNvSpPr>
            <a:spLocks noChangeArrowheads="1"/>
          </p:cNvSpPr>
          <p:nvPr/>
        </p:nvSpPr>
        <p:spPr bwMode="auto">
          <a:xfrm>
            <a:off x="4212244" y="4949825"/>
            <a:ext cx="3913637" cy="1435100"/>
          </a:xfrm>
          <a:prstGeom prst="roundRect">
            <a:avLst>
              <a:gd name="adj" fmla="val 16667"/>
            </a:avLst>
          </a:prstGeom>
          <a:solidFill>
            <a:srgbClr val="FFFFFF"/>
          </a:solidFill>
          <a:ln w="12700">
            <a:solidFill>
              <a:srgbClr val="000066"/>
            </a:solidFill>
            <a:round/>
            <a:headEnd/>
            <a:tailEnd/>
          </a:ln>
        </p:spPr>
        <p:txBody>
          <a:bodyPr wrap="none" anchor="ctr"/>
          <a:lstStyle/>
          <a:p>
            <a:pPr algn="l">
              <a:spcBef>
                <a:spcPct val="0"/>
              </a:spcBef>
            </a:pPr>
            <a:endParaRPr lang="en-US" altLang="zh-CN" sz="1200" b="1">
              <a:solidFill>
                <a:schemeClr val="tx1"/>
              </a:solidFill>
              <a:latin typeface="微软雅黑" pitchFamily="34" charset="-122"/>
              <a:ea typeface="微软雅黑" pitchFamily="34" charset="-122"/>
              <a:sym typeface="Times New Roman" pitchFamily="18" charset="0"/>
            </a:endParaRPr>
          </a:p>
        </p:txBody>
      </p:sp>
      <p:sp>
        <p:nvSpPr>
          <p:cNvPr id="7207" name="Rectangle 38"/>
          <p:cNvSpPr>
            <a:spLocks noChangeArrowheads="1"/>
          </p:cNvSpPr>
          <p:nvPr/>
        </p:nvSpPr>
        <p:spPr bwMode="auto">
          <a:xfrm>
            <a:off x="4212244" y="4941891"/>
            <a:ext cx="3913637" cy="263525"/>
          </a:xfrm>
          <a:prstGeom prst="roundRect">
            <a:avLst>
              <a:gd name="adj" fmla="val 16667"/>
            </a:avLst>
          </a:prstGeom>
          <a:solidFill>
            <a:schemeClr val="folHlink"/>
          </a:solidFill>
          <a:ln w="12700">
            <a:solidFill>
              <a:srgbClr val="3366CC"/>
            </a:solidFill>
            <a:round/>
            <a:headEnd/>
            <a:tailEnd/>
          </a:ln>
        </p:spPr>
        <p:txBody>
          <a:bodyPr wrap="none" anchor="ctr"/>
          <a:lstStyle/>
          <a:p>
            <a:pPr algn="l">
              <a:spcBef>
                <a:spcPct val="0"/>
              </a:spcBef>
            </a:pPr>
            <a:endParaRPr lang="en-US" altLang="zh-CN" sz="1200" b="1">
              <a:solidFill>
                <a:schemeClr val="tx1"/>
              </a:solidFill>
              <a:latin typeface="微软雅黑" pitchFamily="34" charset="-122"/>
              <a:ea typeface="微软雅黑" pitchFamily="34" charset="-122"/>
              <a:sym typeface="Times New Roman" pitchFamily="18" charset="0"/>
            </a:endParaRPr>
          </a:p>
        </p:txBody>
      </p:sp>
      <p:sp>
        <p:nvSpPr>
          <p:cNvPr id="7208" name="Text Box 40"/>
          <p:cNvSpPr txBox="1">
            <a:spLocks noChangeArrowheads="1"/>
          </p:cNvSpPr>
          <p:nvPr/>
        </p:nvSpPr>
        <p:spPr bwMode="auto">
          <a:xfrm>
            <a:off x="4883577" y="4918075"/>
            <a:ext cx="2808162" cy="330072"/>
          </a:xfrm>
          <a:prstGeom prst="rect">
            <a:avLst/>
          </a:prstGeom>
          <a:noFill/>
          <a:ln w="9525" algn="ctr">
            <a:noFill/>
            <a:miter lim="800000"/>
            <a:headEnd/>
            <a:tailEnd/>
          </a:ln>
        </p:spPr>
        <p:txBody>
          <a:bodyPr lIns="72000" tIns="72000" rIns="72000" bIns="72000">
            <a:spAutoFit/>
          </a:bodyPr>
          <a:lstStyle/>
          <a:p>
            <a:pPr>
              <a:buFont typeface="Wingdings" pitchFamily="2" charset="2"/>
              <a:buNone/>
            </a:pPr>
            <a:r>
              <a:rPr lang="zh-CN" altLang="en-US" sz="1200" b="1" i="1" dirty="0">
                <a:solidFill>
                  <a:schemeClr val="bg1"/>
                </a:solidFill>
                <a:latin typeface="微软雅黑" pitchFamily="34" charset="-122"/>
                <a:ea typeface="微软雅黑" pitchFamily="34" charset="-122"/>
                <a:sym typeface="Times New Roman" pitchFamily="18" charset="0"/>
              </a:rPr>
              <a:t>实际反馈 </a:t>
            </a:r>
            <a:r>
              <a:rPr lang="en-US" altLang="zh-CN" sz="1200" b="1" i="1" dirty="0">
                <a:solidFill>
                  <a:schemeClr val="bg1"/>
                </a:solidFill>
                <a:latin typeface="微软雅黑" pitchFamily="34" charset="-122"/>
                <a:ea typeface="微软雅黑" pitchFamily="34" charset="-122"/>
                <a:sym typeface="Times New Roman" pitchFamily="18" charset="0"/>
              </a:rPr>
              <a:t>MES-PLM</a:t>
            </a:r>
          </a:p>
        </p:txBody>
      </p:sp>
      <p:sp>
        <p:nvSpPr>
          <p:cNvPr id="7209" name="Text Box 36"/>
          <p:cNvSpPr txBox="1">
            <a:spLocks noChangeArrowheads="1"/>
          </p:cNvSpPr>
          <p:nvPr/>
        </p:nvSpPr>
        <p:spPr bwMode="auto">
          <a:xfrm>
            <a:off x="4472729" y="5562603"/>
            <a:ext cx="3261364" cy="701675"/>
          </a:xfrm>
          <a:prstGeom prst="rect">
            <a:avLst/>
          </a:prstGeom>
          <a:noFill/>
          <a:ln w="9525">
            <a:noFill/>
            <a:miter lim="800000"/>
            <a:headEnd/>
            <a:tailEnd/>
          </a:ln>
        </p:spPr>
        <p:txBody>
          <a:bodyPr>
            <a:spAutoFit/>
          </a:bodyPr>
          <a:lstStyle/>
          <a:p>
            <a:pPr algn="l">
              <a:spcBef>
                <a:spcPct val="0"/>
              </a:spcBef>
              <a:buFontTx/>
              <a:buChar char="•"/>
            </a:pPr>
            <a:r>
              <a:rPr lang="en-US" altLang="zh-CN"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变更申请记录</a:t>
            </a:r>
            <a:endParaRPr lang="en-US" altLang="en-US" sz="1000" b="1" dirty="0">
              <a:solidFill>
                <a:schemeClr val="tx1"/>
              </a:solidFill>
              <a:latin typeface="微软雅黑" pitchFamily="34" charset="-122"/>
              <a:ea typeface="微软雅黑" pitchFamily="34" charset="-122"/>
              <a:sym typeface="Times New Roman" pitchFamily="18" charset="0"/>
            </a:endParaRPr>
          </a:p>
          <a:p>
            <a:pPr algn="l">
              <a:spcBef>
                <a:spcPct val="0"/>
              </a:spcBef>
              <a:buFontTx/>
              <a:buChar char="•"/>
            </a:pPr>
            <a:r>
              <a:rPr lang="zh-CN" altLang="de-DE" sz="1000" b="1" dirty="0">
                <a:solidFill>
                  <a:schemeClr val="tx1"/>
                </a:solidFill>
                <a:latin typeface="微软雅黑" pitchFamily="34" charset="-122"/>
                <a:ea typeface="微软雅黑" pitchFamily="34" charset="-122"/>
                <a:sym typeface="Times New Roman" pitchFamily="18" charset="0"/>
              </a:rPr>
              <a:t> 变更的工作指示</a:t>
            </a:r>
          </a:p>
          <a:p>
            <a:pPr algn="l">
              <a:spcBef>
                <a:spcPct val="0"/>
              </a:spcBef>
              <a:buFontTx/>
              <a:buChar char="•"/>
            </a:pPr>
            <a:r>
              <a:rPr lang="zh-CN" altLang="de-DE" sz="1000" b="1" dirty="0">
                <a:solidFill>
                  <a:schemeClr val="tx1"/>
                </a:solidFill>
                <a:latin typeface="微软雅黑" pitchFamily="34" charset="-122"/>
                <a:ea typeface="微软雅黑" pitchFamily="34" charset="-122"/>
                <a:sym typeface="Times New Roman" pitchFamily="18" charset="0"/>
              </a:rPr>
              <a:t> 异常结果</a:t>
            </a:r>
          </a:p>
          <a:p>
            <a:pPr algn="l">
              <a:spcBef>
                <a:spcPct val="0"/>
              </a:spcBef>
              <a:buFontTx/>
              <a:buChar char="•"/>
            </a:pPr>
            <a:r>
              <a:rPr lang="zh-CN" altLang="de-DE" sz="1000" b="1" dirty="0">
                <a:solidFill>
                  <a:schemeClr val="tx1"/>
                </a:solidFill>
                <a:latin typeface="微软雅黑" pitchFamily="34" charset="-122"/>
                <a:ea typeface="微软雅黑" pitchFamily="34" charset="-122"/>
                <a:sym typeface="Times New Roman" pitchFamily="18" charset="0"/>
              </a:rPr>
              <a:t> 指定的</a:t>
            </a:r>
            <a:r>
              <a:rPr lang="de-DE" altLang="zh-CN" sz="1000" b="1" dirty="0">
                <a:solidFill>
                  <a:schemeClr val="tx1"/>
                </a:solidFill>
                <a:latin typeface="微软雅黑" pitchFamily="34" charset="-122"/>
                <a:ea typeface="微软雅黑" pitchFamily="34" charset="-122"/>
                <a:sym typeface="Times New Roman" pitchFamily="18" charset="0"/>
              </a:rPr>
              <a:t>KPIs</a:t>
            </a:r>
            <a:r>
              <a:rPr lang="zh-CN" altLang="de-DE" sz="1000" b="1" dirty="0">
                <a:solidFill>
                  <a:schemeClr val="tx1"/>
                </a:solidFill>
                <a:latin typeface="微软雅黑" pitchFamily="34" charset="-122"/>
                <a:ea typeface="微软雅黑" pitchFamily="34" charset="-122"/>
                <a:sym typeface="Times New Roman" pitchFamily="18" charset="0"/>
              </a:rPr>
              <a:t>结果等</a:t>
            </a:r>
            <a:r>
              <a:rPr lang="de-DE" altLang="zh-CN" sz="1000" b="1" dirty="0">
                <a:solidFill>
                  <a:schemeClr val="tx1"/>
                </a:solidFill>
                <a:latin typeface="微软雅黑" pitchFamily="34" charset="-122"/>
                <a:ea typeface="微软雅黑" pitchFamily="34" charset="-122"/>
                <a:sym typeface="Times New Roman" pitchFamily="18" charset="0"/>
              </a:rPr>
              <a:t>...</a:t>
            </a:r>
            <a:endParaRPr lang="en-US" altLang="zh-CN" sz="1000" b="1" dirty="0">
              <a:solidFill>
                <a:schemeClr val="tx1"/>
              </a:solidFill>
              <a:latin typeface="微软雅黑" pitchFamily="34" charset="-122"/>
              <a:ea typeface="微软雅黑" pitchFamily="34" charset="-122"/>
              <a:sym typeface="Times New Roman" pitchFamily="18" charset="0"/>
            </a:endParaRPr>
          </a:p>
        </p:txBody>
      </p:sp>
      <p:sp>
        <p:nvSpPr>
          <p:cNvPr id="7210" name="Text Box 37"/>
          <p:cNvSpPr txBox="1">
            <a:spLocks noChangeArrowheads="1"/>
          </p:cNvSpPr>
          <p:nvPr/>
        </p:nvSpPr>
        <p:spPr bwMode="auto">
          <a:xfrm>
            <a:off x="4472728" y="5334003"/>
            <a:ext cx="2846282" cy="244475"/>
          </a:xfrm>
          <a:prstGeom prst="rect">
            <a:avLst/>
          </a:prstGeom>
          <a:noFill/>
          <a:ln w="9525">
            <a:noFill/>
            <a:miter lim="800000"/>
            <a:headEnd/>
            <a:tailEnd/>
          </a:ln>
        </p:spPr>
        <p:txBody>
          <a:bodyPr>
            <a:spAutoFit/>
          </a:bodyPr>
          <a:lstStyle/>
          <a:p>
            <a:pPr algn="l">
              <a:spcBef>
                <a:spcPct val="0"/>
              </a:spcBef>
            </a:pPr>
            <a:r>
              <a:rPr lang="en-US" altLang="zh-CN" sz="1000" b="1" dirty="0">
                <a:solidFill>
                  <a:schemeClr val="tx1"/>
                </a:solidFill>
                <a:latin typeface="微软雅黑" pitchFamily="34" charset="-122"/>
                <a:ea typeface="微软雅黑" pitchFamily="34" charset="-122"/>
                <a:sym typeface="Times New Roman" pitchFamily="18" charset="0"/>
              </a:rPr>
              <a:t> </a:t>
            </a:r>
            <a:r>
              <a:rPr lang="zh-CN" altLang="en-US" sz="1000" b="1" dirty="0">
                <a:solidFill>
                  <a:schemeClr val="tx1"/>
                </a:solidFill>
                <a:latin typeface="微软雅黑" pitchFamily="34" charset="-122"/>
                <a:ea typeface="微软雅黑" pitchFamily="34" charset="-122"/>
                <a:sym typeface="Times New Roman" pitchFamily="18" charset="0"/>
              </a:rPr>
              <a:t>反馈生产实际数据 和差异信息</a:t>
            </a:r>
            <a:endParaRPr lang="en-US" altLang="en-US" sz="1000" b="1" dirty="0">
              <a:solidFill>
                <a:schemeClr val="tx1"/>
              </a:solidFill>
              <a:latin typeface="微软雅黑" pitchFamily="34" charset="-122"/>
              <a:ea typeface="微软雅黑" pitchFamily="34" charset="-122"/>
              <a:sym typeface="Times New Roman" pitchFamily="18" charset="0"/>
            </a:endParaRPr>
          </a:p>
        </p:txBody>
      </p:sp>
      <p:sp>
        <p:nvSpPr>
          <p:cNvPr id="7211" name="Text Box 43"/>
          <p:cNvSpPr txBox="1">
            <a:spLocks noChangeArrowheads="1"/>
          </p:cNvSpPr>
          <p:nvPr>
            <p:custDataLst>
              <p:tags r:id="rId1"/>
            </p:custDataLst>
          </p:nvPr>
        </p:nvSpPr>
        <p:spPr bwMode="auto">
          <a:xfrm>
            <a:off x="919114" y="1770163"/>
            <a:ext cx="2486261" cy="307777"/>
          </a:xfrm>
          <a:prstGeom prst="rect">
            <a:avLst/>
          </a:prstGeom>
          <a:solidFill>
            <a:srgbClr val="DDDDDD"/>
          </a:solidFill>
          <a:ln w="15875" algn="ctr">
            <a:solidFill>
              <a:srgbClr val="5F5F5F"/>
            </a:solidFill>
            <a:miter lim="800000"/>
            <a:headEnd/>
            <a:tailEnd/>
          </a:ln>
        </p:spPr>
        <p:txBody>
          <a:bodyPr lIns="0" tIns="0" rIns="0" bIns="0">
            <a:spAutoFit/>
          </a:bodyPr>
          <a:lstStyle/>
          <a:p>
            <a:pPr marL="180975" indent="-180975" algn="l" defTabSz="762000">
              <a:spcBef>
                <a:spcPct val="0"/>
              </a:spcBef>
              <a:buFont typeface="Wingdings" pitchFamily="2" charset="2"/>
              <a:buChar char="§"/>
              <a:tabLst>
                <a:tab pos="809625" algn="l"/>
              </a:tabLst>
            </a:pPr>
            <a:r>
              <a:rPr lang="en-US" altLang="zh-CN" sz="1000" b="1">
                <a:solidFill>
                  <a:schemeClr val="tx1"/>
                </a:solidFill>
                <a:latin typeface="微软雅黑" pitchFamily="34" charset="-122"/>
                <a:ea typeface="微软雅黑" pitchFamily="34" charset="-122"/>
              </a:rPr>
              <a:t>As-Planned  BOM</a:t>
            </a:r>
          </a:p>
          <a:p>
            <a:pPr marL="180975" indent="-180975" algn="l" defTabSz="762000">
              <a:spcBef>
                <a:spcPct val="0"/>
              </a:spcBef>
              <a:buFont typeface="Wingdings" pitchFamily="2" charset="2"/>
              <a:buChar char="§"/>
              <a:tabLst>
                <a:tab pos="809625" algn="l"/>
              </a:tabLst>
            </a:pPr>
            <a:r>
              <a:rPr lang="en-US" altLang="zh-CN" sz="1000" b="1">
                <a:solidFill>
                  <a:schemeClr val="tx1"/>
                </a:solidFill>
                <a:latin typeface="微软雅黑" pitchFamily="34" charset="-122"/>
                <a:ea typeface="微软雅黑" pitchFamily="34" charset="-122"/>
              </a:rPr>
              <a:t>As-Planned </a:t>
            </a:r>
            <a:r>
              <a:rPr lang="zh-CN" altLang="en-US" sz="1000" b="1">
                <a:solidFill>
                  <a:schemeClr val="tx1"/>
                </a:solidFill>
                <a:latin typeface="微软雅黑" pitchFamily="34" charset="-122"/>
                <a:ea typeface="微软雅黑" pitchFamily="34" charset="-122"/>
              </a:rPr>
              <a:t>工艺规划</a:t>
            </a:r>
          </a:p>
        </p:txBody>
      </p:sp>
      <p:sp>
        <p:nvSpPr>
          <p:cNvPr id="7212" name="Text Box 44"/>
          <p:cNvSpPr txBox="1">
            <a:spLocks noChangeArrowheads="1"/>
          </p:cNvSpPr>
          <p:nvPr>
            <p:custDataLst>
              <p:tags r:id="rId2"/>
            </p:custDataLst>
          </p:nvPr>
        </p:nvSpPr>
        <p:spPr bwMode="auto">
          <a:xfrm>
            <a:off x="2795455" y="2259016"/>
            <a:ext cx="1482438" cy="473075"/>
          </a:xfrm>
          <a:prstGeom prst="rect">
            <a:avLst/>
          </a:prstGeom>
          <a:solidFill>
            <a:srgbClr val="DDDDDD"/>
          </a:solidFill>
          <a:ln w="15875" algn="ctr">
            <a:solidFill>
              <a:srgbClr val="5F5F5F"/>
            </a:solidFill>
            <a:miter lim="800000"/>
            <a:headEnd/>
            <a:tailEnd/>
          </a:ln>
        </p:spPr>
        <p:txBody>
          <a:bodyPr lIns="0" tIns="0" rIns="0" bIns="0">
            <a:spAutoFit/>
          </a:bodyPr>
          <a:lstStyle/>
          <a:p>
            <a:pPr marL="180975" indent="-180975" algn="ctr" defTabSz="762000">
              <a:spcBef>
                <a:spcPct val="0"/>
              </a:spcBef>
              <a:buFont typeface="Wingdings" pitchFamily="2" charset="2"/>
              <a:buChar char="§"/>
              <a:tabLst>
                <a:tab pos="809625" algn="l"/>
              </a:tabLst>
            </a:pPr>
            <a:r>
              <a:rPr lang="zh-CN" altLang="en-US" sz="1000" b="1" dirty="0">
                <a:solidFill>
                  <a:schemeClr val="tx1"/>
                </a:solidFill>
                <a:latin typeface="微软雅黑" pitchFamily="34" charset="-122"/>
                <a:ea typeface="微软雅黑" pitchFamily="34" charset="-122"/>
              </a:rPr>
              <a:t>生产工单</a:t>
            </a:r>
          </a:p>
          <a:p>
            <a:pPr marL="180975" indent="-180975" algn="ctr" defTabSz="762000">
              <a:spcBef>
                <a:spcPct val="0"/>
              </a:spcBef>
              <a:buFont typeface="Wingdings" pitchFamily="2" charset="2"/>
              <a:buChar char="§"/>
              <a:tabLst>
                <a:tab pos="809625" algn="l"/>
              </a:tabLst>
            </a:pPr>
            <a:r>
              <a:rPr lang="zh-CN" altLang="en-US" sz="1000" b="1" dirty="0">
                <a:solidFill>
                  <a:schemeClr val="tx1"/>
                </a:solidFill>
                <a:latin typeface="微软雅黑" pitchFamily="34" charset="-122"/>
                <a:ea typeface="微软雅黑" pitchFamily="34" charset="-122"/>
              </a:rPr>
              <a:t>物料组件</a:t>
            </a:r>
          </a:p>
          <a:p>
            <a:pPr marL="180975" indent="-180975" algn="ctr" defTabSz="762000">
              <a:spcBef>
                <a:spcPct val="0"/>
              </a:spcBef>
              <a:buFont typeface="Wingdings" pitchFamily="2" charset="2"/>
              <a:buChar char="§"/>
              <a:tabLst>
                <a:tab pos="809625" algn="l"/>
              </a:tabLst>
            </a:pPr>
            <a:r>
              <a:rPr lang="zh-CN" altLang="de-DE" sz="1000" b="1" dirty="0">
                <a:solidFill>
                  <a:schemeClr val="tx1"/>
                </a:solidFill>
                <a:latin typeface="微软雅黑" pitchFamily="34" charset="-122"/>
                <a:ea typeface="微软雅黑" pitchFamily="34" charset="-122"/>
              </a:rPr>
              <a:t>技能要求</a:t>
            </a:r>
            <a:endParaRPr lang="en-US" altLang="en-US" sz="1000" b="1" dirty="0">
              <a:solidFill>
                <a:schemeClr val="tx1"/>
              </a:solidFill>
              <a:latin typeface="微软雅黑" pitchFamily="34" charset="-122"/>
              <a:ea typeface="微软雅黑" pitchFamily="34" charset="-122"/>
            </a:endParaRPr>
          </a:p>
        </p:txBody>
      </p:sp>
      <p:sp>
        <p:nvSpPr>
          <p:cNvPr id="7213" name="Line 31"/>
          <p:cNvSpPr>
            <a:spLocks noChangeShapeType="1"/>
          </p:cNvSpPr>
          <p:nvPr/>
        </p:nvSpPr>
        <p:spPr bwMode="auto">
          <a:xfrm flipV="1">
            <a:off x="1380785" y="2185991"/>
            <a:ext cx="0" cy="962025"/>
          </a:xfrm>
          <a:prstGeom prst="line">
            <a:avLst/>
          </a:prstGeom>
          <a:noFill/>
          <a:ln w="9525">
            <a:solidFill>
              <a:schemeClr val="tx1"/>
            </a:solidFill>
            <a:round/>
            <a:headEnd/>
            <a:tailEnd type="triangle" w="med" len="med"/>
          </a:ln>
        </p:spPr>
        <p:txBody>
          <a:bodyPr/>
          <a:lstStyle/>
          <a:p>
            <a:endParaRPr lang="en-US">
              <a:latin typeface="微软雅黑" pitchFamily="34" charset="-122"/>
              <a:ea typeface="微软雅黑" pitchFamily="34" charset="-122"/>
            </a:endParaRPr>
          </a:p>
        </p:txBody>
      </p:sp>
      <p:sp>
        <p:nvSpPr>
          <p:cNvPr id="7214" name="Line 40"/>
          <p:cNvSpPr>
            <a:spLocks noChangeShapeType="1"/>
          </p:cNvSpPr>
          <p:nvPr/>
        </p:nvSpPr>
        <p:spPr bwMode="auto">
          <a:xfrm flipH="1" flipV="1">
            <a:off x="3403256" y="1924053"/>
            <a:ext cx="1560795" cy="9525"/>
          </a:xfrm>
          <a:prstGeom prst="line">
            <a:avLst/>
          </a:prstGeom>
          <a:noFill/>
          <a:ln w="9525">
            <a:solidFill>
              <a:schemeClr val="tx1"/>
            </a:solidFill>
            <a:round/>
            <a:headEnd type="triangle" w="med" len="med"/>
            <a:tailEnd/>
          </a:ln>
        </p:spPr>
        <p:txBody>
          <a:bodyPr>
            <a:spAutoFit/>
          </a:bodyPr>
          <a:lstStyle/>
          <a:p>
            <a:endParaRPr lang="en-US">
              <a:solidFill>
                <a:schemeClr val="tx1"/>
              </a:solidFill>
              <a:latin typeface="微软雅黑" pitchFamily="34" charset="-122"/>
              <a:ea typeface="微软雅黑" pitchFamily="34" charset="-122"/>
            </a:endParaRPr>
          </a:p>
        </p:txBody>
      </p:sp>
      <p:sp>
        <p:nvSpPr>
          <p:cNvPr id="7215" name="Line 40"/>
          <p:cNvSpPr>
            <a:spLocks noChangeShapeType="1"/>
          </p:cNvSpPr>
          <p:nvPr/>
        </p:nvSpPr>
        <p:spPr bwMode="auto">
          <a:xfrm rot="5400000" flipH="1" flipV="1">
            <a:off x="1751603" y="2751666"/>
            <a:ext cx="800100" cy="8471"/>
          </a:xfrm>
          <a:prstGeom prst="line">
            <a:avLst/>
          </a:prstGeom>
          <a:noFill/>
          <a:ln w="9525">
            <a:solidFill>
              <a:schemeClr val="tx1"/>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216" name="Line 30"/>
          <p:cNvSpPr>
            <a:spLocks noChangeShapeType="1"/>
          </p:cNvSpPr>
          <p:nvPr/>
        </p:nvSpPr>
        <p:spPr bwMode="auto">
          <a:xfrm>
            <a:off x="2145301" y="2355850"/>
            <a:ext cx="650154" cy="0"/>
          </a:xfrm>
          <a:prstGeom prst="line">
            <a:avLst/>
          </a:prstGeom>
          <a:noFill/>
          <a:ln w="9525">
            <a:solidFill>
              <a:schemeClr val="tx1"/>
            </a:solidFill>
            <a:round/>
            <a:headEnd/>
            <a:tailEnd/>
          </a:ln>
        </p:spPr>
        <p:txBody>
          <a:bodyPr/>
          <a:lstStyle/>
          <a:p>
            <a:endParaRPr lang="en-US">
              <a:solidFill>
                <a:schemeClr val="tx1"/>
              </a:solidFill>
              <a:latin typeface="微软雅黑" pitchFamily="34" charset="-122"/>
              <a:ea typeface="微软雅黑" pitchFamily="34" charset="-122"/>
            </a:endParaRPr>
          </a:p>
        </p:txBody>
      </p:sp>
      <p:sp>
        <p:nvSpPr>
          <p:cNvPr id="7217" name="Line 29"/>
          <p:cNvSpPr>
            <a:spLocks noChangeShapeType="1"/>
          </p:cNvSpPr>
          <p:nvPr/>
        </p:nvSpPr>
        <p:spPr bwMode="auto">
          <a:xfrm flipH="1">
            <a:off x="4299074" y="2355850"/>
            <a:ext cx="664979" cy="0"/>
          </a:xfrm>
          <a:prstGeom prst="line">
            <a:avLst/>
          </a:prstGeom>
          <a:noFill/>
          <a:ln w="9525">
            <a:solidFill>
              <a:schemeClr val="tx1"/>
            </a:solidFill>
            <a:round/>
            <a:headEnd/>
            <a:tailEnd type="triangle" w="med" len="med"/>
          </a:ln>
        </p:spPr>
        <p:txBody>
          <a:bodyPr/>
          <a:lstStyle/>
          <a:p>
            <a:endParaRPr lang="en-US">
              <a:solidFill>
                <a:schemeClr val="tx1"/>
              </a:solidFill>
              <a:latin typeface="微软雅黑" pitchFamily="34" charset="-122"/>
              <a:ea typeface="微软雅黑" pitchFamily="34" charset="-122"/>
            </a:endParaRPr>
          </a:p>
        </p:txBody>
      </p:sp>
      <p:sp>
        <p:nvSpPr>
          <p:cNvPr id="7218" name="Text Box 50"/>
          <p:cNvSpPr txBox="1">
            <a:spLocks noChangeArrowheads="1"/>
          </p:cNvSpPr>
          <p:nvPr>
            <p:custDataLst>
              <p:tags r:id="rId3"/>
            </p:custDataLst>
          </p:nvPr>
        </p:nvSpPr>
        <p:spPr bwMode="auto">
          <a:xfrm>
            <a:off x="9061937" y="1554166"/>
            <a:ext cx="2486261" cy="625475"/>
          </a:xfrm>
          <a:prstGeom prst="rect">
            <a:avLst/>
          </a:prstGeom>
          <a:solidFill>
            <a:srgbClr val="DDDDDD"/>
          </a:solidFill>
          <a:ln w="15875" algn="ctr">
            <a:solidFill>
              <a:srgbClr val="5F5F5F"/>
            </a:solidFill>
            <a:miter lim="800000"/>
            <a:headEnd/>
            <a:tailEnd/>
          </a:ln>
        </p:spPr>
        <p:txBody>
          <a:bodyPr lIns="0" tIns="0" rIns="0" bIns="0">
            <a:spAutoFit/>
          </a:bodyPr>
          <a:lstStyle/>
          <a:p>
            <a:pPr marL="180975" indent="-180975" algn="ctr" defTabSz="762000">
              <a:spcBef>
                <a:spcPct val="0"/>
              </a:spcBef>
              <a:buFont typeface="Wingdings" pitchFamily="2" charset="2"/>
              <a:buChar char="§"/>
              <a:tabLst>
                <a:tab pos="809625" algn="l"/>
              </a:tabLst>
            </a:pPr>
            <a:r>
              <a:rPr lang="zh-CN" altLang="de-DE" sz="1000" b="1" dirty="0">
                <a:solidFill>
                  <a:schemeClr val="tx1"/>
                </a:solidFill>
                <a:latin typeface="微软雅黑" pitchFamily="34" charset="-122"/>
                <a:ea typeface="微软雅黑" pitchFamily="34" charset="-122"/>
              </a:rPr>
              <a:t>生产工单</a:t>
            </a:r>
          </a:p>
          <a:p>
            <a:pPr marL="180975" indent="-180975" algn="ctr" defTabSz="762000">
              <a:spcBef>
                <a:spcPct val="0"/>
              </a:spcBef>
              <a:buFont typeface="Wingdings" pitchFamily="2" charset="2"/>
              <a:buChar char="§"/>
              <a:tabLst>
                <a:tab pos="809625" algn="l"/>
              </a:tabLst>
            </a:pPr>
            <a:r>
              <a:rPr lang="zh-CN" altLang="de-DE" sz="1000" b="1" dirty="0">
                <a:solidFill>
                  <a:schemeClr val="tx1"/>
                </a:solidFill>
                <a:latin typeface="微软雅黑" pitchFamily="34" charset="-122"/>
                <a:ea typeface="微软雅黑" pitchFamily="34" charset="-122"/>
              </a:rPr>
              <a:t>物料组件</a:t>
            </a:r>
          </a:p>
          <a:p>
            <a:pPr marL="180975" indent="-180975" algn="ctr" defTabSz="762000">
              <a:spcBef>
                <a:spcPct val="0"/>
              </a:spcBef>
              <a:buFont typeface="Wingdings" pitchFamily="2" charset="2"/>
              <a:buChar char="§"/>
              <a:tabLst>
                <a:tab pos="809625" algn="l"/>
              </a:tabLst>
            </a:pPr>
            <a:r>
              <a:rPr lang="zh-CN" altLang="de-DE" sz="1000" b="1" dirty="0">
                <a:solidFill>
                  <a:schemeClr val="tx1"/>
                </a:solidFill>
                <a:latin typeface="微软雅黑" pitchFamily="34" charset="-122"/>
                <a:ea typeface="微软雅黑" pitchFamily="34" charset="-122"/>
              </a:rPr>
              <a:t>技能要求</a:t>
            </a:r>
          </a:p>
          <a:p>
            <a:pPr marL="180975" indent="-180975" algn="ctr" defTabSz="762000">
              <a:spcBef>
                <a:spcPct val="0"/>
              </a:spcBef>
              <a:buFont typeface="Wingdings" pitchFamily="2" charset="2"/>
              <a:buChar char="§"/>
              <a:tabLst>
                <a:tab pos="809625" algn="l"/>
              </a:tabLst>
            </a:pPr>
            <a:r>
              <a:rPr lang="zh-CN" altLang="de-DE" sz="1000" b="1" dirty="0">
                <a:solidFill>
                  <a:schemeClr val="tx1"/>
                </a:solidFill>
                <a:latin typeface="微软雅黑" pitchFamily="34" charset="-122"/>
                <a:ea typeface="微软雅黑" pitchFamily="34" charset="-122"/>
              </a:rPr>
              <a:t>计划维护</a:t>
            </a:r>
            <a:endParaRPr lang="en-US" altLang="en-US" sz="1000" b="1" dirty="0">
              <a:solidFill>
                <a:schemeClr val="tx1"/>
              </a:solidFill>
              <a:latin typeface="微软雅黑" pitchFamily="34" charset="-122"/>
              <a:ea typeface="微软雅黑" pitchFamily="34" charset="-122"/>
            </a:endParaRPr>
          </a:p>
        </p:txBody>
      </p:sp>
      <p:sp>
        <p:nvSpPr>
          <p:cNvPr id="7219" name="Text Box 51"/>
          <p:cNvSpPr txBox="1">
            <a:spLocks noChangeArrowheads="1"/>
          </p:cNvSpPr>
          <p:nvPr>
            <p:custDataLst>
              <p:tags r:id="rId4"/>
            </p:custDataLst>
          </p:nvPr>
        </p:nvSpPr>
        <p:spPr bwMode="auto">
          <a:xfrm>
            <a:off x="8532494" y="2259016"/>
            <a:ext cx="1615857" cy="307777"/>
          </a:xfrm>
          <a:prstGeom prst="rect">
            <a:avLst/>
          </a:prstGeom>
          <a:solidFill>
            <a:srgbClr val="DDDDDD"/>
          </a:solidFill>
          <a:ln w="15875" algn="ctr">
            <a:solidFill>
              <a:srgbClr val="5F5F5F"/>
            </a:solidFill>
            <a:miter lim="800000"/>
            <a:headEnd/>
            <a:tailEnd/>
          </a:ln>
        </p:spPr>
        <p:txBody>
          <a:bodyPr lIns="0" tIns="0" rIns="0" bIns="0">
            <a:spAutoFit/>
          </a:bodyPr>
          <a:lstStyle/>
          <a:p>
            <a:pPr marL="180975" indent="-180975" algn="l" defTabSz="762000">
              <a:spcBef>
                <a:spcPct val="0"/>
              </a:spcBef>
              <a:buFont typeface="Wingdings" pitchFamily="2" charset="2"/>
              <a:buChar char="§"/>
              <a:tabLst>
                <a:tab pos="809625" algn="l"/>
              </a:tabLst>
            </a:pPr>
            <a:r>
              <a:rPr lang="zh-CN" altLang="en-US" sz="1000" b="1">
                <a:solidFill>
                  <a:schemeClr val="tx1"/>
                </a:solidFill>
                <a:latin typeface="微软雅黑" pitchFamily="34" charset="-122"/>
                <a:ea typeface="微软雅黑" pitchFamily="34" charset="-122"/>
              </a:rPr>
              <a:t>生产消耗</a:t>
            </a:r>
          </a:p>
          <a:p>
            <a:pPr marL="180975" indent="-180975" algn="l" defTabSz="762000">
              <a:spcBef>
                <a:spcPct val="0"/>
              </a:spcBef>
              <a:buFont typeface="Wingdings" pitchFamily="2" charset="2"/>
              <a:buChar char="§"/>
              <a:tabLst>
                <a:tab pos="809625" algn="l"/>
              </a:tabLst>
            </a:pPr>
            <a:r>
              <a:rPr lang="zh-CN" altLang="en-US" sz="1000" b="1">
                <a:solidFill>
                  <a:schemeClr val="tx1"/>
                </a:solidFill>
                <a:latin typeface="微软雅黑" pitchFamily="34" charset="-122"/>
                <a:ea typeface="微软雅黑" pitchFamily="34" charset="-122"/>
              </a:rPr>
              <a:t>非计划停机</a:t>
            </a:r>
            <a:endParaRPr lang="en-US" altLang="en-US" sz="1000" b="1">
              <a:solidFill>
                <a:schemeClr val="tx1"/>
              </a:solidFill>
              <a:latin typeface="微软雅黑" pitchFamily="34" charset="-122"/>
              <a:ea typeface="微软雅黑" pitchFamily="34" charset="-122"/>
            </a:endParaRPr>
          </a:p>
        </p:txBody>
      </p:sp>
      <p:sp>
        <p:nvSpPr>
          <p:cNvPr id="7220" name="Line 40"/>
          <p:cNvSpPr>
            <a:spLocks noChangeShapeType="1"/>
          </p:cNvSpPr>
          <p:nvPr/>
        </p:nvSpPr>
        <p:spPr bwMode="auto">
          <a:xfrm rot="5400000" flipH="1" flipV="1">
            <a:off x="10681752" y="2658531"/>
            <a:ext cx="968375" cy="10590"/>
          </a:xfrm>
          <a:prstGeom prst="line">
            <a:avLst/>
          </a:prstGeom>
          <a:noFill/>
          <a:ln w="9525">
            <a:solidFill>
              <a:schemeClr val="tx1"/>
            </a:solidFill>
            <a:round/>
            <a:headEnd type="triangle" w="med" len="med"/>
            <a:tailEnd/>
          </a:ln>
        </p:spPr>
        <p:txBody>
          <a:bodyPr>
            <a:spAutoFit/>
          </a:bodyPr>
          <a:lstStyle/>
          <a:p>
            <a:endParaRPr lang="en-US">
              <a:latin typeface="微软雅黑" pitchFamily="34" charset="-122"/>
              <a:ea typeface="微软雅黑" pitchFamily="34" charset="-122"/>
            </a:endParaRPr>
          </a:p>
        </p:txBody>
      </p:sp>
      <p:sp>
        <p:nvSpPr>
          <p:cNvPr id="7221" name="Line 26"/>
          <p:cNvSpPr>
            <a:spLocks noChangeShapeType="1"/>
          </p:cNvSpPr>
          <p:nvPr/>
        </p:nvSpPr>
        <p:spPr bwMode="auto">
          <a:xfrm>
            <a:off x="10724383" y="2413003"/>
            <a:ext cx="0" cy="766763"/>
          </a:xfrm>
          <a:prstGeom prst="line">
            <a:avLst/>
          </a:prstGeom>
          <a:noFill/>
          <a:ln w="9525">
            <a:solidFill>
              <a:schemeClr val="tx1"/>
            </a:solidFill>
            <a:round/>
            <a:headEnd/>
            <a:tailEnd/>
          </a:ln>
        </p:spPr>
        <p:txBody>
          <a:bodyPr/>
          <a:lstStyle/>
          <a:p>
            <a:endParaRPr lang="en-US">
              <a:latin typeface="微软雅黑" pitchFamily="34" charset="-122"/>
              <a:ea typeface="微软雅黑" pitchFamily="34" charset="-122"/>
            </a:endParaRPr>
          </a:p>
        </p:txBody>
      </p:sp>
      <p:sp>
        <p:nvSpPr>
          <p:cNvPr id="7222" name="Line 29"/>
          <p:cNvSpPr>
            <a:spLocks noChangeShapeType="1"/>
          </p:cNvSpPr>
          <p:nvPr/>
        </p:nvSpPr>
        <p:spPr bwMode="auto">
          <a:xfrm flipH="1">
            <a:off x="10148351" y="2413000"/>
            <a:ext cx="576033" cy="0"/>
          </a:xfrm>
          <a:prstGeom prst="line">
            <a:avLst/>
          </a:prstGeom>
          <a:noFill/>
          <a:ln w="9525">
            <a:solidFill>
              <a:schemeClr val="tx1"/>
            </a:solidFill>
            <a:round/>
            <a:headEnd/>
            <a:tailEnd type="triangle" w="med" len="med"/>
          </a:ln>
        </p:spPr>
        <p:txBody>
          <a:bodyPr/>
          <a:lstStyle/>
          <a:p>
            <a:endParaRPr lang="en-US">
              <a:solidFill>
                <a:schemeClr val="tx1"/>
              </a:solidFill>
              <a:latin typeface="微软雅黑" pitchFamily="34" charset="-122"/>
              <a:ea typeface="微软雅黑" pitchFamily="34" charset="-122"/>
            </a:endParaRPr>
          </a:p>
        </p:txBody>
      </p:sp>
      <p:sp>
        <p:nvSpPr>
          <p:cNvPr id="7223" name="Line 29"/>
          <p:cNvSpPr>
            <a:spLocks noChangeShapeType="1"/>
          </p:cNvSpPr>
          <p:nvPr/>
        </p:nvSpPr>
        <p:spPr bwMode="auto">
          <a:xfrm flipH="1">
            <a:off x="7505376" y="2355850"/>
            <a:ext cx="1020765" cy="0"/>
          </a:xfrm>
          <a:prstGeom prst="line">
            <a:avLst/>
          </a:prstGeom>
          <a:noFill/>
          <a:ln w="9525">
            <a:solidFill>
              <a:schemeClr val="tx1"/>
            </a:solidFill>
            <a:round/>
            <a:headEnd/>
            <a:tailEnd type="triangle" w="med" len="med"/>
          </a:ln>
        </p:spPr>
        <p:txBody>
          <a:bodyPr/>
          <a:lstStyle/>
          <a:p>
            <a:endParaRPr lang="en-US">
              <a:solidFill>
                <a:schemeClr val="tx1"/>
              </a:solidFill>
              <a:latin typeface="微软雅黑" pitchFamily="34" charset="-122"/>
              <a:ea typeface="微软雅黑" pitchFamily="34" charset="-122"/>
            </a:endParaRPr>
          </a:p>
        </p:txBody>
      </p:sp>
      <p:sp>
        <p:nvSpPr>
          <p:cNvPr id="7224" name="Line 40"/>
          <p:cNvSpPr>
            <a:spLocks noChangeShapeType="1"/>
          </p:cNvSpPr>
          <p:nvPr/>
        </p:nvSpPr>
        <p:spPr bwMode="auto">
          <a:xfrm flipH="1" flipV="1">
            <a:off x="7594320" y="1924050"/>
            <a:ext cx="1425259" cy="7938"/>
          </a:xfrm>
          <a:prstGeom prst="line">
            <a:avLst/>
          </a:prstGeom>
          <a:noFill/>
          <a:ln w="9525">
            <a:solidFill>
              <a:schemeClr val="tx1"/>
            </a:solidFill>
            <a:round/>
            <a:headEnd type="triangle" w="med" len="med"/>
            <a:tailEnd/>
          </a:ln>
        </p:spPr>
        <p:txBody>
          <a:bodyPr>
            <a:spAutoFit/>
          </a:bodyPr>
          <a:lstStyle/>
          <a:p>
            <a:endParaRPr lang="en-US">
              <a:solidFill>
                <a:schemeClr val="tx1"/>
              </a:solidFill>
              <a:latin typeface="微软雅黑" pitchFamily="34" charset="-122"/>
              <a:ea typeface="微软雅黑" pitchFamily="34" charset="-122"/>
            </a:endParaRPr>
          </a:p>
        </p:txBody>
      </p:sp>
      <p:sp>
        <p:nvSpPr>
          <p:cNvPr id="7226" name="Text Box 39"/>
          <p:cNvSpPr txBox="1">
            <a:spLocks noChangeArrowheads="1"/>
          </p:cNvSpPr>
          <p:nvPr/>
        </p:nvSpPr>
        <p:spPr bwMode="auto">
          <a:xfrm>
            <a:off x="4968288" y="4573591"/>
            <a:ext cx="2471437" cy="274637"/>
          </a:xfrm>
          <a:prstGeom prst="rect">
            <a:avLst/>
          </a:prstGeom>
          <a:noFill/>
          <a:ln w="9525">
            <a:noFill/>
            <a:miter lim="800000"/>
            <a:headEnd/>
            <a:tailEnd/>
          </a:ln>
        </p:spPr>
        <p:txBody>
          <a:bodyPr>
            <a:spAutoFit/>
          </a:bodyPr>
          <a:lstStyle/>
          <a:p>
            <a:r>
              <a:rPr lang="en-US" altLang="zh-CN" sz="1200" b="1">
                <a:solidFill>
                  <a:schemeClr val="tx1"/>
                </a:solidFill>
                <a:latin typeface="微软雅黑" pitchFamily="34" charset="-122"/>
                <a:ea typeface="微软雅黑" pitchFamily="34" charset="-122"/>
                <a:sym typeface="Times New Roman" pitchFamily="18" charset="0"/>
              </a:rPr>
              <a:t>“As Built”</a:t>
            </a:r>
          </a:p>
        </p:txBody>
      </p:sp>
      <p:sp>
        <p:nvSpPr>
          <p:cNvPr id="7227" name="Oval 59"/>
          <p:cNvSpPr>
            <a:spLocks noChangeArrowheads="1"/>
          </p:cNvSpPr>
          <p:nvPr/>
        </p:nvSpPr>
        <p:spPr bwMode="auto">
          <a:xfrm>
            <a:off x="8894632" y="3343278"/>
            <a:ext cx="955115" cy="1939925"/>
          </a:xfrm>
          <a:prstGeom prst="ellipse">
            <a:avLst/>
          </a:prstGeom>
          <a:noFill/>
          <a:ln w="19050" cap="rnd" algn="ctr">
            <a:solidFill>
              <a:srgbClr val="FF0000"/>
            </a:solidFill>
            <a:prstDash val="sysDot"/>
            <a:round/>
            <a:headEnd/>
            <a:tailEnd/>
          </a:ln>
        </p:spPr>
        <p:txBody>
          <a:bodyPr wrap="none" lIns="36000" tIns="0" rIns="36000" bIns="0" anchor="ctr"/>
          <a:lstStyle/>
          <a:p>
            <a:pPr algn="l">
              <a:spcBef>
                <a:spcPct val="0"/>
              </a:spcBef>
            </a:pPr>
            <a:endParaRPr lang="en-US" altLang="zh-CN" sz="1000" b="1">
              <a:latin typeface="微软雅黑" pitchFamily="34" charset="-122"/>
              <a:ea typeface="微软雅黑" pitchFamily="34" charset="-122"/>
            </a:endParaRPr>
          </a:p>
        </p:txBody>
      </p:sp>
      <p:sp>
        <p:nvSpPr>
          <p:cNvPr id="2" name="Title 1"/>
          <p:cNvSpPr>
            <a:spLocks noGrp="1"/>
          </p:cNvSpPr>
          <p:nvPr>
            <p:ph type="title"/>
          </p:nvPr>
        </p:nvSpPr>
        <p:spPr/>
        <p:txBody>
          <a:bodyPr/>
          <a:lstStyle/>
          <a:p>
            <a:r>
              <a:rPr lang="en-US" altLang="zh-CN" dirty="0" smtClean="0">
                <a:latin typeface="Times New Roman" panose="02020603050405020304" pitchFamily="18" charset="0"/>
                <a:ea typeface="华文楷体" panose="02010600040101010101" pitchFamily="2" charset="-122"/>
                <a:cs typeface="Times New Roman" panose="02020603050405020304" pitchFamily="18" charset="0"/>
              </a:rPr>
              <a:t>PLM/ERP/MES</a:t>
            </a:r>
            <a:r>
              <a:rPr lang="zh-CN" altLang="en-US" dirty="0" smtClean="0">
                <a:latin typeface="Times New Roman" panose="02020603050405020304" pitchFamily="18" charset="0"/>
                <a:ea typeface="华文楷体" panose="02010600040101010101" pitchFamily="2" charset="-122"/>
                <a:cs typeface="Times New Roman" panose="02020603050405020304" pitchFamily="18" charset="0"/>
              </a:rPr>
              <a:t>集</a:t>
            </a:r>
            <a:r>
              <a:rPr lang="zh-CN" altLang="en-US" dirty="0">
                <a:latin typeface="Times New Roman" panose="02020603050405020304" pitchFamily="18" charset="0"/>
                <a:ea typeface="华文楷体" panose="02010600040101010101" pitchFamily="2" charset="-122"/>
                <a:cs typeface="Times New Roman" panose="02020603050405020304" pitchFamily="18" charset="0"/>
              </a:rPr>
              <a:t>成</a:t>
            </a:r>
            <a:endParaRPr lang="en-US" dirty="0">
              <a:latin typeface="Times New Roman" panose="02020603050405020304" pitchFamily="18" charset="0"/>
              <a:ea typeface="华文楷体" panose="02010600040101010101" pitchFamily="2" charset="-122"/>
              <a:cs typeface="Times New Roman" panose="02020603050405020304" pitchFamily="18" charset="0"/>
            </a:endParaRPr>
          </a:p>
        </p:txBody>
      </p:sp>
    </p:spTree>
    <p:extLst>
      <p:ext uri="{BB962C8B-B14F-4D97-AF65-F5344CB8AC3E}">
        <p14:creationId xmlns:p14="http://schemas.microsoft.com/office/powerpoint/2010/main" val="410466734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hteck 44"/>
          <p:cNvSpPr/>
          <p:nvPr/>
        </p:nvSpPr>
        <p:spPr bwMode="auto">
          <a:xfrm>
            <a:off x="715806" y="1407600"/>
            <a:ext cx="10955220" cy="4758250"/>
          </a:xfrm>
          <a:prstGeom prst="rect">
            <a:avLst/>
          </a:prstGeom>
          <a:solidFill>
            <a:srgbClr val="EBF0F5"/>
          </a:solidFill>
          <a:ln w="12700">
            <a:solidFill>
              <a:srgbClr val="879BA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latin typeface="微软雅黑" panose="020B0503020204020204" pitchFamily="34" charset="-122"/>
              <a:ea typeface="微软雅黑" panose="020B0503020204020204" pitchFamily="34" charset="-122"/>
            </a:endParaRPr>
          </a:p>
        </p:txBody>
      </p:sp>
      <p:sp>
        <p:nvSpPr>
          <p:cNvPr id="44" name="Freihandform 43"/>
          <p:cNvSpPr/>
          <p:nvPr/>
        </p:nvSpPr>
        <p:spPr bwMode="auto">
          <a:xfrm>
            <a:off x="1458021" y="2170119"/>
            <a:ext cx="9303456" cy="2959872"/>
          </a:xfrm>
          <a:custGeom>
            <a:avLst/>
            <a:gdLst>
              <a:gd name="connsiteX0" fmla="*/ 0 w 6952891"/>
              <a:gd name="connsiteY0" fmla="*/ 2009955 h 2622431"/>
              <a:gd name="connsiteX1" fmla="*/ 2631057 w 6952891"/>
              <a:gd name="connsiteY1" fmla="*/ 2622431 h 2622431"/>
              <a:gd name="connsiteX2" fmla="*/ 6297283 w 6952891"/>
              <a:gd name="connsiteY2" fmla="*/ 224287 h 2622431"/>
              <a:gd name="connsiteX3" fmla="*/ 6952891 w 6952891"/>
              <a:gd name="connsiteY3" fmla="*/ 405442 h 2622431"/>
              <a:gd name="connsiteX4" fmla="*/ 6650966 w 6952891"/>
              <a:gd name="connsiteY4" fmla="*/ 8627 h 2622431"/>
              <a:gd name="connsiteX5" fmla="*/ 5339751 w 6952891"/>
              <a:gd name="connsiteY5" fmla="*/ 0 h 2622431"/>
              <a:gd name="connsiteX6" fmla="*/ 5805578 w 6952891"/>
              <a:gd name="connsiteY6" fmla="*/ 112144 h 2622431"/>
              <a:gd name="connsiteX7" fmla="*/ 0 w 6952891"/>
              <a:gd name="connsiteY7" fmla="*/ 2009955 h 2622431"/>
              <a:gd name="connsiteX0" fmla="*/ 0 w 6952891"/>
              <a:gd name="connsiteY0" fmla="*/ 2009955 h 2622431"/>
              <a:gd name="connsiteX1" fmla="*/ 2631057 w 6952891"/>
              <a:gd name="connsiteY1" fmla="*/ 2622431 h 2622431"/>
              <a:gd name="connsiteX2" fmla="*/ 6297283 w 6952891"/>
              <a:gd name="connsiteY2" fmla="*/ 224287 h 2622431"/>
              <a:gd name="connsiteX3" fmla="*/ 6952891 w 6952891"/>
              <a:gd name="connsiteY3" fmla="*/ 405442 h 2622431"/>
              <a:gd name="connsiteX4" fmla="*/ 6445379 w 6952891"/>
              <a:gd name="connsiteY4" fmla="*/ 20901 h 2622431"/>
              <a:gd name="connsiteX5" fmla="*/ 5339751 w 6952891"/>
              <a:gd name="connsiteY5" fmla="*/ 0 h 2622431"/>
              <a:gd name="connsiteX6" fmla="*/ 5805578 w 6952891"/>
              <a:gd name="connsiteY6" fmla="*/ 112144 h 2622431"/>
              <a:gd name="connsiteX7" fmla="*/ 0 w 6952891"/>
              <a:gd name="connsiteY7" fmla="*/ 2009955 h 2622431"/>
              <a:gd name="connsiteX0" fmla="*/ 0 w 6971302"/>
              <a:gd name="connsiteY0" fmla="*/ 2009955 h 2622431"/>
              <a:gd name="connsiteX1" fmla="*/ 2631057 w 6971302"/>
              <a:gd name="connsiteY1" fmla="*/ 2622431 h 2622431"/>
              <a:gd name="connsiteX2" fmla="*/ 6297283 w 6971302"/>
              <a:gd name="connsiteY2" fmla="*/ 224287 h 2622431"/>
              <a:gd name="connsiteX3" fmla="*/ 6971302 w 6971302"/>
              <a:gd name="connsiteY3" fmla="*/ 396237 h 2622431"/>
              <a:gd name="connsiteX4" fmla="*/ 6445379 w 6971302"/>
              <a:gd name="connsiteY4" fmla="*/ 20901 h 2622431"/>
              <a:gd name="connsiteX5" fmla="*/ 5339751 w 6971302"/>
              <a:gd name="connsiteY5" fmla="*/ 0 h 2622431"/>
              <a:gd name="connsiteX6" fmla="*/ 5805578 w 6971302"/>
              <a:gd name="connsiteY6" fmla="*/ 112144 h 2622431"/>
              <a:gd name="connsiteX7" fmla="*/ 0 w 6971302"/>
              <a:gd name="connsiteY7" fmla="*/ 2009955 h 2622431"/>
              <a:gd name="connsiteX0" fmla="*/ 0 w 6971302"/>
              <a:gd name="connsiteY0" fmla="*/ 1989054 h 2601530"/>
              <a:gd name="connsiteX1" fmla="*/ 2631057 w 6971302"/>
              <a:gd name="connsiteY1" fmla="*/ 2601530 h 2601530"/>
              <a:gd name="connsiteX2" fmla="*/ 6297283 w 6971302"/>
              <a:gd name="connsiteY2" fmla="*/ 203386 h 2601530"/>
              <a:gd name="connsiteX3" fmla="*/ 6971302 w 6971302"/>
              <a:gd name="connsiteY3" fmla="*/ 375336 h 2601530"/>
              <a:gd name="connsiteX4" fmla="*/ 6445379 w 6971302"/>
              <a:gd name="connsiteY4" fmla="*/ 0 h 2601530"/>
              <a:gd name="connsiteX5" fmla="*/ 5416463 w 6971302"/>
              <a:gd name="connsiteY5" fmla="*/ 3646 h 2601530"/>
              <a:gd name="connsiteX6" fmla="*/ 5805578 w 6971302"/>
              <a:gd name="connsiteY6" fmla="*/ 91243 h 2601530"/>
              <a:gd name="connsiteX7" fmla="*/ 0 w 6971302"/>
              <a:gd name="connsiteY7" fmla="*/ 1989054 h 2601530"/>
              <a:gd name="connsiteX0" fmla="*/ 0 w 6971302"/>
              <a:gd name="connsiteY0" fmla="*/ 2003819 h 2616295"/>
              <a:gd name="connsiteX1" fmla="*/ 2631057 w 6971302"/>
              <a:gd name="connsiteY1" fmla="*/ 2616295 h 2616295"/>
              <a:gd name="connsiteX2" fmla="*/ 6297283 w 6971302"/>
              <a:gd name="connsiteY2" fmla="*/ 218151 h 2616295"/>
              <a:gd name="connsiteX3" fmla="*/ 6971302 w 6971302"/>
              <a:gd name="connsiteY3" fmla="*/ 390101 h 2616295"/>
              <a:gd name="connsiteX4" fmla="*/ 6445379 w 6971302"/>
              <a:gd name="connsiteY4" fmla="*/ 14765 h 2616295"/>
              <a:gd name="connsiteX5" fmla="*/ 5327478 w 6971302"/>
              <a:gd name="connsiteY5" fmla="*/ 0 h 2616295"/>
              <a:gd name="connsiteX6" fmla="*/ 5805578 w 6971302"/>
              <a:gd name="connsiteY6" fmla="*/ 106008 h 2616295"/>
              <a:gd name="connsiteX7" fmla="*/ 0 w 6971302"/>
              <a:gd name="connsiteY7" fmla="*/ 2003819 h 2616295"/>
              <a:gd name="connsiteX0" fmla="*/ 0 w 6971302"/>
              <a:gd name="connsiteY0" fmla="*/ 2003819 h 2616295"/>
              <a:gd name="connsiteX1" fmla="*/ 2631057 w 6971302"/>
              <a:gd name="connsiteY1" fmla="*/ 2616295 h 2616295"/>
              <a:gd name="connsiteX2" fmla="*/ 6297283 w 6971302"/>
              <a:gd name="connsiteY2" fmla="*/ 218151 h 2616295"/>
              <a:gd name="connsiteX3" fmla="*/ 6971302 w 6971302"/>
              <a:gd name="connsiteY3" fmla="*/ 390101 h 2616295"/>
              <a:gd name="connsiteX4" fmla="*/ 6365599 w 6971302"/>
              <a:gd name="connsiteY4" fmla="*/ 39313 h 2616295"/>
              <a:gd name="connsiteX5" fmla="*/ 5327478 w 6971302"/>
              <a:gd name="connsiteY5" fmla="*/ 0 h 2616295"/>
              <a:gd name="connsiteX6" fmla="*/ 5805578 w 6971302"/>
              <a:gd name="connsiteY6" fmla="*/ 106008 h 2616295"/>
              <a:gd name="connsiteX7" fmla="*/ 0 w 6971302"/>
              <a:gd name="connsiteY7" fmla="*/ 2003819 h 2616295"/>
              <a:gd name="connsiteX0" fmla="*/ 0 w 6971302"/>
              <a:gd name="connsiteY0" fmla="*/ 2003819 h 2616295"/>
              <a:gd name="connsiteX1" fmla="*/ 2631057 w 6971302"/>
              <a:gd name="connsiteY1" fmla="*/ 2616295 h 2616295"/>
              <a:gd name="connsiteX2" fmla="*/ 6297283 w 6971302"/>
              <a:gd name="connsiteY2" fmla="*/ 218151 h 2616295"/>
              <a:gd name="connsiteX3" fmla="*/ 6971302 w 6971302"/>
              <a:gd name="connsiteY3" fmla="*/ 390101 h 2616295"/>
              <a:gd name="connsiteX4" fmla="*/ 6248998 w 6971302"/>
              <a:gd name="connsiteY4" fmla="*/ 125230 h 2616295"/>
              <a:gd name="connsiteX5" fmla="*/ 5327478 w 6971302"/>
              <a:gd name="connsiteY5" fmla="*/ 0 h 2616295"/>
              <a:gd name="connsiteX6" fmla="*/ 5805578 w 6971302"/>
              <a:gd name="connsiteY6" fmla="*/ 106008 h 2616295"/>
              <a:gd name="connsiteX7" fmla="*/ 0 w 6971302"/>
              <a:gd name="connsiteY7" fmla="*/ 2003819 h 2616295"/>
              <a:gd name="connsiteX0" fmla="*/ 0 w 6971302"/>
              <a:gd name="connsiteY0" fmla="*/ 2004396 h 2616872"/>
              <a:gd name="connsiteX1" fmla="*/ 2631057 w 6971302"/>
              <a:gd name="connsiteY1" fmla="*/ 2616872 h 2616872"/>
              <a:gd name="connsiteX2" fmla="*/ 6297283 w 6971302"/>
              <a:gd name="connsiteY2" fmla="*/ 218728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340242 w 6971302"/>
              <a:gd name="connsiteY2" fmla="*/ 120537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312626 w 6971302"/>
              <a:gd name="connsiteY2" fmla="*/ 221796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294215 w 6971302"/>
              <a:gd name="connsiteY2" fmla="*/ 215659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281942 w 6971302"/>
              <a:gd name="connsiteY2" fmla="*/ 215659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248189 w 6971302"/>
              <a:gd name="connsiteY2" fmla="*/ 212591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275805 w 6971302"/>
              <a:gd name="connsiteY2" fmla="*/ 215659 h 2616872"/>
              <a:gd name="connsiteX3" fmla="*/ 6971302 w 6971302"/>
              <a:gd name="connsiteY3" fmla="*/ 390678 h 2616872"/>
              <a:gd name="connsiteX4" fmla="*/ 6632555 w 6971302"/>
              <a:gd name="connsiteY4" fmla="*/ 0 h 2616872"/>
              <a:gd name="connsiteX5" fmla="*/ 5327478 w 6971302"/>
              <a:gd name="connsiteY5" fmla="*/ 577 h 2616872"/>
              <a:gd name="connsiteX6" fmla="*/ 5805578 w 6971302"/>
              <a:gd name="connsiteY6" fmla="*/ 106585 h 2616872"/>
              <a:gd name="connsiteX7" fmla="*/ 0 w 6971302"/>
              <a:gd name="connsiteY7" fmla="*/ 2004396 h 2616872"/>
              <a:gd name="connsiteX0" fmla="*/ 0 w 6971302"/>
              <a:gd name="connsiteY0" fmla="*/ 2004396 h 2616872"/>
              <a:gd name="connsiteX1" fmla="*/ 2631057 w 6971302"/>
              <a:gd name="connsiteY1" fmla="*/ 2616872 h 2616872"/>
              <a:gd name="connsiteX2" fmla="*/ 6275805 w 6971302"/>
              <a:gd name="connsiteY2" fmla="*/ 215659 h 2616872"/>
              <a:gd name="connsiteX3" fmla="*/ 6971302 w 6971302"/>
              <a:gd name="connsiteY3" fmla="*/ 390678 h 2616872"/>
              <a:gd name="connsiteX4" fmla="*/ 6632555 w 6971302"/>
              <a:gd name="connsiteY4" fmla="*/ 0 h 2616872"/>
              <a:gd name="connsiteX5" fmla="*/ 5327478 w 6971302"/>
              <a:gd name="connsiteY5" fmla="*/ 577 h 2616872"/>
              <a:gd name="connsiteX6" fmla="*/ 5965138 w 6971302"/>
              <a:gd name="connsiteY6" fmla="*/ 97380 h 2616872"/>
              <a:gd name="connsiteX7" fmla="*/ 0 w 6971302"/>
              <a:gd name="connsiteY7" fmla="*/ 2004396 h 2616872"/>
              <a:gd name="connsiteX0" fmla="*/ 0 w 6971302"/>
              <a:gd name="connsiteY0" fmla="*/ 2004396 h 2616872"/>
              <a:gd name="connsiteX1" fmla="*/ 2631057 w 6971302"/>
              <a:gd name="connsiteY1" fmla="*/ 2616872 h 2616872"/>
              <a:gd name="connsiteX2" fmla="*/ 6275805 w 6971302"/>
              <a:gd name="connsiteY2" fmla="*/ 215659 h 2616872"/>
              <a:gd name="connsiteX3" fmla="*/ 6971302 w 6971302"/>
              <a:gd name="connsiteY3" fmla="*/ 390678 h 2616872"/>
              <a:gd name="connsiteX4" fmla="*/ 6632555 w 6971302"/>
              <a:gd name="connsiteY4" fmla="*/ 0 h 2616872"/>
              <a:gd name="connsiteX5" fmla="*/ 5327478 w 6971302"/>
              <a:gd name="connsiteY5" fmla="*/ 577 h 2616872"/>
              <a:gd name="connsiteX6" fmla="*/ 5827057 w 6971302"/>
              <a:gd name="connsiteY6" fmla="*/ 106585 h 2616872"/>
              <a:gd name="connsiteX7" fmla="*/ 0 w 6971302"/>
              <a:gd name="connsiteY7" fmla="*/ 2004396 h 2616872"/>
              <a:gd name="connsiteX0" fmla="*/ 0 w 6971302"/>
              <a:gd name="connsiteY0" fmla="*/ 2046777 h 2659253"/>
              <a:gd name="connsiteX1" fmla="*/ 2631057 w 6971302"/>
              <a:gd name="connsiteY1" fmla="*/ 2659253 h 2659253"/>
              <a:gd name="connsiteX2" fmla="*/ 6275805 w 6971302"/>
              <a:gd name="connsiteY2" fmla="*/ 258040 h 2659253"/>
              <a:gd name="connsiteX3" fmla="*/ 6971302 w 6971302"/>
              <a:gd name="connsiteY3" fmla="*/ 433059 h 2659253"/>
              <a:gd name="connsiteX4" fmla="*/ 6632555 w 6971302"/>
              <a:gd name="connsiteY4" fmla="*/ 42381 h 2659253"/>
              <a:gd name="connsiteX5" fmla="*/ 5447147 w 6971302"/>
              <a:gd name="connsiteY5" fmla="*/ 0 h 2659253"/>
              <a:gd name="connsiteX6" fmla="*/ 5827057 w 6971302"/>
              <a:gd name="connsiteY6" fmla="*/ 148966 h 2659253"/>
              <a:gd name="connsiteX7" fmla="*/ 0 w 6971302"/>
              <a:gd name="connsiteY7" fmla="*/ 2046777 h 2659253"/>
              <a:gd name="connsiteX0" fmla="*/ 0 w 6971302"/>
              <a:gd name="connsiteY0" fmla="*/ 2006888 h 2619364"/>
              <a:gd name="connsiteX1" fmla="*/ 2631057 w 6971302"/>
              <a:gd name="connsiteY1" fmla="*/ 2619364 h 2619364"/>
              <a:gd name="connsiteX2" fmla="*/ 6275805 w 6971302"/>
              <a:gd name="connsiteY2" fmla="*/ 218151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291148 w 6971302"/>
              <a:gd name="connsiteY2" fmla="*/ 221220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27057 w 6971302"/>
              <a:gd name="connsiteY6" fmla="*/ 109077 h 2619364"/>
              <a:gd name="connsiteX7" fmla="*/ 0 w 6971302"/>
              <a:gd name="connsiteY7" fmla="*/ 2006888 h 2619364"/>
              <a:gd name="connsiteX0" fmla="*/ 0 w 6971302"/>
              <a:gd name="connsiteY0" fmla="*/ 2006888 h 2619364"/>
              <a:gd name="connsiteX1" fmla="*/ 2631057 w 6971302"/>
              <a:gd name="connsiteY1" fmla="*/ 2619364 h 2619364"/>
              <a:gd name="connsiteX2" fmla="*/ 6300945 w 6971302"/>
              <a:gd name="connsiteY2" fmla="*/ 22775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77857 w 6971302"/>
              <a:gd name="connsiteY6" fmla="*/ 85631 h 2619364"/>
              <a:gd name="connsiteX7" fmla="*/ 0 w 6971302"/>
              <a:gd name="connsiteY7" fmla="*/ 2006888 h 2619364"/>
              <a:gd name="connsiteX0" fmla="*/ 0 w 6971302"/>
              <a:gd name="connsiteY0" fmla="*/ 2006888 h 2619364"/>
              <a:gd name="connsiteX1" fmla="*/ 2631057 w 6971302"/>
              <a:gd name="connsiteY1" fmla="*/ 2619364 h 2619364"/>
              <a:gd name="connsiteX2" fmla="*/ 6132915 w 6971302"/>
              <a:gd name="connsiteY2" fmla="*/ 26292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77857 w 6971302"/>
              <a:gd name="connsiteY6" fmla="*/ 85631 h 2619364"/>
              <a:gd name="connsiteX7" fmla="*/ 0 w 6971302"/>
              <a:gd name="connsiteY7" fmla="*/ 2006888 h 2619364"/>
              <a:gd name="connsiteX0" fmla="*/ 0 w 6971302"/>
              <a:gd name="connsiteY0" fmla="*/ 2006888 h 2619364"/>
              <a:gd name="connsiteX1" fmla="*/ 2631057 w 6971302"/>
              <a:gd name="connsiteY1" fmla="*/ 2619364 h 2619364"/>
              <a:gd name="connsiteX2" fmla="*/ 6132915 w 6971302"/>
              <a:gd name="connsiteY2" fmla="*/ 262922 h 2619364"/>
              <a:gd name="connsiteX3" fmla="*/ 6971302 w 6971302"/>
              <a:gd name="connsiteY3" fmla="*/ 393170 h 2619364"/>
              <a:gd name="connsiteX4" fmla="*/ 6632555 w 6971302"/>
              <a:gd name="connsiteY4" fmla="*/ 2492 h 2619364"/>
              <a:gd name="connsiteX5" fmla="*/ 5327477 w 6971302"/>
              <a:gd name="connsiteY5" fmla="*/ 0 h 2619364"/>
              <a:gd name="connsiteX6" fmla="*/ 5877857 w 6971302"/>
              <a:gd name="connsiteY6" fmla="*/ 85631 h 2619364"/>
              <a:gd name="connsiteX7" fmla="*/ 0 w 6971302"/>
              <a:gd name="connsiteY7" fmla="*/ 2006888 h 2619364"/>
              <a:gd name="connsiteX0" fmla="*/ 0 w 6772010"/>
              <a:gd name="connsiteY0" fmla="*/ 2006888 h 2619364"/>
              <a:gd name="connsiteX1" fmla="*/ 2631057 w 6772010"/>
              <a:gd name="connsiteY1" fmla="*/ 2619364 h 2619364"/>
              <a:gd name="connsiteX2" fmla="*/ 6132915 w 6772010"/>
              <a:gd name="connsiteY2" fmla="*/ 262922 h 2619364"/>
              <a:gd name="connsiteX3" fmla="*/ 6772010 w 6772010"/>
              <a:gd name="connsiteY3" fmla="*/ 674524 h 2619364"/>
              <a:gd name="connsiteX4" fmla="*/ 6632555 w 6772010"/>
              <a:gd name="connsiteY4" fmla="*/ 2492 h 2619364"/>
              <a:gd name="connsiteX5" fmla="*/ 5327477 w 6772010"/>
              <a:gd name="connsiteY5" fmla="*/ 0 h 2619364"/>
              <a:gd name="connsiteX6" fmla="*/ 5877857 w 6772010"/>
              <a:gd name="connsiteY6" fmla="*/ 85631 h 2619364"/>
              <a:gd name="connsiteX7" fmla="*/ 0 w 6772010"/>
              <a:gd name="connsiteY7" fmla="*/ 2006888 h 2619364"/>
              <a:gd name="connsiteX0" fmla="*/ 0 w 6772010"/>
              <a:gd name="connsiteY0" fmla="*/ 2006888 h 2619364"/>
              <a:gd name="connsiteX1" fmla="*/ 2631057 w 6772010"/>
              <a:gd name="connsiteY1" fmla="*/ 2619364 h 2619364"/>
              <a:gd name="connsiteX2" fmla="*/ 6132915 w 6772010"/>
              <a:gd name="connsiteY2" fmla="*/ 262922 h 2619364"/>
              <a:gd name="connsiteX3" fmla="*/ 6772010 w 6772010"/>
              <a:gd name="connsiteY3" fmla="*/ 674524 h 2619364"/>
              <a:gd name="connsiteX4" fmla="*/ 6667724 w 6772010"/>
              <a:gd name="connsiteY4" fmla="*/ 143169 h 2619364"/>
              <a:gd name="connsiteX5" fmla="*/ 5327477 w 6772010"/>
              <a:gd name="connsiteY5" fmla="*/ 0 h 2619364"/>
              <a:gd name="connsiteX6" fmla="*/ 5877857 w 6772010"/>
              <a:gd name="connsiteY6" fmla="*/ 85631 h 2619364"/>
              <a:gd name="connsiteX7" fmla="*/ 0 w 6772010"/>
              <a:gd name="connsiteY7" fmla="*/ 2006888 h 2619364"/>
              <a:gd name="connsiteX0" fmla="*/ 0 w 6772010"/>
              <a:gd name="connsiteY0" fmla="*/ 2206181 h 2818657"/>
              <a:gd name="connsiteX1" fmla="*/ 2631057 w 6772010"/>
              <a:gd name="connsiteY1" fmla="*/ 2818657 h 2818657"/>
              <a:gd name="connsiteX2" fmla="*/ 6132915 w 6772010"/>
              <a:gd name="connsiteY2" fmla="*/ 462215 h 2818657"/>
              <a:gd name="connsiteX3" fmla="*/ 6772010 w 6772010"/>
              <a:gd name="connsiteY3" fmla="*/ 873817 h 2818657"/>
              <a:gd name="connsiteX4" fmla="*/ 6667724 w 6772010"/>
              <a:gd name="connsiteY4" fmla="*/ 342462 h 2818657"/>
              <a:gd name="connsiteX5" fmla="*/ 5413447 w 6772010"/>
              <a:gd name="connsiteY5" fmla="*/ 0 h 2818657"/>
              <a:gd name="connsiteX6" fmla="*/ 5877857 w 6772010"/>
              <a:gd name="connsiteY6" fmla="*/ 284924 h 2818657"/>
              <a:gd name="connsiteX7" fmla="*/ 0 w 6772010"/>
              <a:gd name="connsiteY7" fmla="*/ 2206181 h 2818657"/>
              <a:gd name="connsiteX0" fmla="*/ 0 w 6772010"/>
              <a:gd name="connsiteY0" fmla="*/ 2206181 h 2818657"/>
              <a:gd name="connsiteX1" fmla="*/ 2631057 w 6772010"/>
              <a:gd name="connsiteY1" fmla="*/ 2818657 h 2818657"/>
              <a:gd name="connsiteX2" fmla="*/ 6132915 w 6772010"/>
              <a:gd name="connsiteY2" fmla="*/ 462215 h 2818657"/>
              <a:gd name="connsiteX3" fmla="*/ 6772010 w 6772010"/>
              <a:gd name="connsiteY3" fmla="*/ 873817 h 2818657"/>
              <a:gd name="connsiteX4" fmla="*/ 6667724 w 6772010"/>
              <a:gd name="connsiteY4" fmla="*/ 342462 h 2818657"/>
              <a:gd name="connsiteX5" fmla="*/ 5413447 w 6772010"/>
              <a:gd name="connsiteY5" fmla="*/ 0 h 2818657"/>
              <a:gd name="connsiteX6" fmla="*/ 5877857 w 6772010"/>
              <a:gd name="connsiteY6" fmla="*/ 284924 h 2818657"/>
              <a:gd name="connsiteX7" fmla="*/ 0 w 6772010"/>
              <a:gd name="connsiteY7" fmla="*/ 2206181 h 2818657"/>
              <a:gd name="connsiteX0" fmla="*/ 0 w 6772010"/>
              <a:gd name="connsiteY0" fmla="*/ 2233535 h 2846011"/>
              <a:gd name="connsiteX1" fmla="*/ 2631057 w 6772010"/>
              <a:gd name="connsiteY1" fmla="*/ 2846011 h 2846011"/>
              <a:gd name="connsiteX2" fmla="*/ 6132915 w 6772010"/>
              <a:gd name="connsiteY2" fmla="*/ 489569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32915 w 6772010"/>
              <a:gd name="connsiteY2" fmla="*/ 489569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32915 w 6772010"/>
              <a:gd name="connsiteY2" fmla="*/ 489569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95438 w 6772010"/>
              <a:gd name="connsiteY2" fmla="*/ 520830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71992 w 6772010"/>
              <a:gd name="connsiteY2" fmla="*/ 501291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95438 w 6772010"/>
              <a:gd name="connsiteY2" fmla="*/ 516921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58534 w 6772010"/>
              <a:gd name="connsiteY2" fmla="*/ 529222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877857 w 6772010"/>
              <a:gd name="connsiteY6" fmla="*/ 312278 h 2846011"/>
              <a:gd name="connsiteX7" fmla="*/ 0 w 6772010"/>
              <a:gd name="connsiteY7" fmla="*/ 2233535 h 2846011"/>
              <a:gd name="connsiteX0" fmla="*/ 0 w 6772010"/>
              <a:gd name="connsiteY0" fmla="*/ 2233535 h 2846011"/>
              <a:gd name="connsiteX1" fmla="*/ 2631057 w 6772010"/>
              <a:gd name="connsiteY1" fmla="*/ 2846011 h 2846011"/>
              <a:gd name="connsiteX2" fmla="*/ 6158534 w 6772010"/>
              <a:gd name="connsiteY2" fmla="*/ 529222 h 2846011"/>
              <a:gd name="connsiteX3" fmla="*/ 6772010 w 6772010"/>
              <a:gd name="connsiteY3" fmla="*/ 901171 h 2846011"/>
              <a:gd name="connsiteX4" fmla="*/ 6667724 w 6772010"/>
              <a:gd name="connsiteY4" fmla="*/ 369816 h 2846011"/>
              <a:gd name="connsiteX5" fmla="*/ 5413447 w 6772010"/>
              <a:gd name="connsiteY5" fmla="*/ 0 h 2846011"/>
              <a:gd name="connsiteX6" fmla="*/ 5918862 w 6772010"/>
              <a:gd name="connsiteY6" fmla="*/ 308178 h 2846011"/>
              <a:gd name="connsiteX7" fmla="*/ 0 w 6772010"/>
              <a:gd name="connsiteY7" fmla="*/ 2233535 h 2846011"/>
              <a:gd name="connsiteX0" fmla="*/ 0 w 6677699"/>
              <a:gd name="connsiteY0" fmla="*/ 2233535 h 2846011"/>
              <a:gd name="connsiteX1" fmla="*/ 2631057 w 6677699"/>
              <a:gd name="connsiteY1" fmla="*/ 2846011 h 2846011"/>
              <a:gd name="connsiteX2" fmla="*/ 6158534 w 6677699"/>
              <a:gd name="connsiteY2" fmla="*/ 529222 h 2846011"/>
              <a:gd name="connsiteX3" fmla="*/ 6677699 w 6677699"/>
              <a:gd name="connsiteY3" fmla="*/ 979080 h 2846011"/>
              <a:gd name="connsiteX4" fmla="*/ 6667724 w 6677699"/>
              <a:gd name="connsiteY4" fmla="*/ 369816 h 2846011"/>
              <a:gd name="connsiteX5" fmla="*/ 5413447 w 6677699"/>
              <a:gd name="connsiteY5" fmla="*/ 0 h 2846011"/>
              <a:gd name="connsiteX6" fmla="*/ 5918862 w 6677699"/>
              <a:gd name="connsiteY6" fmla="*/ 308178 h 2846011"/>
              <a:gd name="connsiteX7" fmla="*/ 0 w 6677699"/>
              <a:gd name="connsiteY7" fmla="*/ 2233535 h 2846011"/>
              <a:gd name="connsiteX0" fmla="*/ 0 w 6677699"/>
              <a:gd name="connsiteY0" fmla="*/ 2233535 h 2846011"/>
              <a:gd name="connsiteX1" fmla="*/ 2631057 w 6677699"/>
              <a:gd name="connsiteY1" fmla="*/ 2846011 h 2846011"/>
              <a:gd name="connsiteX2" fmla="*/ 6158534 w 6677699"/>
              <a:gd name="connsiteY2" fmla="*/ 529222 h 2846011"/>
              <a:gd name="connsiteX3" fmla="*/ 6677699 w 6677699"/>
              <a:gd name="connsiteY3" fmla="*/ 979080 h 2846011"/>
              <a:gd name="connsiteX4" fmla="*/ 6618518 w 6677699"/>
              <a:gd name="connsiteY4" fmla="*/ 267305 h 2846011"/>
              <a:gd name="connsiteX5" fmla="*/ 5413447 w 6677699"/>
              <a:gd name="connsiteY5" fmla="*/ 0 h 2846011"/>
              <a:gd name="connsiteX6" fmla="*/ 5918862 w 6677699"/>
              <a:gd name="connsiteY6" fmla="*/ 308178 h 2846011"/>
              <a:gd name="connsiteX7" fmla="*/ 0 w 6677699"/>
              <a:gd name="connsiteY7" fmla="*/ 2233535 h 284601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618518 w 6677699"/>
              <a:gd name="connsiteY4" fmla="*/ 353415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618518 w 6677699"/>
              <a:gd name="connsiteY4" fmla="*/ 353415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618518 w 6677699"/>
              <a:gd name="connsiteY4" fmla="*/ 353415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618518 w 6677699"/>
              <a:gd name="connsiteY4" fmla="*/ 353415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618518 w 6677699"/>
              <a:gd name="connsiteY4" fmla="*/ 353415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411164 w 6677699"/>
              <a:gd name="connsiteY4" fmla="*/ 455392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319645 h 2932121"/>
              <a:gd name="connsiteX1" fmla="*/ 2631057 w 6677699"/>
              <a:gd name="connsiteY1" fmla="*/ 2932121 h 2932121"/>
              <a:gd name="connsiteX2" fmla="*/ 6158534 w 6677699"/>
              <a:gd name="connsiteY2" fmla="*/ 615332 h 2932121"/>
              <a:gd name="connsiteX3" fmla="*/ 6677699 w 6677699"/>
              <a:gd name="connsiteY3" fmla="*/ 1065190 h 2932121"/>
              <a:gd name="connsiteX4" fmla="*/ 6404365 w 6677699"/>
              <a:gd name="connsiteY4" fmla="*/ 414601 h 2932121"/>
              <a:gd name="connsiteX5" fmla="*/ 5466753 w 6677699"/>
              <a:gd name="connsiteY5" fmla="*/ 0 h 2932121"/>
              <a:gd name="connsiteX6" fmla="*/ 5918862 w 6677699"/>
              <a:gd name="connsiteY6" fmla="*/ 394288 h 2932121"/>
              <a:gd name="connsiteX7" fmla="*/ 0 w 6677699"/>
              <a:gd name="connsiteY7" fmla="*/ 2319645 h 2932121"/>
              <a:gd name="connsiteX0" fmla="*/ 0 w 6677699"/>
              <a:gd name="connsiteY0" fmla="*/ 2251660 h 2864136"/>
              <a:gd name="connsiteX1" fmla="*/ 2631057 w 6677699"/>
              <a:gd name="connsiteY1" fmla="*/ 2864136 h 2864136"/>
              <a:gd name="connsiteX2" fmla="*/ 6158534 w 6677699"/>
              <a:gd name="connsiteY2" fmla="*/ 547347 h 2864136"/>
              <a:gd name="connsiteX3" fmla="*/ 6677699 w 6677699"/>
              <a:gd name="connsiteY3" fmla="*/ 997205 h 2864136"/>
              <a:gd name="connsiteX4" fmla="*/ 6404365 w 6677699"/>
              <a:gd name="connsiteY4" fmla="*/ 346616 h 2864136"/>
              <a:gd name="connsiteX5" fmla="*/ 5548336 w 6677699"/>
              <a:gd name="connsiteY5" fmla="*/ 0 h 2864136"/>
              <a:gd name="connsiteX6" fmla="*/ 5918862 w 6677699"/>
              <a:gd name="connsiteY6" fmla="*/ 326303 h 2864136"/>
              <a:gd name="connsiteX7" fmla="*/ 0 w 6677699"/>
              <a:gd name="connsiteY7" fmla="*/ 2251660 h 2864136"/>
              <a:gd name="connsiteX0" fmla="*/ 0 w 6677699"/>
              <a:gd name="connsiteY0" fmla="*/ 2099260 h 2711736"/>
              <a:gd name="connsiteX1" fmla="*/ 2631057 w 6677699"/>
              <a:gd name="connsiteY1" fmla="*/ 2711736 h 2711736"/>
              <a:gd name="connsiteX2" fmla="*/ 6158534 w 6677699"/>
              <a:gd name="connsiteY2" fmla="*/ 394947 h 2711736"/>
              <a:gd name="connsiteX3" fmla="*/ 6677699 w 6677699"/>
              <a:gd name="connsiteY3" fmla="*/ 844805 h 2711736"/>
              <a:gd name="connsiteX4" fmla="*/ 6404365 w 6677699"/>
              <a:gd name="connsiteY4" fmla="*/ 194216 h 2711736"/>
              <a:gd name="connsiteX5" fmla="*/ 5720275 w 6677699"/>
              <a:gd name="connsiteY5" fmla="*/ 0 h 2711736"/>
              <a:gd name="connsiteX6" fmla="*/ 5918862 w 6677699"/>
              <a:gd name="connsiteY6" fmla="*/ 173903 h 2711736"/>
              <a:gd name="connsiteX7" fmla="*/ 0 w 6677699"/>
              <a:gd name="connsiteY7" fmla="*/ 2099260 h 2711736"/>
              <a:gd name="connsiteX0" fmla="*/ 0 w 6470591"/>
              <a:gd name="connsiteY0" fmla="*/ 2099260 h 2711736"/>
              <a:gd name="connsiteX1" fmla="*/ 2631057 w 6470591"/>
              <a:gd name="connsiteY1" fmla="*/ 2711736 h 2711736"/>
              <a:gd name="connsiteX2" fmla="*/ 6158534 w 6470591"/>
              <a:gd name="connsiteY2" fmla="*/ 394947 h 2711736"/>
              <a:gd name="connsiteX3" fmla="*/ 6470591 w 6470591"/>
              <a:gd name="connsiteY3" fmla="*/ 668959 h 2711736"/>
              <a:gd name="connsiteX4" fmla="*/ 6404365 w 6470591"/>
              <a:gd name="connsiteY4" fmla="*/ 194216 h 2711736"/>
              <a:gd name="connsiteX5" fmla="*/ 5720275 w 6470591"/>
              <a:gd name="connsiteY5" fmla="*/ 0 h 2711736"/>
              <a:gd name="connsiteX6" fmla="*/ 5918862 w 6470591"/>
              <a:gd name="connsiteY6" fmla="*/ 173903 h 2711736"/>
              <a:gd name="connsiteX7" fmla="*/ 0 w 6470591"/>
              <a:gd name="connsiteY7" fmla="*/ 2099260 h 2711736"/>
              <a:gd name="connsiteX0" fmla="*/ 0 w 6470591"/>
              <a:gd name="connsiteY0" fmla="*/ 2099260 h 2711736"/>
              <a:gd name="connsiteX1" fmla="*/ 2631057 w 6470591"/>
              <a:gd name="connsiteY1" fmla="*/ 2711736 h 2711736"/>
              <a:gd name="connsiteX2" fmla="*/ 6158534 w 6470591"/>
              <a:gd name="connsiteY2" fmla="*/ 394947 h 2711736"/>
              <a:gd name="connsiteX3" fmla="*/ 6470591 w 6470591"/>
              <a:gd name="connsiteY3" fmla="*/ 668959 h 2711736"/>
              <a:gd name="connsiteX4" fmla="*/ 6404365 w 6470591"/>
              <a:gd name="connsiteY4" fmla="*/ 194216 h 2711736"/>
              <a:gd name="connsiteX5" fmla="*/ 5720275 w 6470591"/>
              <a:gd name="connsiteY5" fmla="*/ 0 h 2711736"/>
              <a:gd name="connsiteX6" fmla="*/ 5918862 w 6470591"/>
              <a:gd name="connsiteY6" fmla="*/ 173903 h 2711736"/>
              <a:gd name="connsiteX7" fmla="*/ 0 w 6470591"/>
              <a:gd name="connsiteY7" fmla="*/ 2099260 h 2711736"/>
              <a:gd name="connsiteX0" fmla="*/ 0 w 6470591"/>
              <a:gd name="connsiteY0" fmla="*/ 2229889 h 2842365"/>
              <a:gd name="connsiteX1" fmla="*/ 2631057 w 6470591"/>
              <a:gd name="connsiteY1" fmla="*/ 2842365 h 2842365"/>
              <a:gd name="connsiteX2" fmla="*/ 6158534 w 6470591"/>
              <a:gd name="connsiteY2" fmla="*/ 525576 h 2842365"/>
              <a:gd name="connsiteX3" fmla="*/ 6470591 w 6470591"/>
              <a:gd name="connsiteY3" fmla="*/ 799588 h 2842365"/>
              <a:gd name="connsiteX4" fmla="*/ 6404365 w 6470591"/>
              <a:gd name="connsiteY4" fmla="*/ 324845 h 2842365"/>
              <a:gd name="connsiteX5" fmla="*/ 5586381 w 6470591"/>
              <a:gd name="connsiteY5" fmla="*/ 0 h 2842365"/>
              <a:gd name="connsiteX6" fmla="*/ 5918862 w 6470591"/>
              <a:gd name="connsiteY6" fmla="*/ 304532 h 2842365"/>
              <a:gd name="connsiteX7" fmla="*/ 0 w 6470591"/>
              <a:gd name="connsiteY7" fmla="*/ 2229889 h 2842365"/>
              <a:gd name="connsiteX0" fmla="*/ 0 w 6616637"/>
              <a:gd name="connsiteY0" fmla="*/ 2229889 h 2842365"/>
              <a:gd name="connsiteX1" fmla="*/ 2631057 w 6616637"/>
              <a:gd name="connsiteY1" fmla="*/ 2842365 h 2842365"/>
              <a:gd name="connsiteX2" fmla="*/ 6158534 w 6616637"/>
              <a:gd name="connsiteY2" fmla="*/ 525576 h 2842365"/>
              <a:gd name="connsiteX3" fmla="*/ 6470591 w 6616637"/>
              <a:gd name="connsiteY3" fmla="*/ 799588 h 2842365"/>
              <a:gd name="connsiteX4" fmla="*/ 6616637 w 6616637"/>
              <a:gd name="connsiteY4" fmla="*/ 334642 h 2842365"/>
              <a:gd name="connsiteX5" fmla="*/ 5586381 w 6616637"/>
              <a:gd name="connsiteY5" fmla="*/ 0 h 2842365"/>
              <a:gd name="connsiteX6" fmla="*/ 5918862 w 6616637"/>
              <a:gd name="connsiteY6" fmla="*/ 304532 h 2842365"/>
              <a:gd name="connsiteX7" fmla="*/ 0 w 6616637"/>
              <a:gd name="connsiteY7" fmla="*/ 2229889 h 2842365"/>
              <a:gd name="connsiteX0" fmla="*/ 0 w 6616637"/>
              <a:gd name="connsiteY0" fmla="*/ 2229889 h 2842365"/>
              <a:gd name="connsiteX1" fmla="*/ 2631057 w 6616637"/>
              <a:gd name="connsiteY1" fmla="*/ 2842365 h 2842365"/>
              <a:gd name="connsiteX2" fmla="*/ 6158534 w 6616637"/>
              <a:gd name="connsiteY2" fmla="*/ 525576 h 2842365"/>
              <a:gd name="connsiteX3" fmla="*/ 6444465 w 6616637"/>
              <a:gd name="connsiteY3" fmla="*/ 747336 h 2842365"/>
              <a:gd name="connsiteX4" fmla="*/ 6616637 w 6616637"/>
              <a:gd name="connsiteY4" fmla="*/ 334642 h 2842365"/>
              <a:gd name="connsiteX5" fmla="*/ 5586381 w 6616637"/>
              <a:gd name="connsiteY5" fmla="*/ 0 h 2842365"/>
              <a:gd name="connsiteX6" fmla="*/ 5918862 w 6616637"/>
              <a:gd name="connsiteY6" fmla="*/ 304532 h 2842365"/>
              <a:gd name="connsiteX7" fmla="*/ 0 w 6616637"/>
              <a:gd name="connsiteY7" fmla="*/ 2229889 h 2842365"/>
              <a:gd name="connsiteX0" fmla="*/ 0 w 6616637"/>
              <a:gd name="connsiteY0" fmla="*/ 2229889 h 2842365"/>
              <a:gd name="connsiteX1" fmla="*/ 2631057 w 6616637"/>
              <a:gd name="connsiteY1" fmla="*/ 2842365 h 2842365"/>
              <a:gd name="connsiteX2" fmla="*/ 6181394 w 6616637"/>
              <a:gd name="connsiteY2" fmla="*/ 525576 h 2842365"/>
              <a:gd name="connsiteX3" fmla="*/ 6444465 w 6616637"/>
              <a:gd name="connsiteY3" fmla="*/ 747336 h 2842365"/>
              <a:gd name="connsiteX4" fmla="*/ 6616637 w 6616637"/>
              <a:gd name="connsiteY4" fmla="*/ 334642 h 2842365"/>
              <a:gd name="connsiteX5" fmla="*/ 5586381 w 6616637"/>
              <a:gd name="connsiteY5" fmla="*/ 0 h 2842365"/>
              <a:gd name="connsiteX6" fmla="*/ 5918862 w 6616637"/>
              <a:gd name="connsiteY6" fmla="*/ 304532 h 2842365"/>
              <a:gd name="connsiteX7" fmla="*/ 0 w 6616637"/>
              <a:gd name="connsiteY7" fmla="*/ 2229889 h 2842365"/>
              <a:gd name="connsiteX0" fmla="*/ 0 w 6616637"/>
              <a:gd name="connsiteY0" fmla="*/ 2229889 h 2842365"/>
              <a:gd name="connsiteX1" fmla="*/ 2631057 w 6616637"/>
              <a:gd name="connsiteY1" fmla="*/ 2842365 h 2842365"/>
              <a:gd name="connsiteX2" fmla="*/ 6181394 w 6616637"/>
              <a:gd name="connsiteY2" fmla="*/ 525576 h 2842365"/>
              <a:gd name="connsiteX3" fmla="*/ 6444465 w 6616637"/>
              <a:gd name="connsiteY3" fmla="*/ 747336 h 2842365"/>
              <a:gd name="connsiteX4" fmla="*/ 6616637 w 6616637"/>
              <a:gd name="connsiteY4" fmla="*/ 334642 h 2842365"/>
              <a:gd name="connsiteX5" fmla="*/ 5586381 w 6616637"/>
              <a:gd name="connsiteY5" fmla="*/ 0 h 2842365"/>
              <a:gd name="connsiteX6" fmla="*/ 5918862 w 6616637"/>
              <a:gd name="connsiteY6" fmla="*/ 304532 h 2842365"/>
              <a:gd name="connsiteX7" fmla="*/ 0 w 6616637"/>
              <a:gd name="connsiteY7" fmla="*/ 2229889 h 2842365"/>
              <a:gd name="connsiteX0" fmla="*/ 0 w 6616637"/>
              <a:gd name="connsiteY0" fmla="*/ 2229889 h 2842365"/>
              <a:gd name="connsiteX1" fmla="*/ 2631057 w 6616637"/>
              <a:gd name="connsiteY1" fmla="*/ 2842365 h 2842365"/>
              <a:gd name="connsiteX2" fmla="*/ 6181394 w 6616637"/>
              <a:gd name="connsiteY2" fmla="*/ 525576 h 2842365"/>
              <a:gd name="connsiteX3" fmla="*/ 6444465 w 6616637"/>
              <a:gd name="connsiteY3" fmla="*/ 747336 h 2842365"/>
              <a:gd name="connsiteX4" fmla="*/ 6616637 w 6616637"/>
              <a:gd name="connsiteY4" fmla="*/ 334642 h 2842365"/>
              <a:gd name="connsiteX5" fmla="*/ 5586381 w 6616637"/>
              <a:gd name="connsiteY5" fmla="*/ 0 h 2842365"/>
              <a:gd name="connsiteX6" fmla="*/ 5918862 w 6616637"/>
              <a:gd name="connsiteY6" fmla="*/ 304532 h 2842365"/>
              <a:gd name="connsiteX7" fmla="*/ 0 w 6616637"/>
              <a:gd name="connsiteY7" fmla="*/ 2229889 h 2842365"/>
              <a:gd name="connsiteX0" fmla="*/ 0 w 6616637"/>
              <a:gd name="connsiteY0" fmla="*/ 2229889 h 2842365"/>
              <a:gd name="connsiteX1" fmla="*/ 2631057 w 6616637"/>
              <a:gd name="connsiteY1" fmla="*/ 2842365 h 2842365"/>
              <a:gd name="connsiteX2" fmla="*/ 6181394 w 6616637"/>
              <a:gd name="connsiteY2" fmla="*/ 525576 h 2842365"/>
              <a:gd name="connsiteX3" fmla="*/ 6444465 w 6616637"/>
              <a:gd name="connsiteY3" fmla="*/ 747336 h 2842365"/>
              <a:gd name="connsiteX4" fmla="*/ 6616637 w 6616637"/>
              <a:gd name="connsiteY4" fmla="*/ 334642 h 2842365"/>
              <a:gd name="connsiteX5" fmla="*/ 5586381 w 6616637"/>
              <a:gd name="connsiteY5" fmla="*/ 0 h 2842365"/>
              <a:gd name="connsiteX6" fmla="*/ 5870187 w 6616637"/>
              <a:gd name="connsiteY6" fmla="*/ 304532 h 2842365"/>
              <a:gd name="connsiteX7" fmla="*/ 0 w 6616637"/>
              <a:gd name="connsiteY7" fmla="*/ 2229889 h 2842365"/>
              <a:gd name="connsiteX0" fmla="*/ 0 w 6616637"/>
              <a:gd name="connsiteY0" fmla="*/ 2264657 h 2877133"/>
              <a:gd name="connsiteX1" fmla="*/ 2631057 w 6616637"/>
              <a:gd name="connsiteY1" fmla="*/ 2877133 h 2877133"/>
              <a:gd name="connsiteX2" fmla="*/ 6181394 w 6616637"/>
              <a:gd name="connsiteY2" fmla="*/ 560344 h 2877133"/>
              <a:gd name="connsiteX3" fmla="*/ 6444465 w 6616637"/>
              <a:gd name="connsiteY3" fmla="*/ 782104 h 2877133"/>
              <a:gd name="connsiteX4" fmla="*/ 6616637 w 6616637"/>
              <a:gd name="connsiteY4" fmla="*/ 369410 h 2877133"/>
              <a:gd name="connsiteX5" fmla="*/ 5548136 w 6616637"/>
              <a:gd name="connsiteY5" fmla="*/ 0 h 2877133"/>
              <a:gd name="connsiteX6" fmla="*/ 5870187 w 6616637"/>
              <a:gd name="connsiteY6" fmla="*/ 339300 h 2877133"/>
              <a:gd name="connsiteX7" fmla="*/ 0 w 6616637"/>
              <a:gd name="connsiteY7" fmla="*/ 2264657 h 2877133"/>
              <a:gd name="connsiteX0" fmla="*/ 0 w 6501902"/>
              <a:gd name="connsiteY0" fmla="*/ 2264657 h 2877133"/>
              <a:gd name="connsiteX1" fmla="*/ 2631057 w 6501902"/>
              <a:gd name="connsiteY1" fmla="*/ 2877133 h 2877133"/>
              <a:gd name="connsiteX2" fmla="*/ 6181394 w 6501902"/>
              <a:gd name="connsiteY2" fmla="*/ 560344 h 2877133"/>
              <a:gd name="connsiteX3" fmla="*/ 6444465 w 6501902"/>
              <a:gd name="connsiteY3" fmla="*/ 782104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181394 w 6501902"/>
              <a:gd name="connsiteY2" fmla="*/ 560344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870187 w 6501902"/>
              <a:gd name="connsiteY6" fmla="*/ 339300 h 2877133"/>
              <a:gd name="connsiteX7" fmla="*/ 0 w 6501902"/>
              <a:gd name="connsiteY7" fmla="*/ 2264657 h 2877133"/>
              <a:gd name="connsiteX0" fmla="*/ 0 w 6501902"/>
              <a:gd name="connsiteY0" fmla="*/ 2264657 h 2877133"/>
              <a:gd name="connsiteX1" fmla="*/ 2631057 w 6501902"/>
              <a:gd name="connsiteY1" fmla="*/ 2877133 h 2877133"/>
              <a:gd name="connsiteX2" fmla="*/ 6097950 w 6501902"/>
              <a:gd name="connsiteY2" fmla="*/ 577728 h 2877133"/>
              <a:gd name="connsiteX3" fmla="*/ 6399267 w 6501902"/>
              <a:gd name="connsiteY3" fmla="*/ 893361 h 2877133"/>
              <a:gd name="connsiteX4" fmla="*/ 6501902 w 6501902"/>
              <a:gd name="connsiteY4" fmla="*/ 376364 h 2877133"/>
              <a:gd name="connsiteX5" fmla="*/ 5548136 w 6501902"/>
              <a:gd name="connsiteY5" fmla="*/ 0 h 2877133"/>
              <a:gd name="connsiteX6" fmla="*/ 5745022 w 6501902"/>
              <a:gd name="connsiteY6" fmla="*/ 349730 h 2877133"/>
              <a:gd name="connsiteX7" fmla="*/ 0 w 6501902"/>
              <a:gd name="connsiteY7" fmla="*/ 2264657 h 2877133"/>
              <a:gd name="connsiteX0" fmla="*/ 0 w 6501902"/>
              <a:gd name="connsiteY0" fmla="*/ 2226413 h 2838889"/>
              <a:gd name="connsiteX1" fmla="*/ 2631057 w 6501902"/>
              <a:gd name="connsiteY1" fmla="*/ 2838889 h 2838889"/>
              <a:gd name="connsiteX2" fmla="*/ 6097950 w 6501902"/>
              <a:gd name="connsiteY2" fmla="*/ 539484 h 2838889"/>
              <a:gd name="connsiteX3" fmla="*/ 6399267 w 6501902"/>
              <a:gd name="connsiteY3" fmla="*/ 855117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6097950 w 6501902"/>
              <a:gd name="connsiteY2" fmla="*/ 539484 h 2838889"/>
              <a:gd name="connsiteX3" fmla="*/ 6399267 w 6501902"/>
              <a:gd name="connsiteY3" fmla="*/ 855117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6097950 w 6501902"/>
              <a:gd name="connsiteY2" fmla="*/ 539484 h 2838889"/>
              <a:gd name="connsiteX3" fmla="*/ 6399267 w 6501902"/>
              <a:gd name="connsiteY3" fmla="*/ 855117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6097950 w 6501902"/>
              <a:gd name="connsiteY2" fmla="*/ 539484 h 2838889"/>
              <a:gd name="connsiteX3" fmla="*/ 6228904 w 6501902"/>
              <a:gd name="connsiteY3" fmla="*/ 917699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5955401 w 6501902"/>
              <a:gd name="connsiteY2" fmla="*/ 574252 h 2838889"/>
              <a:gd name="connsiteX3" fmla="*/ 6228904 w 6501902"/>
              <a:gd name="connsiteY3" fmla="*/ 917699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5955401 w 6501902"/>
              <a:gd name="connsiteY2" fmla="*/ 574252 h 2838889"/>
              <a:gd name="connsiteX3" fmla="*/ 6228904 w 6501902"/>
              <a:gd name="connsiteY3" fmla="*/ 917699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501902"/>
              <a:gd name="connsiteY0" fmla="*/ 2226413 h 2838889"/>
              <a:gd name="connsiteX1" fmla="*/ 2631057 w 6501902"/>
              <a:gd name="connsiteY1" fmla="*/ 2838889 h 2838889"/>
              <a:gd name="connsiteX2" fmla="*/ 5955401 w 6501902"/>
              <a:gd name="connsiteY2" fmla="*/ 574252 h 2838889"/>
              <a:gd name="connsiteX3" fmla="*/ 6228904 w 6501902"/>
              <a:gd name="connsiteY3" fmla="*/ 917699 h 2838889"/>
              <a:gd name="connsiteX4" fmla="*/ 6501902 w 6501902"/>
              <a:gd name="connsiteY4" fmla="*/ 338120 h 2838889"/>
              <a:gd name="connsiteX5" fmla="*/ 5485554 w 6501902"/>
              <a:gd name="connsiteY5" fmla="*/ 0 h 2838889"/>
              <a:gd name="connsiteX6" fmla="*/ 5745022 w 6501902"/>
              <a:gd name="connsiteY6" fmla="*/ 311486 h 2838889"/>
              <a:gd name="connsiteX7" fmla="*/ 0 w 6501902"/>
              <a:gd name="connsiteY7" fmla="*/ 2226413 h 2838889"/>
              <a:gd name="connsiteX0" fmla="*/ 0 w 6251691"/>
              <a:gd name="connsiteY0" fmla="*/ 2226413 h 2838889"/>
              <a:gd name="connsiteX1" fmla="*/ 2631057 w 6251691"/>
              <a:gd name="connsiteY1" fmla="*/ 2838889 h 2838889"/>
              <a:gd name="connsiteX2" fmla="*/ 5955401 w 6251691"/>
              <a:gd name="connsiteY2" fmla="*/ 574252 h 2838889"/>
              <a:gd name="connsiteX3" fmla="*/ 6228904 w 6251691"/>
              <a:gd name="connsiteY3" fmla="*/ 917699 h 2838889"/>
              <a:gd name="connsiteX4" fmla="*/ 6192467 w 6251691"/>
              <a:gd name="connsiteY4" fmla="*/ 345074 h 2838889"/>
              <a:gd name="connsiteX5" fmla="*/ 5485554 w 6251691"/>
              <a:gd name="connsiteY5" fmla="*/ 0 h 2838889"/>
              <a:gd name="connsiteX6" fmla="*/ 5745022 w 6251691"/>
              <a:gd name="connsiteY6" fmla="*/ 311486 h 2838889"/>
              <a:gd name="connsiteX7" fmla="*/ 0 w 6251691"/>
              <a:gd name="connsiteY7" fmla="*/ 2226413 h 2838889"/>
              <a:gd name="connsiteX0" fmla="*/ 0 w 6267551"/>
              <a:gd name="connsiteY0" fmla="*/ 2226413 h 2838889"/>
              <a:gd name="connsiteX1" fmla="*/ 2631057 w 6267551"/>
              <a:gd name="connsiteY1" fmla="*/ 2838889 h 2838889"/>
              <a:gd name="connsiteX2" fmla="*/ 5955401 w 6267551"/>
              <a:gd name="connsiteY2" fmla="*/ 574252 h 2838889"/>
              <a:gd name="connsiteX3" fmla="*/ 6228904 w 6267551"/>
              <a:gd name="connsiteY3" fmla="*/ 917699 h 2838889"/>
              <a:gd name="connsiteX4" fmla="*/ 6192467 w 6267551"/>
              <a:gd name="connsiteY4" fmla="*/ 345074 h 2838889"/>
              <a:gd name="connsiteX5" fmla="*/ 5485554 w 6267551"/>
              <a:gd name="connsiteY5" fmla="*/ 0 h 2838889"/>
              <a:gd name="connsiteX6" fmla="*/ 5745022 w 6267551"/>
              <a:gd name="connsiteY6" fmla="*/ 311486 h 2838889"/>
              <a:gd name="connsiteX7" fmla="*/ 0 w 6267551"/>
              <a:gd name="connsiteY7" fmla="*/ 2226413 h 2838889"/>
              <a:gd name="connsiteX0" fmla="*/ 0 w 6228904"/>
              <a:gd name="connsiteY0" fmla="*/ 2226413 h 2838889"/>
              <a:gd name="connsiteX1" fmla="*/ 2631057 w 6228904"/>
              <a:gd name="connsiteY1" fmla="*/ 2838889 h 2838889"/>
              <a:gd name="connsiteX2" fmla="*/ 5955401 w 6228904"/>
              <a:gd name="connsiteY2" fmla="*/ 574252 h 2838889"/>
              <a:gd name="connsiteX3" fmla="*/ 6228904 w 6228904"/>
              <a:gd name="connsiteY3" fmla="*/ 917699 h 2838889"/>
              <a:gd name="connsiteX4" fmla="*/ 6192467 w 6228904"/>
              <a:gd name="connsiteY4" fmla="*/ 345074 h 2838889"/>
              <a:gd name="connsiteX5" fmla="*/ 5485554 w 6228904"/>
              <a:gd name="connsiteY5" fmla="*/ 0 h 2838889"/>
              <a:gd name="connsiteX6" fmla="*/ 5745022 w 6228904"/>
              <a:gd name="connsiteY6" fmla="*/ 311486 h 2838889"/>
              <a:gd name="connsiteX7" fmla="*/ 0 w 6228904"/>
              <a:gd name="connsiteY7" fmla="*/ 2226413 h 2838889"/>
              <a:gd name="connsiteX0" fmla="*/ 0 w 6228904"/>
              <a:gd name="connsiteY0" fmla="*/ 2226413 h 2838889"/>
              <a:gd name="connsiteX1" fmla="*/ 2631057 w 6228904"/>
              <a:gd name="connsiteY1" fmla="*/ 2838889 h 2838889"/>
              <a:gd name="connsiteX2" fmla="*/ 5955401 w 6228904"/>
              <a:gd name="connsiteY2" fmla="*/ 574252 h 2838889"/>
              <a:gd name="connsiteX3" fmla="*/ 6228904 w 6228904"/>
              <a:gd name="connsiteY3" fmla="*/ 917699 h 2838889"/>
              <a:gd name="connsiteX4" fmla="*/ 6192467 w 6228904"/>
              <a:gd name="connsiteY4" fmla="*/ 345074 h 2838889"/>
              <a:gd name="connsiteX5" fmla="*/ 5485554 w 6228904"/>
              <a:gd name="connsiteY5" fmla="*/ 0 h 2838889"/>
              <a:gd name="connsiteX6" fmla="*/ 5612160 w 6228904"/>
              <a:gd name="connsiteY6" fmla="*/ 319302 h 2838889"/>
              <a:gd name="connsiteX7" fmla="*/ 0 w 6228904"/>
              <a:gd name="connsiteY7" fmla="*/ 2226413 h 2838889"/>
              <a:gd name="connsiteX0" fmla="*/ 0 w 6228904"/>
              <a:gd name="connsiteY0" fmla="*/ 2023213 h 2635689"/>
              <a:gd name="connsiteX1" fmla="*/ 2631057 w 6228904"/>
              <a:gd name="connsiteY1" fmla="*/ 2635689 h 2635689"/>
              <a:gd name="connsiteX2" fmla="*/ 5955401 w 6228904"/>
              <a:gd name="connsiteY2" fmla="*/ 371052 h 2635689"/>
              <a:gd name="connsiteX3" fmla="*/ 6228904 w 6228904"/>
              <a:gd name="connsiteY3" fmla="*/ 714499 h 2635689"/>
              <a:gd name="connsiteX4" fmla="*/ 6192467 w 6228904"/>
              <a:gd name="connsiteY4" fmla="*/ 141874 h 2635689"/>
              <a:gd name="connsiteX5" fmla="*/ 5458200 w 6228904"/>
              <a:gd name="connsiteY5" fmla="*/ 0 h 2635689"/>
              <a:gd name="connsiteX6" fmla="*/ 5612160 w 6228904"/>
              <a:gd name="connsiteY6" fmla="*/ 116102 h 2635689"/>
              <a:gd name="connsiteX7" fmla="*/ 0 w 6228904"/>
              <a:gd name="connsiteY7" fmla="*/ 2023213 h 2635689"/>
              <a:gd name="connsiteX0" fmla="*/ 0 w 6228904"/>
              <a:gd name="connsiteY0" fmla="*/ 2044941 h 2657417"/>
              <a:gd name="connsiteX1" fmla="*/ 2631057 w 6228904"/>
              <a:gd name="connsiteY1" fmla="*/ 2657417 h 2657417"/>
              <a:gd name="connsiteX2" fmla="*/ 5955401 w 6228904"/>
              <a:gd name="connsiteY2" fmla="*/ 392780 h 2657417"/>
              <a:gd name="connsiteX3" fmla="*/ 6228904 w 6228904"/>
              <a:gd name="connsiteY3" fmla="*/ 736227 h 2657417"/>
              <a:gd name="connsiteX4" fmla="*/ 6192467 w 6228904"/>
              <a:gd name="connsiteY4" fmla="*/ 163602 h 2657417"/>
              <a:gd name="connsiteX5" fmla="*/ 5458200 w 6228904"/>
              <a:gd name="connsiteY5" fmla="*/ 21728 h 2657417"/>
              <a:gd name="connsiteX6" fmla="*/ 5612160 w 6228904"/>
              <a:gd name="connsiteY6" fmla="*/ 137830 h 2657417"/>
              <a:gd name="connsiteX7" fmla="*/ 0 w 6228904"/>
              <a:gd name="connsiteY7" fmla="*/ 2044941 h 2657417"/>
              <a:gd name="connsiteX0" fmla="*/ 0 w 6228904"/>
              <a:gd name="connsiteY0" fmla="*/ 2023213 h 2635689"/>
              <a:gd name="connsiteX1" fmla="*/ 2631057 w 6228904"/>
              <a:gd name="connsiteY1" fmla="*/ 2635689 h 2635689"/>
              <a:gd name="connsiteX2" fmla="*/ 5955401 w 6228904"/>
              <a:gd name="connsiteY2" fmla="*/ 371052 h 2635689"/>
              <a:gd name="connsiteX3" fmla="*/ 6228904 w 6228904"/>
              <a:gd name="connsiteY3" fmla="*/ 714499 h 2635689"/>
              <a:gd name="connsiteX4" fmla="*/ 6192467 w 6228904"/>
              <a:gd name="connsiteY4" fmla="*/ 141874 h 2635689"/>
              <a:gd name="connsiteX5" fmla="*/ 5458200 w 6228904"/>
              <a:gd name="connsiteY5" fmla="*/ 0 h 2635689"/>
              <a:gd name="connsiteX6" fmla="*/ 5612160 w 6228904"/>
              <a:gd name="connsiteY6" fmla="*/ 116102 h 2635689"/>
              <a:gd name="connsiteX7" fmla="*/ 0 w 6228904"/>
              <a:gd name="connsiteY7" fmla="*/ 2023213 h 2635689"/>
              <a:gd name="connsiteX0" fmla="*/ 0 w 6365673"/>
              <a:gd name="connsiteY0" fmla="*/ 2023213 h 2635689"/>
              <a:gd name="connsiteX1" fmla="*/ 2631057 w 6365673"/>
              <a:gd name="connsiteY1" fmla="*/ 2635689 h 2635689"/>
              <a:gd name="connsiteX2" fmla="*/ 5955401 w 6365673"/>
              <a:gd name="connsiteY2" fmla="*/ 371052 h 2635689"/>
              <a:gd name="connsiteX3" fmla="*/ 6365673 w 6365673"/>
              <a:gd name="connsiteY3" fmla="*/ 691052 h 2635689"/>
              <a:gd name="connsiteX4" fmla="*/ 6192467 w 6365673"/>
              <a:gd name="connsiteY4" fmla="*/ 141874 h 2635689"/>
              <a:gd name="connsiteX5" fmla="*/ 5458200 w 6365673"/>
              <a:gd name="connsiteY5" fmla="*/ 0 h 2635689"/>
              <a:gd name="connsiteX6" fmla="*/ 5612160 w 6365673"/>
              <a:gd name="connsiteY6" fmla="*/ 116102 h 2635689"/>
              <a:gd name="connsiteX7" fmla="*/ 0 w 6365673"/>
              <a:gd name="connsiteY7" fmla="*/ 2023213 h 2635689"/>
              <a:gd name="connsiteX0" fmla="*/ 0 w 6365673"/>
              <a:gd name="connsiteY0" fmla="*/ 2023213 h 2635689"/>
              <a:gd name="connsiteX1" fmla="*/ 2631057 w 6365673"/>
              <a:gd name="connsiteY1" fmla="*/ 2635689 h 2635689"/>
              <a:gd name="connsiteX2" fmla="*/ 5955401 w 6365673"/>
              <a:gd name="connsiteY2" fmla="*/ 371052 h 2635689"/>
              <a:gd name="connsiteX3" fmla="*/ 6365673 w 6365673"/>
              <a:gd name="connsiteY3" fmla="*/ 691052 h 2635689"/>
              <a:gd name="connsiteX4" fmla="*/ 6192467 w 6365673"/>
              <a:gd name="connsiteY4" fmla="*/ 141874 h 2635689"/>
              <a:gd name="connsiteX5" fmla="*/ 5458200 w 6365673"/>
              <a:gd name="connsiteY5" fmla="*/ 0 h 2635689"/>
              <a:gd name="connsiteX6" fmla="*/ 5612160 w 6365673"/>
              <a:gd name="connsiteY6" fmla="*/ 116102 h 2635689"/>
              <a:gd name="connsiteX7" fmla="*/ 0 w 6365673"/>
              <a:gd name="connsiteY7" fmla="*/ 2023213 h 2635689"/>
              <a:gd name="connsiteX0" fmla="*/ 0 w 6365673"/>
              <a:gd name="connsiteY0" fmla="*/ 2023213 h 2635689"/>
              <a:gd name="connsiteX1" fmla="*/ 2631057 w 6365673"/>
              <a:gd name="connsiteY1" fmla="*/ 2635689 h 2635689"/>
              <a:gd name="connsiteX2" fmla="*/ 5955401 w 6365673"/>
              <a:gd name="connsiteY2" fmla="*/ 371052 h 2635689"/>
              <a:gd name="connsiteX3" fmla="*/ 6365673 w 6365673"/>
              <a:gd name="connsiteY3" fmla="*/ 691052 h 2635689"/>
              <a:gd name="connsiteX4" fmla="*/ 6192467 w 6365673"/>
              <a:gd name="connsiteY4" fmla="*/ 141874 h 2635689"/>
              <a:gd name="connsiteX5" fmla="*/ 5458200 w 6365673"/>
              <a:gd name="connsiteY5" fmla="*/ 0 h 2635689"/>
              <a:gd name="connsiteX6" fmla="*/ 5612160 w 6365673"/>
              <a:gd name="connsiteY6" fmla="*/ 116102 h 2635689"/>
              <a:gd name="connsiteX7" fmla="*/ 0 w 6365673"/>
              <a:gd name="connsiteY7" fmla="*/ 2023213 h 2635689"/>
              <a:gd name="connsiteX0" fmla="*/ 0 w 6365673"/>
              <a:gd name="connsiteY0" fmla="*/ 2023213 h 2635689"/>
              <a:gd name="connsiteX1" fmla="*/ 2631057 w 6365673"/>
              <a:gd name="connsiteY1" fmla="*/ 2635689 h 2635689"/>
              <a:gd name="connsiteX2" fmla="*/ 5955401 w 6365673"/>
              <a:gd name="connsiteY2" fmla="*/ 371052 h 2635689"/>
              <a:gd name="connsiteX3" fmla="*/ 6365673 w 6365673"/>
              <a:gd name="connsiteY3" fmla="*/ 691052 h 2635689"/>
              <a:gd name="connsiteX4" fmla="*/ 6192467 w 6365673"/>
              <a:gd name="connsiteY4" fmla="*/ 141874 h 2635689"/>
              <a:gd name="connsiteX5" fmla="*/ 5458200 w 6365673"/>
              <a:gd name="connsiteY5" fmla="*/ 0 h 2635689"/>
              <a:gd name="connsiteX6" fmla="*/ 5612160 w 6365673"/>
              <a:gd name="connsiteY6" fmla="*/ 116102 h 2635689"/>
              <a:gd name="connsiteX7" fmla="*/ 0 w 6365673"/>
              <a:gd name="connsiteY7" fmla="*/ 2023213 h 2635689"/>
              <a:gd name="connsiteX0" fmla="*/ 0 w 6365673"/>
              <a:gd name="connsiteY0" fmla="*/ 2023213 h 2635689"/>
              <a:gd name="connsiteX1" fmla="*/ 2631057 w 6365673"/>
              <a:gd name="connsiteY1" fmla="*/ 2635689 h 2635689"/>
              <a:gd name="connsiteX2" fmla="*/ 5955401 w 6365673"/>
              <a:gd name="connsiteY2" fmla="*/ 371052 h 2635689"/>
              <a:gd name="connsiteX3" fmla="*/ 6365673 w 6365673"/>
              <a:gd name="connsiteY3" fmla="*/ 691052 h 2635689"/>
              <a:gd name="connsiteX4" fmla="*/ 6192467 w 6365673"/>
              <a:gd name="connsiteY4" fmla="*/ 141874 h 2635689"/>
              <a:gd name="connsiteX5" fmla="*/ 5458200 w 6365673"/>
              <a:gd name="connsiteY5" fmla="*/ 0 h 2635689"/>
              <a:gd name="connsiteX6" fmla="*/ 5612160 w 6365673"/>
              <a:gd name="connsiteY6" fmla="*/ 116102 h 2635689"/>
              <a:gd name="connsiteX7" fmla="*/ 0 w 6365673"/>
              <a:gd name="connsiteY7" fmla="*/ 2023213 h 2635689"/>
              <a:gd name="connsiteX0" fmla="*/ 0 w 6365673"/>
              <a:gd name="connsiteY0" fmla="*/ 2081000 h 2693476"/>
              <a:gd name="connsiteX1" fmla="*/ 2631057 w 6365673"/>
              <a:gd name="connsiteY1" fmla="*/ 2693476 h 2693476"/>
              <a:gd name="connsiteX2" fmla="*/ 5955401 w 6365673"/>
              <a:gd name="connsiteY2" fmla="*/ 428839 h 2693476"/>
              <a:gd name="connsiteX3" fmla="*/ 6365673 w 6365673"/>
              <a:gd name="connsiteY3" fmla="*/ 748839 h 2693476"/>
              <a:gd name="connsiteX4" fmla="*/ 6192467 w 6365673"/>
              <a:gd name="connsiteY4" fmla="*/ 199661 h 2693476"/>
              <a:gd name="connsiteX5" fmla="*/ 5397013 w 6365673"/>
              <a:gd name="connsiteY5" fmla="*/ 0 h 2693476"/>
              <a:gd name="connsiteX6" fmla="*/ 5612160 w 6365673"/>
              <a:gd name="connsiteY6" fmla="*/ 173889 h 2693476"/>
              <a:gd name="connsiteX7" fmla="*/ 0 w 6365673"/>
              <a:gd name="connsiteY7" fmla="*/ 2081000 h 2693476"/>
              <a:gd name="connsiteX0" fmla="*/ 0 w 6365673"/>
              <a:gd name="connsiteY0" fmla="*/ 2081000 h 2693476"/>
              <a:gd name="connsiteX1" fmla="*/ 2631057 w 6365673"/>
              <a:gd name="connsiteY1" fmla="*/ 2693476 h 2693476"/>
              <a:gd name="connsiteX2" fmla="*/ 5955401 w 6365673"/>
              <a:gd name="connsiteY2" fmla="*/ 428839 h 2693476"/>
              <a:gd name="connsiteX3" fmla="*/ 6365673 w 6365673"/>
              <a:gd name="connsiteY3" fmla="*/ 748839 h 2693476"/>
              <a:gd name="connsiteX4" fmla="*/ 6219661 w 6365673"/>
              <a:gd name="connsiteY4" fmla="*/ 216657 h 2693476"/>
              <a:gd name="connsiteX5" fmla="*/ 5397013 w 6365673"/>
              <a:gd name="connsiteY5" fmla="*/ 0 h 2693476"/>
              <a:gd name="connsiteX6" fmla="*/ 5612160 w 6365673"/>
              <a:gd name="connsiteY6" fmla="*/ 173889 h 2693476"/>
              <a:gd name="connsiteX7" fmla="*/ 0 w 6365673"/>
              <a:gd name="connsiteY7" fmla="*/ 2081000 h 2693476"/>
              <a:gd name="connsiteX0" fmla="*/ 0 w 6365673"/>
              <a:gd name="connsiteY0" fmla="*/ 2081000 h 2693476"/>
              <a:gd name="connsiteX1" fmla="*/ 2631057 w 6365673"/>
              <a:gd name="connsiteY1" fmla="*/ 2693476 h 2693476"/>
              <a:gd name="connsiteX2" fmla="*/ 5955401 w 6365673"/>
              <a:gd name="connsiteY2" fmla="*/ 428839 h 2693476"/>
              <a:gd name="connsiteX3" fmla="*/ 6365673 w 6365673"/>
              <a:gd name="connsiteY3" fmla="*/ 748839 h 2693476"/>
              <a:gd name="connsiteX4" fmla="*/ 6219661 w 6365673"/>
              <a:gd name="connsiteY4" fmla="*/ 216657 h 2693476"/>
              <a:gd name="connsiteX5" fmla="*/ 5397013 w 6365673"/>
              <a:gd name="connsiteY5" fmla="*/ 0 h 2693476"/>
              <a:gd name="connsiteX6" fmla="*/ 5612160 w 6365673"/>
              <a:gd name="connsiteY6" fmla="*/ 173889 h 2693476"/>
              <a:gd name="connsiteX7" fmla="*/ 0 w 6365673"/>
              <a:gd name="connsiteY7" fmla="*/ 2081000 h 2693476"/>
              <a:gd name="connsiteX0" fmla="*/ 0 w 6365673"/>
              <a:gd name="connsiteY0" fmla="*/ 2081000 h 2693476"/>
              <a:gd name="connsiteX1" fmla="*/ 2631057 w 6365673"/>
              <a:gd name="connsiteY1" fmla="*/ 2693476 h 2693476"/>
              <a:gd name="connsiteX2" fmla="*/ 5955401 w 6365673"/>
              <a:gd name="connsiteY2" fmla="*/ 428839 h 2693476"/>
              <a:gd name="connsiteX3" fmla="*/ 6365673 w 6365673"/>
              <a:gd name="connsiteY3" fmla="*/ 748839 h 2693476"/>
              <a:gd name="connsiteX4" fmla="*/ 6219661 w 6365673"/>
              <a:gd name="connsiteY4" fmla="*/ 216657 h 2693476"/>
              <a:gd name="connsiteX5" fmla="*/ 5397013 w 6365673"/>
              <a:gd name="connsiteY5" fmla="*/ 0 h 2693476"/>
              <a:gd name="connsiteX6" fmla="*/ 5612160 w 6365673"/>
              <a:gd name="connsiteY6" fmla="*/ 173889 h 2693476"/>
              <a:gd name="connsiteX7" fmla="*/ 0 w 6365673"/>
              <a:gd name="connsiteY7" fmla="*/ 2081000 h 2693476"/>
              <a:gd name="connsiteX0" fmla="*/ 0 w 6365673"/>
              <a:gd name="connsiteY0" fmla="*/ 2081000 h 2693476"/>
              <a:gd name="connsiteX1" fmla="*/ 2631057 w 6365673"/>
              <a:gd name="connsiteY1" fmla="*/ 2693476 h 2693476"/>
              <a:gd name="connsiteX2" fmla="*/ 5955401 w 6365673"/>
              <a:gd name="connsiteY2" fmla="*/ 428839 h 2693476"/>
              <a:gd name="connsiteX3" fmla="*/ 6365673 w 6365673"/>
              <a:gd name="connsiteY3" fmla="*/ 748839 h 2693476"/>
              <a:gd name="connsiteX4" fmla="*/ 6219661 w 6365673"/>
              <a:gd name="connsiteY4" fmla="*/ 216657 h 2693476"/>
              <a:gd name="connsiteX5" fmla="*/ 5397013 w 6365673"/>
              <a:gd name="connsiteY5" fmla="*/ 0 h 2693476"/>
              <a:gd name="connsiteX6" fmla="*/ 5612160 w 6365673"/>
              <a:gd name="connsiteY6" fmla="*/ 173889 h 2693476"/>
              <a:gd name="connsiteX7" fmla="*/ 0 w 6365673"/>
              <a:gd name="connsiteY7" fmla="*/ 2081000 h 2693476"/>
              <a:gd name="connsiteX0" fmla="*/ 0 w 6365673"/>
              <a:gd name="connsiteY0" fmla="*/ 2081000 h 2701739"/>
              <a:gd name="connsiteX1" fmla="*/ 2697168 w 6365673"/>
              <a:gd name="connsiteY1" fmla="*/ 2701739 h 2701739"/>
              <a:gd name="connsiteX2" fmla="*/ 5955401 w 6365673"/>
              <a:gd name="connsiteY2" fmla="*/ 428839 h 2701739"/>
              <a:gd name="connsiteX3" fmla="*/ 6365673 w 6365673"/>
              <a:gd name="connsiteY3" fmla="*/ 748839 h 2701739"/>
              <a:gd name="connsiteX4" fmla="*/ 6219661 w 6365673"/>
              <a:gd name="connsiteY4" fmla="*/ 216657 h 2701739"/>
              <a:gd name="connsiteX5" fmla="*/ 5397013 w 6365673"/>
              <a:gd name="connsiteY5" fmla="*/ 0 h 2701739"/>
              <a:gd name="connsiteX6" fmla="*/ 5612160 w 6365673"/>
              <a:gd name="connsiteY6" fmla="*/ 173889 h 2701739"/>
              <a:gd name="connsiteX7" fmla="*/ 0 w 6365673"/>
              <a:gd name="connsiteY7" fmla="*/ 2081000 h 2701739"/>
              <a:gd name="connsiteX0" fmla="*/ 0 w 6365673"/>
              <a:gd name="connsiteY0" fmla="*/ 2081000 h 2701739"/>
              <a:gd name="connsiteX1" fmla="*/ 2697168 w 6365673"/>
              <a:gd name="connsiteY1" fmla="*/ 2701739 h 2701739"/>
              <a:gd name="connsiteX2" fmla="*/ 5955401 w 6365673"/>
              <a:gd name="connsiteY2" fmla="*/ 428839 h 2701739"/>
              <a:gd name="connsiteX3" fmla="*/ 6365673 w 6365673"/>
              <a:gd name="connsiteY3" fmla="*/ 748839 h 2701739"/>
              <a:gd name="connsiteX4" fmla="*/ 6219661 w 6365673"/>
              <a:gd name="connsiteY4" fmla="*/ 216657 h 2701739"/>
              <a:gd name="connsiteX5" fmla="*/ 5397013 w 6365673"/>
              <a:gd name="connsiteY5" fmla="*/ 0 h 2701739"/>
              <a:gd name="connsiteX6" fmla="*/ 5612160 w 6365673"/>
              <a:gd name="connsiteY6" fmla="*/ 173889 h 2701739"/>
              <a:gd name="connsiteX7" fmla="*/ 0 w 6365673"/>
              <a:gd name="connsiteY7" fmla="*/ 2081000 h 2701739"/>
              <a:gd name="connsiteX0" fmla="*/ 0 w 6365673"/>
              <a:gd name="connsiteY0" fmla="*/ 2081000 h 2701739"/>
              <a:gd name="connsiteX1" fmla="*/ 2697168 w 6365673"/>
              <a:gd name="connsiteY1" fmla="*/ 2701739 h 2701739"/>
              <a:gd name="connsiteX2" fmla="*/ 5922345 w 6365673"/>
              <a:gd name="connsiteY2" fmla="*/ 404048 h 2701739"/>
              <a:gd name="connsiteX3" fmla="*/ 6365673 w 6365673"/>
              <a:gd name="connsiteY3" fmla="*/ 748839 h 2701739"/>
              <a:gd name="connsiteX4" fmla="*/ 6219661 w 6365673"/>
              <a:gd name="connsiteY4" fmla="*/ 216657 h 2701739"/>
              <a:gd name="connsiteX5" fmla="*/ 5397013 w 6365673"/>
              <a:gd name="connsiteY5" fmla="*/ 0 h 2701739"/>
              <a:gd name="connsiteX6" fmla="*/ 5612160 w 6365673"/>
              <a:gd name="connsiteY6" fmla="*/ 173889 h 2701739"/>
              <a:gd name="connsiteX7" fmla="*/ 0 w 6365673"/>
              <a:gd name="connsiteY7" fmla="*/ 2081000 h 270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5673" h="2701739">
                <a:moveTo>
                  <a:pt x="0" y="2081000"/>
                </a:moveTo>
                <a:lnTo>
                  <a:pt x="2697168" y="2701739"/>
                </a:lnTo>
                <a:cubicBezTo>
                  <a:pt x="3744760" y="823049"/>
                  <a:pt x="5739590" y="440752"/>
                  <a:pt x="5922345" y="404048"/>
                </a:cubicBezTo>
                <a:cubicBezTo>
                  <a:pt x="6242685" y="652070"/>
                  <a:pt x="6048627" y="499801"/>
                  <a:pt x="6365673" y="748839"/>
                </a:cubicBezTo>
                <a:cubicBezTo>
                  <a:pt x="6231208" y="259662"/>
                  <a:pt x="6359481" y="707713"/>
                  <a:pt x="6219661" y="216657"/>
                </a:cubicBezTo>
                <a:lnTo>
                  <a:pt x="5397013" y="0"/>
                </a:lnTo>
                <a:cubicBezTo>
                  <a:pt x="5500143" y="72878"/>
                  <a:pt x="5488198" y="92332"/>
                  <a:pt x="5612160" y="173889"/>
                </a:cubicBezTo>
                <a:cubicBezTo>
                  <a:pt x="4378468" y="270916"/>
                  <a:pt x="2151357" y="638499"/>
                  <a:pt x="0" y="2081000"/>
                </a:cubicBezTo>
                <a:close/>
              </a:path>
            </a:pathLst>
          </a:custGeom>
          <a:solidFill>
            <a:srgbClr val="ADBECB"/>
          </a:solidFill>
          <a:ln>
            <a:noFill/>
          </a:ln>
          <a:effectLst>
            <a:outerShdw blurRad="304800" dist="50800" dir="5400000" algn="ctr" rotWithShape="0">
              <a:srgbClr val="000000">
                <a:alpha val="76000"/>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2" name="Titel 1"/>
          <p:cNvSpPr>
            <a:spLocks noGrp="1"/>
          </p:cNvSpPr>
          <p:nvPr>
            <p:ph type="title"/>
          </p:nvPr>
        </p:nvSpPr>
        <p:spPr>
          <a:xfrm>
            <a:off x="0" y="1"/>
            <a:ext cx="12198350" cy="1268413"/>
          </a:xfrm>
        </p:spPr>
        <p:txBody>
          <a:bodyPr/>
          <a:lstStyle/>
          <a:p>
            <a:r>
              <a:rPr lang="zh-CN" altLang="en-US" sz="1800" dirty="0">
                <a:latin typeface="微软雅黑" panose="020B0503020204020204" pitchFamily="34" charset="-122"/>
                <a:ea typeface="微软雅黑" panose="020B0503020204020204" pitchFamily="34" charset="-122"/>
              </a:rPr>
              <a:t>西门</a:t>
            </a:r>
            <a:r>
              <a:rPr lang="zh-CN" altLang="en-US" sz="1800" dirty="0" smtClean="0">
                <a:latin typeface="微软雅黑" panose="020B0503020204020204" pitchFamily="34" charset="-122"/>
                <a:ea typeface="微软雅黑" panose="020B0503020204020204" pitchFamily="34" charset="-122"/>
              </a:rPr>
              <a:t>子</a:t>
            </a:r>
            <a:r>
              <a:rPr lang="zh-CN" altLang="en-US" sz="1800" dirty="0">
                <a:latin typeface="微软雅黑" panose="020B0503020204020204" pitchFamily="34" charset="-122"/>
                <a:ea typeface="微软雅黑" panose="020B0503020204020204" pitchFamily="34" charset="-122"/>
              </a:rPr>
              <a:t>数字化企</a:t>
            </a:r>
            <a:r>
              <a:rPr lang="zh-CN" altLang="en-US" sz="1800" dirty="0" smtClean="0">
                <a:latin typeface="微软雅黑" panose="020B0503020204020204" pitchFamily="34" charset="-122"/>
                <a:ea typeface="微软雅黑" panose="020B0503020204020204" pitchFamily="34" charset="-122"/>
              </a:rPr>
              <a:t>业软</a:t>
            </a:r>
            <a:r>
              <a:rPr lang="zh-CN" altLang="en-US" sz="1800" dirty="0" smtClean="0">
                <a:latin typeface="微软雅黑" panose="020B0503020204020204" pitchFamily="34" charset="-122"/>
                <a:ea typeface="微软雅黑" panose="020B0503020204020204" pitchFamily="34" charset="-122"/>
              </a:rPr>
              <a:t>件涵</a:t>
            </a:r>
            <a:r>
              <a:rPr lang="zh-CN" altLang="en-US" sz="1800" dirty="0">
                <a:latin typeface="微软雅黑" panose="020B0503020204020204" pitchFamily="34" charset="-122"/>
                <a:ea typeface="微软雅黑" panose="020B0503020204020204" pitchFamily="34" charset="-122"/>
              </a:rPr>
              <a:t>盖产品开发及生产全过程的整体性理念 </a:t>
            </a:r>
            <a:endParaRPr lang="en-US" altLang="en-US" sz="1800" dirty="0">
              <a:latin typeface="微软雅黑" panose="020B0503020204020204" pitchFamily="34" charset="-122"/>
              <a:ea typeface="微软雅黑" panose="020B0503020204020204" pitchFamily="34" charset="-122"/>
            </a:endParaRPr>
          </a:p>
        </p:txBody>
      </p:sp>
      <p:sp>
        <p:nvSpPr>
          <p:cNvPr id="9" name="Freihandform 8"/>
          <p:cNvSpPr/>
          <p:nvPr/>
        </p:nvSpPr>
        <p:spPr bwMode="auto">
          <a:xfrm>
            <a:off x="4680676" y="2689149"/>
            <a:ext cx="3009141" cy="911000"/>
          </a:xfrm>
          <a:custGeom>
            <a:avLst/>
            <a:gdLst>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31393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28324 h 831551"/>
              <a:gd name="connsiteX6" fmla="*/ 1031001 w 2046660"/>
              <a:gd name="connsiteY6" fmla="*/ 0 h 831551"/>
              <a:gd name="connsiteX0" fmla="*/ 1031001 w 2046660"/>
              <a:gd name="connsiteY0" fmla="*/ 0 h 831551"/>
              <a:gd name="connsiteX1" fmla="*/ 1776636 w 2046660"/>
              <a:gd name="connsiteY1" fmla="*/ 135012 h 831551"/>
              <a:gd name="connsiteX2" fmla="*/ 2046660 w 2046660"/>
              <a:gd name="connsiteY2" fmla="*/ 454131 h 831551"/>
              <a:gd name="connsiteX3" fmla="*/ 1432969 w 2046660"/>
              <a:gd name="connsiteY3" fmla="*/ 831551 h 831551"/>
              <a:gd name="connsiteX4" fmla="*/ 1034070 w 2046660"/>
              <a:gd name="connsiteY4" fmla="*/ 420378 h 831551"/>
              <a:gd name="connsiteX5" fmla="*/ 0 w 2046660"/>
              <a:gd name="connsiteY5" fmla="*/ 328324 h 831551"/>
              <a:gd name="connsiteX6" fmla="*/ 1031001 w 2046660"/>
              <a:gd name="connsiteY6" fmla="*/ 0 h 831551"/>
              <a:gd name="connsiteX0" fmla="*/ 1043275 w 2058934"/>
              <a:gd name="connsiteY0" fmla="*/ 0 h 831551"/>
              <a:gd name="connsiteX1" fmla="*/ 1788910 w 2058934"/>
              <a:gd name="connsiteY1" fmla="*/ 135012 h 831551"/>
              <a:gd name="connsiteX2" fmla="*/ 2058934 w 2058934"/>
              <a:gd name="connsiteY2" fmla="*/ 454131 h 831551"/>
              <a:gd name="connsiteX3" fmla="*/ 1445243 w 2058934"/>
              <a:gd name="connsiteY3" fmla="*/ 831551 h 831551"/>
              <a:gd name="connsiteX4" fmla="*/ 1046344 w 2058934"/>
              <a:gd name="connsiteY4" fmla="*/ 420378 h 831551"/>
              <a:gd name="connsiteX5" fmla="*/ 0 w 2058934"/>
              <a:gd name="connsiteY5" fmla="*/ 331392 h 831551"/>
              <a:gd name="connsiteX6" fmla="*/ 1043275 w 2058934"/>
              <a:gd name="connsiteY6" fmla="*/ 0 h 831551"/>
              <a:gd name="connsiteX0" fmla="*/ 1043275 w 2058934"/>
              <a:gd name="connsiteY0" fmla="*/ 0 h 831551"/>
              <a:gd name="connsiteX1" fmla="*/ 1788910 w 2058934"/>
              <a:gd name="connsiteY1" fmla="*/ 135012 h 831551"/>
              <a:gd name="connsiteX2" fmla="*/ 2058934 w 2058934"/>
              <a:gd name="connsiteY2" fmla="*/ 454131 h 831551"/>
              <a:gd name="connsiteX3" fmla="*/ 1445243 w 2058934"/>
              <a:gd name="connsiteY3" fmla="*/ 831551 h 831551"/>
              <a:gd name="connsiteX4" fmla="*/ 1046344 w 2058934"/>
              <a:gd name="connsiteY4" fmla="*/ 420378 h 831551"/>
              <a:gd name="connsiteX5" fmla="*/ 0 w 2058934"/>
              <a:gd name="connsiteY5" fmla="*/ 331392 h 831551"/>
              <a:gd name="connsiteX6" fmla="*/ 1043275 w 2058934"/>
              <a:gd name="connsiteY6" fmla="*/ 0 h 83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934" h="831551">
                <a:moveTo>
                  <a:pt x="1043275" y="0"/>
                </a:moveTo>
                <a:lnTo>
                  <a:pt x="1788910" y="135012"/>
                </a:lnTo>
                <a:lnTo>
                  <a:pt x="2058934" y="454131"/>
                </a:lnTo>
                <a:cubicBezTo>
                  <a:pt x="1839028" y="564597"/>
                  <a:pt x="1631396" y="687333"/>
                  <a:pt x="1445243" y="831551"/>
                </a:cubicBezTo>
                <a:lnTo>
                  <a:pt x="1046344" y="420378"/>
                </a:lnTo>
                <a:lnTo>
                  <a:pt x="0" y="331392"/>
                </a:lnTo>
                <a:cubicBezTo>
                  <a:pt x="368216" y="196379"/>
                  <a:pt x="690402" y="101259"/>
                  <a:pt x="1043275" y="0"/>
                </a:cubicBezTo>
                <a:close/>
              </a:path>
            </a:pathLst>
          </a:custGeom>
          <a:gradFill flip="none" rotWithShape="1">
            <a:gsLst>
              <a:gs pos="0">
                <a:srgbClr val="647887">
                  <a:shade val="30000"/>
                  <a:satMod val="115000"/>
                </a:srgbClr>
              </a:gs>
              <a:gs pos="50000">
                <a:srgbClr val="647887">
                  <a:shade val="67500"/>
                  <a:satMod val="115000"/>
                </a:srgbClr>
              </a:gs>
              <a:gs pos="100000">
                <a:srgbClr val="647887">
                  <a:shade val="100000"/>
                  <a:satMod val="115000"/>
                </a:srgbClr>
              </a:gs>
            </a:gsLst>
            <a:path path="circle">
              <a:fillToRect l="100000" b="100000"/>
            </a:path>
            <a:tileRect t="-100000" r="-100000"/>
          </a:gradFill>
          <a:ln>
            <a:noFill/>
          </a:ln>
          <a:effectLst>
            <a:outerShdw blurRad="190500" dist="63500" dir="42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10" name="Freihandform 9"/>
          <p:cNvSpPr/>
          <p:nvPr/>
        </p:nvSpPr>
        <p:spPr bwMode="auto">
          <a:xfrm>
            <a:off x="2411487" y="3119437"/>
            <a:ext cx="4211004" cy="1297588"/>
          </a:xfrm>
          <a:custGeom>
            <a:avLst/>
            <a:gdLst>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 name="connsiteX0" fmla="*/ 0 w 2881281"/>
              <a:gd name="connsiteY0" fmla="*/ 638239 h 1184424"/>
              <a:gd name="connsiteX1" fmla="*/ 1371600 w 2881281"/>
              <a:gd name="connsiteY1" fmla="*/ 0 h 1184424"/>
              <a:gd name="connsiteX2" fmla="*/ 2445560 w 2881281"/>
              <a:gd name="connsiteY2" fmla="*/ 95122 h 1184424"/>
              <a:gd name="connsiteX3" fmla="*/ 2881281 w 2881281"/>
              <a:gd name="connsiteY3" fmla="*/ 518569 h 1184424"/>
              <a:gd name="connsiteX4" fmla="*/ 2166331 w 2881281"/>
              <a:gd name="connsiteY4" fmla="*/ 1184424 h 1184424"/>
              <a:gd name="connsiteX5" fmla="*/ 1466722 w 2881281"/>
              <a:gd name="connsiteY5" fmla="*/ 604486 h 1184424"/>
              <a:gd name="connsiteX6" fmla="*/ 0 w 2881281"/>
              <a:gd name="connsiteY6" fmla="*/ 638239 h 118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281" h="1184424">
                <a:moveTo>
                  <a:pt x="0" y="638239"/>
                </a:moveTo>
                <a:cubicBezTo>
                  <a:pt x="447994" y="385602"/>
                  <a:pt x="902126" y="178993"/>
                  <a:pt x="1371600" y="0"/>
                </a:cubicBezTo>
                <a:lnTo>
                  <a:pt x="2445560" y="95122"/>
                </a:lnTo>
                <a:lnTo>
                  <a:pt x="2881281" y="518569"/>
                </a:lnTo>
                <a:cubicBezTo>
                  <a:pt x="2596937" y="712905"/>
                  <a:pt x="2377033" y="937925"/>
                  <a:pt x="2166331" y="1184424"/>
                </a:cubicBezTo>
                <a:lnTo>
                  <a:pt x="1466722" y="604486"/>
                </a:lnTo>
                <a:lnTo>
                  <a:pt x="0" y="638239"/>
                </a:lnTo>
                <a:close/>
              </a:path>
            </a:pathLst>
          </a:custGeom>
          <a:gradFill flip="none" rotWithShape="1">
            <a:gsLst>
              <a:gs pos="0">
                <a:srgbClr val="647887">
                  <a:shade val="30000"/>
                  <a:satMod val="115000"/>
                </a:srgbClr>
              </a:gs>
              <a:gs pos="50000">
                <a:srgbClr val="647887">
                  <a:shade val="67500"/>
                  <a:satMod val="115000"/>
                </a:srgbClr>
              </a:gs>
              <a:gs pos="100000">
                <a:srgbClr val="647887">
                  <a:shade val="100000"/>
                  <a:satMod val="115000"/>
                </a:srgbClr>
              </a:gs>
            </a:gsLst>
            <a:path path="circle">
              <a:fillToRect l="100000" b="100000"/>
            </a:path>
            <a:tileRect t="-100000" r="-100000"/>
          </a:gradFill>
          <a:ln>
            <a:noFill/>
          </a:ln>
          <a:effectLst>
            <a:outerShdw blurRad="190500" dist="63500" dir="42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11" name="Freihandform 10"/>
          <p:cNvSpPr/>
          <p:nvPr/>
        </p:nvSpPr>
        <p:spPr bwMode="auto">
          <a:xfrm>
            <a:off x="1420400" y="3906058"/>
            <a:ext cx="4022651" cy="1028658"/>
          </a:xfrm>
          <a:custGeom>
            <a:avLst/>
            <a:gdLst>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49337 w 2749337"/>
              <a:gd name="connsiteY0" fmla="*/ 573801 h 938948"/>
              <a:gd name="connsiteX1" fmla="*/ 2509997 w 2749337"/>
              <a:gd name="connsiteY1" fmla="*/ 938948 h 938948"/>
              <a:gd name="connsiteX2" fmla="*/ 0 w 2749337"/>
              <a:gd name="connsiteY2" fmla="*/ 340599 h 938948"/>
              <a:gd name="connsiteX3" fmla="*/ 469474 w 2749337"/>
              <a:gd name="connsiteY3" fmla="*/ 39890 h 938948"/>
              <a:gd name="connsiteX4" fmla="*/ 2009839 w 2749337"/>
              <a:gd name="connsiteY4" fmla="*/ 0 h 938948"/>
              <a:gd name="connsiteX5" fmla="*/ 2749337 w 2749337"/>
              <a:gd name="connsiteY5" fmla="*/ 573801 h 938948"/>
              <a:gd name="connsiteX0" fmla="*/ 2737063 w 2737063"/>
              <a:gd name="connsiteY0" fmla="*/ 573801 h 938948"/>
              <a:gd name="connsiteX1" fmla="*/ 2497723 w 2737063"/>
              <a:gd name="connsiteY1" fmla="*/ 938948 h 938948"/>
              <a:gd name="connsiteX2" fmla="*/ 0 w 2737063"/>
              <a:gd name="connsiteY2" fmla="*/ 340599 h 938948"/>
              <a:gd name="connsiteX3" fmla="*/ 457200 w 2737063"/>
              <a:gd name="connsiteY3" fmla="*/ 39890 h 938948"/>
              <a:gd name="connsiteX4" fmla="*/ 1997565 w 2737063"/>
              <a:gd name="connsiteY4" fmla="*/ 0 h 938948"/>
              <a:gd name="connsiteX5" fmla="*/ 2737063 w 2737063"/>
              <a:gd name="connsiteY5" fmla="*/ 573801 h 938948"/>
              <a:gd name="connsiteX0" fmla="*/ 2752405 w 2752405"/>
              <a:gd name="connsiteY0" fmla="*/ 573801 h 938948"/>
              <a:gd name="connsiteX1" fmla="*/ 2513065 w 2752405"/>
              <a:gd name="connsiteY1" fmla="*/ 938948 h 938948"/>
              <a:gd name="connsiteX2" fmla="*/ 0 w 2752405"/>
              <a:gd name="connsiteY2" fmla="*/ 340599 h 938948"/>
              <a:gd name="connsiteX3" fmla="*/ 472542 w 2752405"/>
              <a:gd name="connsiteY3" fmla="*/ 39890 h 938948"/>
              <a:gd name="connsiteX4" fmla="*/ 2012907 w 2752405"/>
              <a:gd name="connsiteY4" fmla="*/ 0 h 938948"/>
              <a:gd name="connsiteX5" fmla="*/ 2752405 w 2752405"/>
              <a:gd name="connsiteY5" fmla="*/ 573801 h 938948"/>
              <a:gd name="connsiteX0" fmla="*/ 2752405 w 2752405"/>
              <a:gd name="connsiteY0" fmla="*/ 573801 h 938948"/>
              <a:gd name="connsiteX1" fmla="*/ 2513065 w 2752405"/>
              <a:gd name="connsiteY1" fmla="*/ 938948 h 938948"/>
              <a:gd name="connsiteX2" fmla="*/ 0 w 2752405"/>
              <a:gd name="connsiteY2" fmla="*/ 340599 h 938948"/>
              <a:gd name="connsiteX3" fmla="*/ 472542 w 2752405"/>
              <a:gd name="connsiteY3" fmla="*/ 39890 h 938948"/>
              <a:gd name="connsiteX4" fmla="*/ 2012907 w 2752405"/>
              <a:gd name="connsiteY4" fmla="*/ 0 h 938948"/>
              <a:gd name="connsiteX5" fmla="*/ 2752405 w 2752405"/>
              <a:gd name="connsiteY5" fmla="*/ 573801 h 9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2405" h="938948">
                <a:moveTo>
                  <a:pt x="2752405" y="573801"/>
                </a:moveTo>
                <a:cubicBezTo>
                  <a:pt x="2651146" y="686311"/>
                  <a:pt x="2574435" y="817232"/>
                  <a:pt x="2513065" y="938948"/>
                </a:cubicBezTo>
                <a:lnTo>
                  <a:pt x="0" y="340599"/>
                </a:lnTo>
                <a:cubicBezTo>
                  <a:pt x="156491" y="231158"/>
                  <a:pt x="303777" y="140126"/>
                  <a:pt x="472542" y="39890"/>
                </a:cubicBezTo>
                <a:lnTo>
                  <a:pt x="2012907" y="0"/>
                </a:lnTo>
                <a:lnTo>
                  <a:pt x="2752405" y="573801"/>
                </a:lnTo>
                <a:close/>
              </a:path>
            </a:pathLst>
          </a:custGeom>
          <a:gradFill flip="none" rotWithShape="1">
            <a:gsLst>
              <a:gs pos="0">
                <a:srgbClr val="647887">
                  <a:shade val="30000"/>
                  <a:satMod val="115000"/>
                </a:srgbClr>
              </a:gs>
              <a:gs pos="50000">
                <a:srgbClr val="647887">
                  <a:shade val="67500"/>
                  <a:satMod val="115000"/>
                </a:srgbClr>
              </a:gs>
              <a:gs pos="100000">
                <a:srgbClr val="647887">
                  <a:shade val="100000"/>
                  <a:satMod val="115000"/>
                </a:srgbClr>
              </a:gs>
            </a:gsLst>
            <a:path path="circle">
              <a:fillToRect l="100000" b="100000"/>
            </a:path>
            <a:tileRect t="-100000" r="-100000"/>
          </a:gradFill>
          <a:ln>
            <a:noFill/>
          </a:ln>
          <a:effectLst>
            <a:outerShdw blurRad="190500" dist="63500" dir="42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12" name="Freihandform 11"/>
          <p:cNvSpPr/>
          <p:nvPr/>
        </p:nvSpPr>
        <p:spPr bwMode="auto">
          <a:xfrm>
            <a:off x="1421102" y="3911477"/>
            <a:ext cx="3905760" cy="978124"/>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2873847"/>
              <a:gd name="connsiteX1" fmla="*/ 160498 w 5964568"/>
              <a:gd name="connsiteY1" fmla="*/ 2672237 h 2873847"/>
              <a:gd name="connsiteX2" fmla="*/ 418903 w 5964568"/>
              <a:gd name="connsiteY2" fmla="*/ 2371827 h 2873847"/>
              <a:gd name="connsiteX3" fmla="*/ 914255 w 5964568"/>
              <a:gd name="connsiteY3" fmla="*/ 2223421 h 2873847"/>
              <a:gd name="connsiteX4" fmla="*/ 1020177 w 5964568"/>
              <a:gd name="connsiteY4" fmla="*/ 1819583 h 2873847"/>
              <a:gd name="connsiteX5" fmla="*/ 714335 w 5964568"/>
              <a:gd name="connsiteY5" fmla="*/ 1913113 h 2873847"/>
              <a:gd name="connsiteX6" fmla="*/ 1523207 w 5964568"/>
              <a:gd name="connsiteY6" fmla="*/ 1199395 h 2873847"/>
              <a:gd name="connsiteX7" fmla="*/ 1433591 w 5964568"/>
              <a:gd name="connsiteY7" fmla="*/ 1471142 h 2873847"/>
              <a:gd name="connsiteX8" fmla="*/ 2320564 w 5964568"/>
              <a:gd name="connsiteY8" fmla="*/ 958464 h 2873847"/>
              <a:gd name="connsiteX9" fmla="*/ 1934587 w 5964568"/>
              <a:gd name="connsiteY9" fmla="*/ 939686 h 2873847"/>
              <a:gd name="connsiteX10" fmla="*/ 2724695 w 5964568"/>
              <a:gd name="connsiteY10" fmla="*/ 648948 h 2873847"/>
              <a:gd name="connsiteX11" fmla="*/ 2671161 w 5964568"/>
              <a:gd name="connsiteY11" fmla="*/ 815773 h 2873847"/>
              <a:gd name="connsiteX12" fmla="*/ 3352287 w 5964568"/>
              <a:gd name="connsiteY12" fmla="*/ 521781 h 2873847"/>
              <a:gd name="connsiteX13" fmla="*/ 3086216 w 5964568"/>
              <a:gd name="connsiteY13" fmla="*/ 509932 h 2873847"/>
              <a:gd name="connsiteX14" fmla="*/ 3698561 w 5964568"/>
              <a:gd name="connsiteY14" fmla="*/ 232711 h 2873847"/>
              <a:gd name="connsiteX15" fmla="*/ 3623481 w 5964568"/>
              <a:gd name="connsiteY15" fmla="*/ 395239 h 2873847"/>
              <a:gd name="connsiteX16" fmla="*/ 4344358 w 5964568"/>
              <a:gd name="connsiteY16" fmla="*/ 194615 h 2873847"/>
              <a:gd name="connsiteX17" fmla="*/ 4198661 w 5964568"/>
              <a:gd name="connsiteY17" fmla="*/ 170771 h 2873847"/>
              <a:gd name="connsiteX18" fmla="*/ 4788590 w 5964568"/>
              <a:gd name="connsiteY18" fmla="*/ 54418 h 2873847"/>
              <a:gd name="connsiteX19" fmla="*/ 5066181 w 5964568"/>
              <a:gd name="connsiteY19" fmla="*/ 95353 h 2873847"/>
              <a:gd name="connsiteX20" fmla="*/ 5478894 w 5964568"/>
              <a:gd name="connsiteY20" fmla="*/ 3603 h 2873847"/>
              <a:gd name="connsiteX21" fmla="*/ 5964568 w 5964568"/>
              <a:gd name="connsiteY21" fmla="*/ 324196 h 2873847"/>
              <a:gd name="connsiteX22" fmla="*/ 212611 w 5964568"/>
              <a:gd name="connsiteY22" fmla="*/ 2873847 h 2873847"/>
              <a:gd name="connsiteX0" fmla="*/ 212611 w 5478895"/>
              <a:gd name="connsiteY0" fmla="*/ 2873847 h 2873847"/>
              <a:gd name="connsiteX1" fmla="*/ 160498 w 5478895"/>
              <a:gd name="connsiteY1" fmla="*/ 2672237 h 2873847"/>
              <a:gd name="connsiteX2" fmla="*/ 418903 w 5478895"/>
              <a:gd name="connsiteY2" fmla="*/ 2371827 h 2873847"/>
              <a:gd name="connsiteX3" fmla="*/ 914255 w 5478895"/>
              <a:gd name="connsiteY3" fmla="*/ 2223421 h 2873847"/>
              <a:gd name="connsiteX4" fmla="*/ 1020177 w 5478895"/>
              <a:gd name="connsiteY4" fmla="*/ 1819583 h 2873847"/>
              <a:gd name="connsiteX5" fmla="*/ 714335 w 5478895"/>
              <a:gd name="connsiteY5" fmla="*/ 1913113 h 2873847"/>
              <a:gd name="connsiteX6" fmla="*/ 1523207 w 5478895"/>
              <a:gd name="connsiteY6" fmla="*/ 1199395 h 2873847"/>
              <a:gd name="connsiteX7" fmla="*/ 1433591 w 5478895"/>
              <a:gd name="connsiteY7" fmla="*/ 1471142 h 2873847"/>
              <a:gd name="connsiteX8" fmla="*/ 2320564 w 5478895"/>
              <a:gd name="connsiteY8" fmla="*/ 958464 h 2873847"/>
              <a:gd name="connsiteX9" fmla="*/ 1934587 w 5478895"/>
              <a:gd name="connsiteY9" fmla="*/ 939686 h 2873847"/>
              <a:gd name="connsiteX10" fmla="*/ 2724695 w 5478895"/>
              <a:gd name="connsiteY10" fmla="*/ 648948 h 2873847"/>
              <a:gd name="connsiteX11" fmla="*/ 2671161 w 5478895"/>
              <a:gd name="connsiteY11" fmla="*/ 815773 h 2873847"/>
              <a:gd name="connsiteX12" fmla="*/ 3352287 w 5478895"/>
              <a:gd name="connsiteY12" fmla="*/ 521781 h 2873847"/>
              <a:gd name="connsiteX13" fmla="*/ 3086216 w 5478895"/>
              <a:gd name="connsiteY13" fmla="*/ 509932 h 2873847"/>
              <a:gd name="connsiteX14" fmla="*/ 3698561 w 5478895"/>
              <a:gd name="connsiteY14" fmla="*/ 232711 h 2873847"/>
              <a:gd name="connsiteX15" fmla="*/ 3623481 w 5478895"/>
              <a:gd name="connsiteY15" fmla="*/ 395239 h 2873847"/>
              <a:gd name="connsiteX16" fmla="*/ 4344358 w 5478895"/>
              <a:gd name="connsiteY16" fmla="*/ 194615 h 2873847"/>
              <a:gd name="connsiteX17" fmla="*/ 4198661 w 5478895"/>
              <a:gd name="connsiteY17" fmla="*/ 170771 h 2873847"/>
              <a:gd name="connsiteX18" fmla="*/ 4788590 w 5478895"/>
              <a:gd name="connsiteY18" fmla="*/ 54418 h 2873847"/>
              <a:gd name="connsiteX19" fmla="*/ 5066181 w 5478895"/>
              <a:gd name="connsiteY19" fmla="*/ 95353 h 2873847"/>
              <a:gd name="connsiteX20" fmla="*/ 5478894 w 5478895"/>
              <a:gd name="connsiteY20" fmla="*/ 3603 h 2873847"/>
              <a:gd name="connsiteX21" fmla="*/ 212611 w 5478895"/>
              <a:gd name="connsiteY21" fmla="*/ 2873847 h 2873847"/>
              <a:gd name="connsiteX0" fmla="*/ 212611 w 5478894"/>
              <a:gd name="connsiteY0" fmla="*/ 2873847 h 2963441"/>
              <a:gd name="connsiteX1" fmla="*/ 160498 w 5478894"/>
              <a:gd name="connsiteY1" fmla="*/ 2672237 h 2963441"/>
              <a:gd name="connsiteX2" fmla="*/ 418903 w 5478894"/>
              <a:gd name="connsiteY2" fmla="*/ 2371827 h 2963441"/>
              <a:gd name="connsiteX3" fmla="*/ 914255 w 5478894"/>
              <a:gd name="connsiteY3" fmla="*/ 2223421 h 2963441"/>
              <a:gd name="connsiteX4" fmla="*/ 1020177 w 5478894"/>
              <a:gd name="connsiteY4" fmla="*/ 1819583 h 2963441"/>
              <a:gd name="connsiteX5" fmla="*/ 714335 w 5478894"/>
              <a:gd name="connsiteY5" fmla="*/ 1913113 h 2963441"/>
              <a:gd name="connsiteX6" fmla="*/ 1523207 w 5478894"/>
              <a:gd name="connsiteY6" fmla="*/ 1199395 h 2963441"/>
              <a:gd name="connsiteX7" fmla="*/ 1433591 w 5478894"/>
              <a:gd name="connsiteY7" fmla="*/ 1471142 h 2963441"/>
              <a:gd name="connsiteX8" fmla="*/ 2320564 w 5478894"/>
              <a:gd name="connsiteY8" fmla="*/ 958464 h 2963441"/>
              <a:gd name="connsiteX9" fmla="*/ 1934587 w 5478894"/>
              <a:gd name="connsiteY9" fmla="*/ 939686 h 2963441"/>
              <a:gd name="connsiteX10" fmla="*/ 2724695 w 5478894"/>
              <a:gd name="connsiteY10" fmla="*/ 648948 h 2963441"/>
              <a:gd name="connsiteX11" fmla="*/ 2671161 w 5478894"/>
              <a:gd name="connsiteY11" fmla="*/ 815773 h 2963441"/>
              <a:gd name="connsiteX12" fmla="*/ 3352287 w 5478894"/>
              <a:gd name="connsiteY12" fmla="*/ 521781 h 2963441"/>
              <a:gd name="connsiteX13" fmla="*/ 3086216 w 5478894"/>
              <a:gd name="connsiteY13" fmla="*/ 509932 h 2963441"/>
              <a:gd name="connsiteX14" fmla="*/ 3698561 w 5478894"/>
              <a:gd name="connsiteY14" fmla="*/ 232711 h 2963441"/>
              <a:gd name="connsiteX15" fmla="*/ 3623481 w 5478894"/>
              <a:gd name="connsiteY15" fmla="*/ 395239 h 2963441"/>
              <a:gd name="connsiteX16" fmla="*/ 4344358 w 5478894"/>
              <a:gd name="connsiteY16" fmla="*/ 194615 h 2963441"/>
              <a:gd name="connsiteX17" fmla="*/ 4198661 w 5478894"/>
              <a:gd name="connsiteY17" fmla="*/ 170771 h 2963441"/>
              <a:gd name="connsiteX18" fmla="*/ 4788590 w 5478894"/>
              <a:gd name="connsiteY18" fmla="*/ 54418 h 2963441"/>
              <a:gd name="connsiteX19" fmla="*/ 5066181 w 5478894"/>
              <a:gd name="connsiteY19" fmla="*/ 95353 h 2963441"/>
              <a:gd name="connsiteX20" fmla="*/ 5478894 w 5478894"/>
              <a:gd name="connsiteY20" fmla="*/ 3603 h 2963441"/>
              <a:gd name="connsiteX21" fmla="*/ 315554 w 5478894"/>
              <a:gd name="connsiteY21" fmla="*/ 2963441 h 2963441"/>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212611 w 5478894"/>
              <a:gd name="connsiteY0" fmla="*/ 2873847 h 2873847"/>
              <a:gd name="connsiteX1" fmla="*/ 160498 w 5478894"/>
              <a:gd name="connsiteY1" fmla="*/ 2672237 h 2873847"/>
              <a:gd name="connsiteX2" fmla="*/ 418903 w 5478894"/>
              <a:gd name="connsiteY2" fmla="*/ 2371827 h 2873847"/>
              <a:gd name="connsiteX3" fmla="*/ 749700 w 5478894"/>
              <a:gd name="connsiteY3" fmla="*/ 2376630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212611 w 5478894"/>
              <a:gd name="connsiteY0" fmla="*/ 2873847 h 2873847"/>
              <a:gd name="connsiteX1" fmla="*/ 160498 w 5478894"/>
              <a:gd name="connsiteY1" fmla="*/ 2672237 h 2873847"/>
              <a:gd name="connsiteX2" fmla="*/ 418903 w 5478894"/>
              <a:gd name="connsiteY2" fmla="*/ 2371827 h 2873847"/>
              <a:gd name="connsiteX3" fmla="*/ 749700 w 5478894"/>
              <a:gd name="connsiteY3" fmla="*/ 2376630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212611 w 5478894"/>
              <a:gd name="connsiteY0" fmla="*/ 2873847 h 2873847"/>
              <a:gd name="connsiteX1" fmla="*/ 160498 w 5478894"/>
              <a:gd name="connsiteY1" fmla="*/ 2672237 h 2873847"/>
              <a:gd name="connsiteX2" fmla="*/ 418903 w 5478894"/>
              <a:gd name="connsiteY2" fmla="*/ 2371827 h 2873847"/>
              <a:gd name="connsiteX3" fmla="*/ 749700 w 5478894"/>
              <a:gd name="connsiteY3" fmla="*/ 2376630 h 2873847"/>
              <a:gd name="connsiteX4" fmla="*/ 694892 w 5478894"/>
              <a:gd name="connsiteY4" fmla="*/ 213932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502005 w 5768288"/>
              <a:gd name="connsiteY0" fmla="*/ 2873847 h 2873847"/>
              <a:gd name="connsiteX1" fmla="*/ 449892 w 5768288"/>
              <a:gd name="connsiteY1" fmla="*/ 2672237 h 2873847"/>
              <a:gd name="connsiteX2" fmla="*/ 708297 w 5768288"/>
              <a:gd name="connsiteY2" fmla="*/ 2371827 h 2873847"/>
              <a:gd name="connsiteX3" fmla="*/ 1039094 w 5768288"/>
              <a:gd name="connsiteY3" fmla="*/ 2376630 h 2873847"/>
              <a:gd name="connsiteX4" fmla="*/ 984286 w 5768288"/>
              <a:gd name="connsiteY4" fmla="*/ 2139323 h 2873847"/>
              <a:gd name="connsiteX5" fmla="*/ 1003729 w 5768288"/>
              <a:gd name="connsiteY5" fmla="*/ 1913113 h 2873847"/>
              <a:gd name="connsiteX6" fmla="*/ 10139 w 5768288"/>
              <a:gd name="connsiteY6" fmla="*/ 1375918 h 2873847"/>
              <a:gd name="connsiteX7" fmla="*/ 1722985 w 5768288"/>
              <a:gd name="connsiteY7" fmla="*/ 1471142 h 2873847"/>
              <a:gd name="connsiteX8" fmla="*/ 2609958 w 5768288"/>
              <a:gd name="connsiteY8" fmla="*/ 958464 h 2873847"/>
              <a:gd name="connsiteX9" fmla="*/ 2223981 w 5768288"/>
              <a:gd name="connsiteY9" fmla="*/ 939686 h 2873847"/>
              <a:gd name="connsiteX10" fmla="*/ 3014089 w 5768288"/>
              <a:gd name="connsiteY10" fmla="*/ 648948 h 2873847"/>
              <a:gd name="connsiteX11" fmla="*/ 2960555 w 5768288"/>
              <a:gd name="connsiteY11" fmla="*/ 815773 h 2873847"/>
              <a:gd name="connsiteX12" fmla="*/ 3641681 w 5768288"/>
              <a:gd name="connsiteY12" fmla="*/ 521781 h 2873847"/>
              <a:gd name="connsiteX13" fmla="*/ 3375610 w 5768288"/>
              <a:gd name="connsiteY13" fmla="*/ 509932 h 2873847"/>
              <a:gd name="connsiteX14" fmla="*/ 3987955 w 5768288"/>
              <a:gd name="connsiteY14" fmla="*/ 232711 h 2873847"/>
              <a:gd name="connsiteX15" fmla="*/ 3912875 w 5768288"/>
              <a:gd name="connsiteY15" fmla="*/ 395239 h 2873847"/>
              <a:gd name="connsiteX16" fmla="*/ 4633752 w 5768288"/>
              <a:gd name="connsiteY16" fmla="*/ 194615 h 2873847"/>
              <a:gd name="connsiteX17" fmla="*/ 4488055 w 5768288"/>
              <a:gd name="connsiteY17" fmla="*/ 170771 h 2873847"/>
              <a:gd name="connsiteX18" fmla="*/ 5077984 w 5768288"/>
              <a:gd name="connsiteY18" fmla="*/ 54418 h 2873847"/>
              <a:gd name="connsiteX19" fmla="*/ 5355575 w 5768288"/>
              <a:gd name="connsiteY19" fmla="*/ 95353 h 2873847"/>
              <a:gd name="connsiteX20" fmla="*/ 5768288 w 5768288"/>
              <a:gd name="connsiteY20" fmla="*/ 3603 h 2873847"/>
              <a:gd name="connsiteX0" fmla="*/ 1042935 w 6309218"/>
              <a:gd name="connsiteY0" fmla="*/ 2873847 h 2873847"/>
              <a:gd name="connsiteX1" fmla="*/ 990822 w 6309218"/>
              <a:gd name="connsiteY1" fmla="*/ 2672237 h 2873847"/>
              <a:gd name="connsiteX2" fmla="*/ 1249227 w 6309218"/>
              <a:gd name="connsiteY2" fmla="*/ 2371827 h 2873847"/>
              <a:gd name="connsiteX3" fmla="*/ 1580024 w 6309218"/>
              <a:gd name="connsiteY3" fmla="*/ 2376630 h 2873847"/>
              <a:gd name="connsiteX4" fmla="*/ 1525216 w 6309218"/>
              <a:gd name="connsiteY4" fmla="*/ 2139323 h 2873847"/>
              <a:gd name="connsiteX5" fmla="*/ 1544659 w 6309218"/>
              <a:gd name="connsiteY5" fmla="*/ 1913113 h 2873847"/>
              <a:gd name="connsiteX6" fmla="*/ 551069 w 6309218"/>
              <a:gd name="connsiteY6" fmla="*/ 1375918 h 2873847"/>
              <a:gd name="connsiteX7" fmla="*/ 2228 w 6309218"/>
              <a:gd name="connsiteY7" fmla="*/ 1021508 h 2873847"/>
              <a:gd name="connsiteX8" fmla="*/ 3150888 w 6309218"/>
              <a:gd name="connsiteY8" fmla="*/ 958464 h 2873847"/>
              <a:gd name="connsiteX9" fmla="*/ 2764911 w 6309218"/>
              <a:gd name="connsiteY9" fmla="*/ 939686 h 2873847"/>
              <a:gd name="connsiteX10" fmla="*/ 3555019 w 6309218"/>
              <a:gd name="connsiteY10" fmla="*/ 648948 h 2873847"/>
              <a:gd name="connsiteX11" fmla="*/ 3501485 w 6309218"/>
              <a:gd name="connsiteY11" fmla="*/ 815773 h 2873847"/>
              <a:gd name="connsiteX12" fmla="*/ 4182611 w 6309218"/>
              <a:gd name="connsiteY12" fmla="*/ 521781 h 2873847"/>
              <a:gd name="connsiteX13" fmla="*/ 3916540 w 6309218"/>
              <a:gd name="connsiteY13" fmla="*/ 509932 h 2873847"/>
              <a:gd name="connsiteX14" fmla="*/ 4528885 w 6309218"/>
              <a:gd name="connsiteY14" fmla="*/ 232711 h 2873847"/>
              <a:gd name="connsiteX15" fmla="*/ 4453805 w 6309218"/>
              <a:gd name="connsiteY15" fmla="*/ 395239 h 2873847"/>
              <a:gd name="connsiteX16" fmla="*/ 5174682 w 6309218"/>
              <a:gd name="connsiteY16" fmla="*/ 194615 h 2873847"/>
              <a:gd name="connsiteX17" fmla="*/ 5028985 w 6309218"/>
              <a:gd name="connsiteY17" fmla="*/ 170771 h 2873847"/>
              <a:gd name="connsiteX18" fmla="*/ 5618914 w 6309218"/>
              <a:gd name="connsiteY18" fmla="*/ 54418 h 2873847"/>
              <a:gd name="connsiteX19" fmla="*/ 5896505 w 6309218"/>
              <a:gd name="connsiteY19" fmla="*/ 95353 h 2873847"/>
              <a:gd name="connsiteX20" fmla="*/ 6309218 w 6309218"/>
              <a:gd name="connsiteY20" fmla="*/ 3603 h 2873847"/>
              <a:gd name="connsiteX0" fmla="*/ 1042935 w 6309218"/>
              <a:gd name="connsiteY0" fmla="*/ 2873847 h 2873847"/>
              <a:gd name="connsiteX1" fmla="*/ 990822 w 6309218"/>
              <a:gd name="connsiteY1" fmla="*/ 2672237 h 2873847"/>
              <a:gd name="connsiteX2" fmla="*/ 1249227 w 6309218"/>
              <a:gd name="connsiteY2" fmla="*/ 2371827 h 2873847"/>
              <a:gd name="connsiteX3" fmla="*/ 1580024 w 6309218"/>
              <a:gd name="connsiteY3" fmla="*/ 2376630 h 2873847"/>
              <a:gd name="connsiteX4" fmla="*/ 1525216 w 6309218"/>
              <a:gd name="connsiteY4" fmla="*/ 2139323 h 2873847"/>
              <a:gd name="connsiteX5" fmla="*/ 1544659 w 6309218"/>
              <a:gd name="connsiteY5" fmla="*/ 1913113 h 2873847"/>
              <a:gd name="connsiteX6" fmla="*/ 551069 w 6309218"/>
              <a:gd name="connsiteY6" fmla="*/ 1375918 h 2873847"/>
              <a:gd name="connsiteX7" fmla="*/ 2228 w 6309218"/>
              <a:gd name="connsiteY7" fmla="*/ 1021508 h 2873847"/>
              <a:gd name="connsiteX8" fmla="*/ 2764911 w 6309218"/>
              <a:gd name="connsiteY8" fmla="*/ 939686 h 2873847"/>
              <a:gd name="connsiteX9" fmla="*/ 3555019 w 6309218"/>
              <a:gd name="connsiteY9" fmla="*/ 648948 h 2873847"/>
              <a:gd name="connsiteX10" fmla="*/ 3501485 w 6309218"/>
              <a:gd name="connsiteY10" fmla="*/ 815773 h 2873847"/>
              <a:gd name="connsiteX11" fmla="*/ 4182611 w 6309218"/>
              <a:gd name="connsiteY11" fmla="*/ 521781 h 2873847"/>
              <a:gd name="connsiteX12" fmla="*/ 3916540 w 6309218"/>
              <a:gd name="connsiteY12" fmla="*/ 509932 h 2873847"/>
              <a:gd name="connsiteX13" fmla="*/ 4528885 w 6309218"/>
              <a:gd name="connsiteY13" fmla="*/ 232711 h 2873847"/>
              <a:gd name="connsiteX14" fmla="*/ 4453805 w 6309218"/>
              <a:gd name="connsiteY14" fmla="*/ 395239 h 2873847"/>
              <a:gd name="connsiteX15" fmla="*/ 5174682 w 6309218"/>
              <a:gd name="connsiteY15" fmla="*/ 194615 h 2873847"/>
              <a:gd name="connsiteX16" fmla="*/ 5028985 w 6309218"/>
              <a:gd name="connsiteY16" fmla="*/ 170771 h 2873847"/>
              <a:gd name="connsiteX17" fmla="*/ 5618914 w 6309218"/>
              <a:gd name="connsiteY17" fmla="*/ 54418 h 2873847"/>
              <a:gd name="connsiteX18" fmla="*/ 5896505 w 6309218"/>
              <a:gd name="connsiteY18" fmla="*/ 95353 h 2873847"/>
              <a:gd name="connsiteX19" fmla="*/ 6309218 w 6309218"/>
              <a:gd name="connsiteY19" fmla="*/ 3603 h 2873847"/>
              <a:gd name="connsiteX0" fmla="*/ 1042935 w 6309218"/>
              <a:gd name="connsiteY0" fmla="*/ 2873847 h 2873847"/>
              <a:gd name="connsiteX1" fmla="*/ 990822 w 6309218"/>
              <a:gd name="connsiteY1" fmla="*/ 2672237 h 2873847"/>
              <a:gd name="connsiteX2" fmla="*/ 1249227 w 6309218"/>
              <a:gd name="connsiteY2" fmla="*/ 2371827 h 2873847"/>
              <a:gd name="connsiteX3" fmla="*/ 1580024 w 6309218"/>
              <a:gd name="connsiteY3" fmla="*/ 2376630 h 2873847"/>
              <a:gd name="connsiteX4" fmla="*/ 1525216 w 6309218"/>
              <a:gd name="connsiteY4" fmla="*/ 2139323 h 2873847"/>
              <a:gd name="connsiteX5" fmla="*/ 1544659 w 6309218"/>
              <a:gd name="connsiteY5" fmla="*/ 1913113 h 2873847"/>
              <a:gd name="connsiteX6" fmla="*/ 551069 w 6309218"/>
              <a:gd name="connsiteY6" fmla="*/ 1375918 h 2873847"/>
              <a:gd name="connsiteX7" fmla="*/ 2228 w 6309218"/>
              <a:gd name="connsiteY7" fmla="*/ 1021508 h 2873847"/>
              <a:gd name="connsiteX8" fmla="*/ 3555019 w 6309218"/>
              <a:gd name="connsiteY8" fmla="*/ 648948 h 2873847"/>
              <a:gd name="connsiteX9" fmla="*/ 3501485 w 6309218"/>
              <a:gd name="connsiteY9" fmla="*/ 815773 h 2873847"/>
              <a:gd name="connsiteX10" fmla="*/ 4182611 w 6309218"/>
              <a:gd name="connsiteY10" fmla="*/ 521781 h 2873847"/>
              <a:gd name="connsiteX11" fmla="*/ 3916540 w 6309218"/>
              <a:gd name="connsiteY11" fmla="*/ 509932 h 2873847"/>
              <a:gd name="connsiteX12" fmla="*/ 4528885 w 6309218"/>
              <a:gd name="connsiteY12" fmla="*/ 232711 h 2873847"/>
              <a:gd name="connsiteX13" fmla="*/ 4453805 w 6309218"/>
              <a:gd name="connsiteY13" fmla="*/ 395239 h 2873847"/>
              <a:gd name="connsiteX14" fmla="*/ 5174682 w 6309218"/>
              <a:gd name="connsiteY14" fmla="*/ 194615 h 2873847"/>
              <a:gd name="connsiteX15" fmla="*/ 5028985 w 6309218"/>
              <a:gd name="connsiteY15" fmla="*/ 170771 h 2873847"/>
              <a:gd name="connsiteX16" fmla="*/ 5618914 w 6309218"/>
              <a:gd name="connsiteY16" fmla="*/ 54418 h 2873847"/>
              <a:gd name="connsiteX17" fmla="*/ 5896505 w 6309218"/>
              <a:gd name="connsiteY17" fmla="*/ 95353 h 2873847"/>
              <a:gd name="connsiteX18" fmla="*/ 6309218 w 6309218"/>
              <a:gd name="connsiteY18" fmla="*/ 3603 h 2873847"/>
              <a:gd name="connsiteX0" fmla="*/ 1042935 w 5896505"/>
              <a:gd name="connsiteY0" fmla="*/ 2873847 h 2873847"/>
              <a:gd name="connsiteX1" fmla="*/ 990822 w 5896505"/>
              <a:gd name="connsiteY1" fmla="*/ 2672237 h 2873847"/>
              <a:gd name="connsiteX2" fmla="*/ 1249227 w 5896505"/>
              <a:gd name="connsiteY2" fmla="*/ 2371827 h 2873847"/>
              <a:gd name="connsiteX3" fmla="*/ 1580024 w 5896505"/>
              <a:gd name="connsiteY3" fmla="*/ 2376630 h 2873847"/>
              <a:gd name="connsiteX4" fmla="*/ 1525216 w 5896505"/>
              <a:gd name="connsiteY4" fmla="*/ 2139323 h 2873847"/>
              <a:gd name="connsiteX5" fmla="*/ 1544659 w 5896505"/>
              <a:gd name="connsiteY5" fmla="*/ 1913113 h 2873847"/>
              <a:gd name="connsiteX6" fmla="*/ 551069 w 5896505"/>
              <a:gd name="connsiteY6" fmla="*/ 1375918 h 2873847"/>
              <a:gd name="connsiteX7" fmla="*/ 2228 w 5896505"/>
              <a:gd name="connsiteY7" fmla="*/ 1021508 h 2873847"/>
              <a:gd name="connsiteX8" fmla="*/ 3555019 w 5896505"/>
              <a:gd name="connsiteY8" fmla="*/ 648948 h 2873847"/>
              <a:gd name="connsiteX9" fmla="*/ 3501485 w 5896505"/>
              <a:gd name="connsiteY9" fmla="*/ 815773 h 2873847"/>
              <a:gd name="connsiteX10" fmla="*/ 4182611 w 5896505"/>
              <a:gd name="connsiteY10" fmla="*/ 521781 h 2873847"/>
              <a:gd name="connsiteX11" fmla="*/ 3916540 w 5896505"/>
              <a:gd name="connsiteY11" fmla="*/ 509932 h 2873847"/>
              <a:gd name="connsiteX12" fmla="*/ 4528885 w 5896505"/>
              <a:gd name="connsiteY12" fmla="*/ 232711 h 2873847"/>
              <a:gd name="connsiteX13" fmla="*/ 4453805 w 5896505"/>
              <a:gd name="connsiteY13" fmla="*/ 395239 h 2873847"/>
              <a:gd name="connsiteX14" fmla="*/ 5174682 w 5896505"/>
              <a:gd name="connsiteY14" fmla="*/ 194615 h 2873847"/>
              <a:gd name="connsiteX15" fmla="*/ 5028985 w 5896505"/>
              <a:gd name="connsiteY15" fmla="*/ 170771 h 2873847"/>
              <a:gd name="connsiteX16" fmla="*/ 5618914 w 5896505"/>
              <a:gd name="connsiteY16" fmla="*/ 54418 h 2873847"/>
              <a:gd name="connsiteX17" fmla="*/ 5896505 w 5896505"/>
              <a:gd name="connsiteY17" fmla="*/ 95353 h 2873847"/>
              <a:gd name="connsiteX0" fmla="*/ 1042935 w 5643378"/>
              <a:gd name="connsiteY0" fmla="*/ 2873847 h 2873847"/>
              <a:gd name="connsiteX1" fmla="*/ 990822 w 5643378"/>
              <a:gd name="connsiteY1" fmla="*/ 2672237 h 2873847"/>
              <a:gd name="connsiteX2" fmla="*/ 1249227 w 5643378"/>
              <a:gd name="connsiteY2" fmla="*/ 2371827 h 2873847"/>
              <a:gd name="connsiteX3" fmla="*/ 1580024 w 5643378"/>
              <a:gd name="connsiteY3" fmla="*/ 2376630 h 2873847"/>
              <a:gd name="connsiteX4" fmla="*/ 1525216 w 5643378"/>
              <a:gd name="connsiteY4" fmla="*/ 2139323 h 2873847"/>
              <a:gd name="connsiteX5" fmla="*/ 1544659 w 5643378"/>
              <a:gd name="connsiteY5" fmla="*/ 1913113 h 2873847"/>
              <a:gd name="connsiteX6" fmla="*/ 551069 w 5643378"/>
              <a:gd name="connsiteY6" fmla="*/ 1375918 h 2873847"/>
              <a:gd name="connsiteX7" fmla="*/ 2228 w 5643378"/>
              <a:gd name="connsiteY7" fmla="*/ 1021508 h 2873847"/>
              <a:gd name="connsiteX8" fmla="*/ 3555019 w 5643378"/>
              <a:gd name="connsiteY8" fmla="*/ 648948 h 2873847"/>
              <a:gd name="connsiteX9" fmla="*/ 3501485 w 5643378"/>
              <a:gd name="connsiteY9" fmla="*/ 815773 h 2873847"/>
              <a:gd name="connsiteX10" fmla="*/ 4182611 w 5643378"/>
              <a:gd name="connsiteY10" fmla="*/ 521781 h 2873847"/>
              <a:gd name="connsiteX11" fmla="*/ 3916540 w 5643378"/>
              <a:gd name="connsiteY11" fmla="*/ 509932 h 2873847"/>
              <a:gd name="connsiteX12" fmla="*/ 4528885 w 5643378"/>
              <a:gd name="connsiteY12" fmla="*/ 232711 h 2873847"/>
              <a:gd name="connsiteX13" fmla="*/ 4453805 w 5643378"/>
              <a:gd name="connsiteY13" fmla="*/ 395239 h 2873847"/>
              <a:gd name="connsiteX14" fmla="*/ 5174682 w 5643378"/>
              <a:gd name="connsiteY14" fmla="*/ 194615 h 2873847"/>
              <a:gd name="connsiteX15" fmla="*/ 5028985 w 5643378"/>
              <a:gd name="connsiteY15" fmla="*/ 170771 h 2873847"/>
              <a:gd name="connsiteX16" fmla="*/ 5618914 w 5643378"/>
              <a:gd name="connsiteY16" fmla="*/ 54418 h 2873847"/>
              <a:gd name="connsiteX0" fmla="*/ 1042935 w 5226355"/>
              <a:gd name="connsiteY0" fmla="*/ 2703076 h 2703076"/>
              <a:gd name="connsiteX1" fmla="*/ 990822 w 5226355"/>
              <a:gd name="connsiteY1" fmla="*/ 2501466 h 2703076"/>
              <a:gd name="connsiteX2" fmla="*/ 1249227 w 5226355"/>
              <a:gd name="connsiteY2" fmla="*/ 2201056 h 2703076"/>
              <a:gd name="connsiteX3" fmla="*/ 1580024 w 5226355"/>
              <a:gd name="connsiteY3" fmla="*/ 2205859 h 2703076"/>
              <a:gd name="connsiteX4" fmla="*/ 1525216 w 5226355"/>
              <a:gd name="connsiteY4" fmla="*/ 1968552 h 2703076"/>
              <a:gd name="connsiteX5" fmla="*/ 1544659 w 5226355"/>
              <a:gd name="connsiteY5" fmla="*/ 1742342 h 2703076"/>
              <a:gd name="connsiteX6" fmla="*/ 551069 w 5226355"/>
              <a:gd name="connsiteY6" fmla="*/ 1205147 h 2703076"/>
              <a:gd name="connsiteX7" fmla="*/ 2228 w 5226355"/>
              <a:gd name="connsiteY7" fmla="*/ 850737 h 2703076"/>
              <a:gd name="connsiteX8" fmla="*/ 3555019 w 5226355"/>
              <a:gd name="connsiteY8" fmla="*/ 478177 h 2703076"/>
              <a:gd name="connsiteX9" fmla="*/ 3501485 w 5226355"/>
              <a:gd name="connsiteY9" fmla="*/ 645002 h 2703076"/>
              <a:gd name="connsiteX10" fmla="*/ 4182611 w 5226355"/>
              <a:gd name="connsiteY10" fmla="*/ 351010 h 2703076"/>
              <a:gd name="connsiteX11" fmla="*/ 3916540 w 5226355"/>
              <a:gd name="connsiteY11" fmla="*/ 339161 h 2703076"/>
              <a:gd name="connsiteX12" fmla="*/ 4528885 w 5226355"/>
              <a:gd name="connsiteY12" fmla="*/ 61940 h 2703076"/>
              <a:gd name="connsiteX13" fmla="*/ 4453805 w 5226355"/>
              <a:gd name="connsiteY13" fmla="*/ 224468 h 2703076"/>
              <a:gd name="connsiteX14" fmla="*/ 5174682 w 5226355"/>
              <a:gd name="connsiteY14" fmla="*/ 23844 h 2703076"/>
              <a:gd name="connsiteX15" fmla="*/ 5028985 w 5226355"/>
              <a:gd name="connsiteY15" fmla="*/ 0 h 2703076"/>
              <a:gd name="connsiteX0" fmla="*/ 1042935 w 5226355"/>
              <a:gd name="connsiteY0" fmla="*/ 2679232 h 2679232"/>
              <a:gd name="connsiteX1" fmla="*/ 990822 w 5226355"/>
              <a:gd name="connsiteY1" fmla="*/ 2477622 h 2679232"/>
              <a:gd name="connsiteX2" fmla="*/ 1249227 w 5226355"/>
              <a:gd name="connsiteY2" fmla="*/ 2177212 h 2679232"/>
              <a:gd name="connsiteX3" fmla="*/ 1580024 w 5226355"/>
              <a:gd name="connsiteY3" fmla="*/ 2182015 h 2679232"/>
              <a:gd name="connsiteX4" fmla="*/ 1525216 w 5226355"/>
              <a:gd name="connsiteY4" fmla="*/ 1944708 h 2679232"/>
              <a:gd name="connsiteX5" fmla="*/ 1544659 w 5226355"/>
              <a:gd name="connsiteY5" fmla="*/ 1718498 h 2679232"/>
              <a:gd name="connsiteX6" fmla="*/ 551069 w 5226355"/>
              <a:gd name="connsiteY6" fmla="*/ 1181303 h 2679232"/>
              <a:gd name="connsiteX7" fmla="*/ 2228 w 5226355"/>
              <a:gd name="connsiteY7" fmla="*/ 826893 h 2679232"/>
              <a:gd name="connsiteX8" fmla="*/ 3555019 w 5226355"/>
              <a:gd name="connsiteY8" fmla="*/ 454333 h 2679232"/>
              <a:gd name="connsiteX9" fmla="*/ 3501485 w 5226355"/>
              <a:gd name="connsiteY9" fmla="*/ 621158 h 2679232"/>
              <a:gd name="connsiteX10" fmla="*/ 4182611 w 5226355"/>
              <a:gd name="connsiteY10" fmla="*/ 327166 h 2679232"/>
              <a:gd name="connsiteX11" fmla="*/ 3916540 w 5226355"/>
              <a:gd name="connsiteY11" fmla="*/ 315317 h 2679232"/>
              <a:gd name="connsiteX12" fmla="*/ 4528885 w 5226355"/>
              <a:gd name="connsiteY12" fmla="*/ 38096 h 2679232"/>
              <a:gd name="connsiteX13" fmla="*/ 4453805 w 5226355"/>
              <a:gd name="connsiteY13" fmla="*/ 200624 h 2679232"/>
              <a:gd name="connsiteX14" fmla="*/ 5174682 w 5226355"/>
              <a:gd name="connsiteY14" fmla="*/ 0 h 2679232"/>
              <a:gd name="connsiteX0" fmla="*/ 1042935 w 4556574"/>
              <a:gd name="connsiteY0" fmla="*/ 2657500 h 2657500"/>
              <a:gd name="connsiteX1" fmla="*/ 990822 w 4556574"/>
              <a:gd name="connsiteY1" fmla="*/ 2455890 h 2657500"/>
              <a:gd name="connsiteX2" fmla="*/ 1249227 w 4556574"/>
              <a:gd name="connsiteY2" fmla="*/ 2155480 h 2657500"/>
              <a:gd name="connsiteX3" fmla="*/ 1580024 w 4556574"/>
              <a:gd name="connsiteY3" fmla="*/ 2160283 h 2657500"/>
              <a:gd name="connsiteX4" fmla="*/ 1525216 w 4556574"/>
              <a:gd name="connsiteY4" fmla="*/ 1922976 h 2657500"/>
              <a:gd name="connsiteX5" fmla="*/ 1544659 w 4556574"/>
              <a:gd name="connsiteY5" fmla="*/ 1696766 h 2657500"/>
              <a:gd name="connsiteX6" fmla="*/ 551069 w 4556574"/>
              <a:gd name="connsiteY6" fmla="*/ 1159571 h 2657500"/>
              <a:gd name="connsiteX7" fmla="*/ 2228 w 4556574"/>
              <a:gd name="connsiteY7" fmla="*/ 805161 h 2657500"/>
              <a:gd name="connsiteX8" fmla="*/ 3555019 w 4556574"/>
              <a:gd name="connsiteY8" fmla="*/ 432601 h 2657500"/>
              <a:gd name="connsiteX9" fmla="*/ 3501485 w 4556574"/>
              <a:gd name="connsiteY9" fmla="*/ 599426 h 2657500"/>
              <a:gd name="connsiteX10" fmla="*/ 4182611 w 4556574"/>
              <a:gd name="connsiteY10" fmla="*/ 305434 h 2657500"/>
              <a:gd name="connsiteX11" fmla="*/ 3916540 w 4556574"/>
              <a:gd name="connsiteY11" fmla="*/ 293585 h 2657500"/>
              <a:gd name="connsiteX12" fmla="*/ 4528885 w 4556574"/>
              <a:gd name="connsiteY12" fmla="*/ 16364 h 2657500"/>
              <a:gd name="connsiteX13" fmla="*/ 4453805 w 4556574"/>
              <a:gd name="connsiteY13" fmla="*/ 178892 h 2657500"/>
              <a:gd name="connsiteX0" fmla="*/ 1042935 w 4528885"/>
              <a:gd name="connsiteY0" fmla="*/ 2657500 h 2657500"/>
              <a:gd name="connsiteX1" fmla="*/ 990822 w 4528885"/>
              <a:gd name="connsiteY1" fmla="*/ 2455890 h 2657500"/>
              <a:gd name="connsiteX2" fmla="*/ 1249227 w 4528885"/>
              <a:gd name="connsiteY2" fmla="*/ 2155480 h 2657500"/>
              <a:gd name="connsiteX3" fmla="*/ 1580024 w 4528885"/>
              <a:gd name="connsiteY3" fmla="*/ 2160283 h 2657500"/>
              <a:gd name="connsiteX4" fmla="*/ 1525216 w 4528885"/>
              <a:gd name="connsiteY4" fmla="*/ 1922976 h 2657500"/>
              <a:gd name="connsiteX5" fmla="*/ 1544659 w 4528885"/>
              <a:gd name="connsiteY5" fmla="*/ 1696766 h 2657500"/>
              <a:gd name="connsiteX6" fmla="*/ 551069 w 4528885"/>
              <a:gd name="connsiteY6" fmla="*/ 1159571 h 2657500"/>
              <a:gd name="connsiteX7" fmla="*/ 2228 w 4528885"/>
              <a:gd name="connsiteY7" fmla="*/ 805161 h 2657500"/>
              <a:gd name="connsiteX8" fmla="*/ 3555019 w 4528885"/>
              <a:gd name="connsiteY8" fmla="*/ 432601 h 2657500"/>
              <a:gd name="connsiteX9" fmla="*/ 3501485 w 4528885"/>
              <a:gd name="connsiteY9" fmla="*/ 599426 h 2657500"/>
              <a:gd name="connsiteX10" fmla="*/ 4182611 w 4528885"/>
              <a:gd name="connsiteY10" fmla="*/ 305434 h 2657500"/>
              <a:gd name="connsiteX11" fmla="*/ 3916540 w 4528885"/>
              <a:gd name="connsiteY11" fmla="*/ 293585 h 2657500"/>
              <a:gd name="connsiteX12" fmla="*/ 4528885 w 4528885"/>
              <a:gd name="connsiteY12" fmla="*/ 16364 h 2657500"/>
              <a:gd name="connsiteX0" fmla="*/ 1042935 w 4197392"/>
              <a:gd name="connsiteY0" fmla="*/ 2374808 h 2374808"/>
              <a:gd name="connsiteX1" fmla="*/ 990822 w 4197392"/>
              <a:gd name="connsiteY1" fmla="*/ 2173198 h 2374808"/>
              <a:gd name="connsiteX2" fmla="*/ 1249227 w 4197392"/>
              <a:gd name="connsiteY2" fmla="*/ 1872788 h 2374808"/>
              <a:gd name="connsiteX3" fmla="*/ 1580024 w 4197392"/>
              <a:gd name="connsiteY3" fmla="*/ 1877591 h 2374808"/>
              <a:gd name="connsiteX4" fmla="*/ 1525216 w 4197392"/>
              <a:gd name="connsiteY4" fmla="*/ 1640284 h 2374808"/>
              <a:gd name="connsiteX5" fmla="*/ 1544659 w 4197392"/>
              <a:gd name="connsiteY5" fmla="*/ 1414074 h 2374808"/>
              <a:gd name="connsiteX6" fmla="*/ 551069 w 4197392"/>
              <a:gd name="connsiteY6" fmla="*/ 876879 h 2374808"/>
              <a:gd name="connsiteX7" fmla="*/ 2228 w 4197392"/>
              <a:gd name="connsiteY7" fmla="*/ 522469 h 2374808"/>
              <a:gd name="connsiteX8" fmla="*/ 3555019 w 4197392"/>
              <a:gd name="connsiteY8" fmla="*/ 149909 h 2374808"/>
              <a:gd name="connsiteX9" fmla="*/ 3501485 w 4197392"/>
              <a:gd name="connsiteY9" fmla="*/ 316734 h 2374808"/>
              <a:gd name="connsiteX10" fmla="*/ 4182611 w 4197392"/>
              <a:gd name="connsiteY10" fmla="*/ 22742 h 2374808"/>
              <a:gd name="connsiteX11" fmla="*/ 3916540 w 4197392"/>
              <a:gd name="connsiteY11" fmla="*/ 10893 h 2374808"/>
              <a:gd name="connsiteX0" fmla="*/ 1042935 w 4197392"/>
              <a:gd name="connsiteY0" fmla="*/ 2352066 h 2352066"/>
              <a:gd name="connsiteX1" fmla="*/ 990822 w 4197392"/>
              <a:gd name="connsiteY1" fmla="*/ 2150456 h 2352066"/>
              <a:gd name="connsiteX2" fmla="*/ 1249227 w 4197392"/>
              <a:gd name="connsiteY2" fmla="*/ 1850046 h 2352066"/>
              <a:gd name="connsiteX3" fmla="*/ 1580024 w 4197392"/>
              <a:gd name="connsiteY3" fmla="*/ 1854849 h 2352066"/>
              <a:gd name="connsiteX4" fmla="*/ 1525216 w 4197392"/>
              <a:gd name="connsiteY4" fmla="*/ 1617542 h 2352066"/>
              <a:gd name="connsiteX5" fmla="*/ 1544659 w 4197392"/>
              <a:gd name="connsiteY5" fmla="*/ 1391332 h 2352066"/>
              <a:gd name="connsiteX6" fmla="*/ 551069 w 4197392"/>
              <a:gd name="connsiteY6" fmla="*/ 854137 h 2352066"/>
              <a:gd name="connsiteX7" fmla="*/ 2228 w 4197392"/>
              <a:gd name="connsiteY7" fmla="*/ 499727 h 2352066"/>
              <a:gd name="connsiteX8" fmla="*/ 3555019 w 4197392"/>
              <a:gd name="connsiteY8" fmla="*/ 127167 h 2352066"/>
              <a:gd name="connsiteX9" fmla="*/ 3501485 w 4197392"/>
              <a:gd name="connsiteY9" fmla="*/ 293992 h 2352066"/>
              <a:gd name="connsiteX10" fmla="*/ 4182611 w 4197392"/>
              <a:gd name="connsiteY10" fmla="*/ 0 h 2352066"/>
              <a:gd name="connsiteX0" fmla="*/ 1042935 w 3568615"/>
              <a:gd name="connsiteY0" fmla="*/ 2224899 h 2224899"/>
              <a:gd name="connsiteX1" fmla="*/ 990822 w 3568615"/>
              <a:gd name="connsiteY1" fmla="*/ 2023289 h 2224899"/>
              <a:gd name="connsiteX2" fmla="*/ 1249227 w 3568615"/>
              <a:gd name="connsiteY2" fmla="*/ 1722879 h 2224899"/>
              <a:gd name="connsiteX3" fmla="*/ 1580024 w 3568615"/>
              <a:gd name="connsiteY3" fmla="*/ 1727682 h 2224899"/>
              <a:gd name="connsiteX4" fmla="*/ 1525216 w 3568615"/>
              <a:gd name="connsiteY4" fmla="*/ 1490375 h 2224899"/>
              <a:gd name="connsiteX5" fmla="*/ 1544659 w 3568615"/>
              <a:gd name="connsiteY5" fmla="*/ 1264165 h 2224899"/>
              <a:gd name="connsiteX6" fmla="*/ 551069 w 3568615"/>
              <a:gd name="connsiteY6" fmla="*/ 726970 h 2224899"/>
              <a:gd name="connsiteX7" fmla="*/ 2228 w 3568615"/>
              <a:gd name="connsiteY7" fmla="*/ 372560 h 2224899"/>
              <a:gd name="connsiteX8" fmla="*/ 3555019 w 3568615"/>
              <a:gd name="connsiteY8" fmla="*/ 0 h 2224899"/>
              <a:gd name="connsiteX9" fmla="*/ 3501485 w 3568615"/>
              <a:gd name="connsiteY9" fmla="*/ 166825 h 2224899"/>
              <a:gd name="connsiteX0" fmla="*/ 1042935 w 3555019"/>
              <a:gd name="connsiteY0" fmla="*/ 2224899 h 2224899"/>
              <a:gd name="connsiteX1" fmla="*/ 990822 w 3555019"/>
              <a:gd name="connsiteY1" fmla="*/ 2023289 h 2224899"/>
              <a:gd name="connsiteX2" fmla="*/ 1249227 w 3555019"/>
              <a:gd name="connsiteY2" fmla="*/ 1722879 h 2224899"/>
              <a:gd name="connsiteX3" fmla="*/ 1580024 w 3555019"/>
              <a:gd name="connsiteY3" fmla="*/ 1727682 h 2224899"/>
              <a:gd name="connsiteX4" fmla="*/ 1525216 w 3555019"/>
              <a:gd name="connsiteY4" fmla="*/ 1490375 h 2224899"/>
              <a:gd name="connsiteX5" fmla="*/ 1544659 w 3555019"/>
              <a:gd name="connsiteY5" fmla="*/ 1264165 h 2224899"/>
              <a:gd name="connsiteX6" fmla="*/ 551069 w 3555019"/>
              <a:gd name="connsiteY6" fmla="*/ 726970 h 2224899"/>
              <a:gd name="connsiteX7" fmla="*/ 2228 w 3555019"/>
              <a:gd name="connsiteY7" fmla="*/ 372560 h 2224899"/>
              <a:gd name="connsiteX8" fmla="*/ 3555019 w 3555019"/>
              <a:gd name="connsiteY8" fmla="*/ 0 h 2224899"/>
              <a:gd name="connsiteX0" fmla="*/ 1042935 w 1845880"/>
              <a:gd name="connsiteY0" fmla="*/ 1867165 h 1867165"/>
              <a:gd name="connsiteX1" fmla="*/ 990822 w 1845880"/>
              <a:gd name="connsiteY1" fmla="*/ 1665555 h 1867165"/>
              <a:gd name="connsiteX2" fmla="*/ 1249227 w 1845880"/>
              <a:gd name="connsiteY2" fmla="*/ 1365145 h 1867165"/>
              <a:gd name="connsiteX3" fmla="*/ 1580024 w 1845880"/>
              <a:gd name="connsiteY3" fmla="*/ 1369948 h 1867165"/>
              <a:gd name="connsiteX4" fmla="*/ 1525216 w 1845880"/>
              <a:gd name="connsiteY4" fmla="*/ 1132641 h 1867165"/>
              <a:gd name="connsiteX5" fmla="*/ 1544659 w 1845880"/>
              <a:gd name="connsiteY5" fmla="*/ 906431 h 1867165"/>
              <a:gd name="connsiteX6" fmla="*/ 551069 w 1845880"/>
              <a:gd name="connsiteY6" fmla="*/ 369236 h 1867165"/>
              <a:gd name="connsiteX7" fmla="*/ 2228 w 1845880"/>
              <a:gd name="connsiteY7" fmla="*/ 14826 h 1867165"/>
              <a:gd name="connsiteX0" fmla="*/ 3387107 w 4190053"/>
              <a:gd name="connsiteY0" fmla="*/ 1519761 h 1519761"/>
              <a:gd name="connsiteX1" fmla="*/ 3334994 w 4190053"/>
              <a:gd name="connsiteY1" fmla="*/ 1318151 h 1519761"/>
              <a:gd name="connsiteX2" fmla="*/ 3593399 w 4190053"/>
              <a:gd name="connsiteY2" fmla="*/ 1017741 h 1519761"/>
              <a:gd name="connsiteX3" fmla="*/ 3924196 w 4190053"/>
              <a:gd name="connsiteY3" fmla="*/ 1022544 h 1519761"/>
              <a:gd name="connsiteX4" fmla="*/ 3869388 w 4190053"/>
              <a:gd name="connsiteY4" fmla="*/ 785237 h 1519761"/>
              <a:gd name="connsiteX5" fmla="*/ 3888831 w 4190053"/>
              <a:gd name="connsiteY5" fmla="*/ 559027 h 1519761"/>
              <a:gd name="connsiteX6" fmla="*/ 2895241 w 4190053"/>
              <a:gd name="connsiteY6" fmla="*/ 21832 h 1519761"/>
              <a:gd name="connsiteX7" fmla="*/ 521 w 4190053"/>
              <a:gd name="connsiteY7" fmla="*/ 813157 h 1519761"/>
              <a:gd name="connsiteX0" fmla="*/ 3388515 w 4191461"/>
              <a:gd name="connsiteY0" fmla="*/ 1165856 h 1165856"/>
              <a:gd name="connsiteX1" fmla="*/ 3336402 w 4191461"/>
              <a:gd name="connsiteY1" fmla="*/ 964246 h 1165856"/>
              <a:gd name="connsiteX2" fmla="*/ 3594807 w 4191461"/>
              <a:gd name="connsiteY2" fmla="*/ 663836 h 1165856"/>
              <a:gd name="connsiteX3" fmla="*/ 3925604 w 4191461"/>
              <a:gd name="connsiteY3" fmla="*/ 668639 h 1165856"/>
              <a:gd name="connsiteX4" fmla="*/ 3870796 w 4191461"/>
              <a:gd name="connsiteY4" fmla="*/ 431332 h 1165856"/>
              <a:gd name="connsiteX5" fmla="*/ 3890239 w 4191461"/>
              <a:gd name="connsiteY5" fmla="*/ 205122 h 1165856"/>
              <a:gd name="connsiteX6" fmla="*/ 661748 w 4191461"/>
              <a:gd name="connsiteY6" fmla="*/ 70933 h 1165856"/>
              <a:gd name="connsiteX7" fmla="*/ 1929 w 4191461"/>
              <a:gd name="connsiteY7" fmla="*/ 459252 h 1165856"/>
              <a:gd name="connsiteX0" fmla="*/ 3389501 w 4192447"/>
              <a:gd name="connsiteY0" fmla="*/ 1165856 h 1165856"/>
              <a:gd name="connsiteX1" fmla="*/ 3337388 w 4192447"/>
              <a:gd name="connsiteY1" fmla="*/ 964246 h 1165856"/>
              <a:gd name="connsiteX2" fmla="*/ 3595793 w 4192447"/>
              <a:gd name="connsiteY2" fmla="*/ 663836 h 1165856"/>
              <a:gd name="connsiteX3" fmla="*/ 3926590 w 4192447"/>
              <a:gd name="connsiteY3" fmla="*/ 668639 h 1165856"/>
              <a:gd name="connsiteX4" fmla="*/ 3871782 w 4192447"/>
              <a:gd name="connsiteY4" fmla="*/ 431332 h 1165856"/>
              <a:gd name="connsiteX5" fmla="*/ 3891225 w 4192447"/>
              <a:gd name="connsiteY5" fmla="*/ 205122 h 1165856"/>
              <a:gd name="connsiteX6" fmla="*/ 662734 w 4192447"/>
              <a:gd name="connsiteY6" fmla="*/ 70933 h 1165856"/>
              <a:gd name="connsiteX7" fmla="*/ 2915 w 4192447"/>
              <a:gd name="connsiteY7" fmla="*/ 459252 h 1165856"/>
              <a:gd name="connsiteX0" fmla="*/ 3389501 w 4192447"/>
              <a:gd name="connsiteY0" fmla="*/ 1118299 h 1118299"/>
              <a:gd name="connsiteX1" fmla="*/ 3337388 w 4192447"/>
              <a:gd name="connsiteY1" fmla="*/ 916689 h 1118299"/>
              <a:gd name="connsiteX2" fmla="*/ 3595793 w 4192447"/>
              <a:gd name="connsiteY2" fmla="*/ 616279 h 1118299"/>
              <a:gd name="connsiteX3" fmla="*/ 3926590 w 4192447"/>
              <a:gd name="connsiteY3" fmla="*/ 621082 h 1118299"/>
              <a:gd name="connsiteX4" fmla="*/ 3871782 w 4192447"/>
              <a:gd name="connsiteY4" fmla="*/ 383775 h 1118299"/>
              <a:gd name="connsiteX5" fmla="*/ 3891225 w 4192447"/>
              <a:gd name="connsiteY5" fmla="*/ 157565 h 1118299"/>
              <a:gd name="connsiteX6" fmla="*/ 662734 w 4192447"/>
              <a:gd name="connsiteY6" fmla="*/ 23376 h 1118299"/>
              <a:gd name="connsiteX7" fmla="*/ 2915 w 4192447"/>
              <a:gd name="connsiteY7" fmla="*/ 411695 h 1118299"/>
              <a:gd name="connsiteX0" fmla="*/ 3389501 w 4192447"/>
              <a:gd name="connsiteY0" fmla="*/ 1530164 h 1530164"/>
              <a:gd name="connsiteX1" fmla="*/ 3337388 w 4192447"/>
              <a:gd name="connsiteY1" fmla="*/ 1328554 h 1530164"/>
              <a:gd name="connsiteX2" fmla="*/ 3595793 w 4192447"/>
              <a:gd name="connsiteY2" fmla="*/ 1028144 h 1530164"/>
              <a:gd name="connsiteX3" fmla="*/ 3926590 w 4192447"/>
              <a:gd name="connsiteY3" fmla="*/ 1032947 h 1530164"/>
              <a:gd name="connsiteX4" fmla="*/ 3871782 w 4192447"/>
              <a:gd name="connsiteY4" fmla="*/ 795640 h 1530164"/>
              <a:gd name="connsiteX5" fmla="*/ 2264800 w 4192447"/>
              <a:gd name="connsiteY5" fmla="*/ 49853 h 1530164"/>
              <a:gd name="connsiteX6" fmla="*/ 662734 w 4192447"/>
              <a:gd name="connsiteY6" fmla="*/ 435241 h 1530164"/>
              <a:gd name="connsiteX7" fmla="*/ 2915 w 4192447"/>
              <a:gd name="connsiteY7" fmla="*/ 823560 h 1530164"/>
              <a:gd name="connsiteX0" fmla="*/ 3389501 w 4045646"/>
              <a:gd name="connsiteY0" fmla="*/ 1530164 h 1530164"/>
              <a:gd name="connsiteX1" fmla="*/ 3337388 w 4045646"/>
              <a:gd name="connsiteY1" fmla="*/ 1328554 h 1530164"/>
              <a:gd name="connsiteX2" fmla="*/ 3595793 w 4045646"/>
              <a:gd name="connsiteY2" fmla="*/ 1028144 h 1530164"/>
              <a:gd name="connsiteX3" fmla="*/ 3926590 w 4045646"/>
              <a:gd name="connsiteY3" fmla="*/ 1032947 h 1530164"/>
              <a:gd name="connsiteX4" fmla="*/ 2957157 w 4045646"/>
              <a:gd name="connsiteY4" fmla="*/ 389304 h 1530164"/>
              <a:gd name="connsiteX5" fmla="*/ 2264800 w 4045646"/>
              <a:gd name="connsiteY5" fmla="*/ 49853 h 1530164"/>
              <a:gd name="connsiteX6" fmla="*/ 662734 w 4045646"/>
              <a:gd name="connsiteY6" fmla="*/ 435241 h 1530164"/>
              <a:gd name="connsiteX7" fmla="*/ 2915 w 4045646"/>
              <a:gd name="connsiteY7" fmla="*/ 823560 h 1530164"/>
              <a:gd name="connsiteX0" fmla="*/ 3389501 w 3926590"/>
              <a:gd name="connsiteY0" fmla="*/ 1530164 h 1530164"/>
              <a:gd name="connsiteX1" fmla="*/ 3337388 w 3926590"/>
              <a:gd name="connsiteY1" fmla="*/ 1328554 h 1530164"/>
              <a:gd name="connsiteX2" fmla="*/ 3595793 w 3926590"/>
              <a:gd name="connsiteY2" fmla="*/ 1028144 h 1530164"/>
              <a:gd name="connsiteX3" fmla="*/ 3926590 w 3926590"/>
              <a:gd name="connsiteY3" fmla="*/ 1032947 h 1530164"/>
              <a:gd name="connsiteX4" fmla="*/ 2957157 w 3926590"/>
              <a:gd name="connsiteY4" fmla="*/ 389304 h 1530164"/>
              <a:gd name="connsiteX5" fmla="*/ 2264800 w 3926590"/>
              <a:gd name="connsiteY5" fmla="*/ 49853 h 1530164"/>
              <a:gd name="connsiteX6" fmla="*/ 662734 w 3926590"/>
              <a:gd name="connsiteY6" fmla="*/ 435241 h 1530164"/>
              <a:gd name="connsiteX7" fmla="*/ 2915 w 3926590"/>
              <a:gd name="connsiteY7" fmla="*/ 823560 h 1530164"/>
              <a:gd name="connsiteX0" fmla="*/ 3389501 w 3926590"/>
              <a:gd name="connsiteY0" fmla="*/ 1530164 h 1530164"/>
              <a:gd name="connsiteX1" fmla="*/ 3337388 w 3926590"/>
              <a:gd name="connsiteY1" fmla="*/ 1328554 h 1530164"/>
              <a:gd name="connsiteX2" fmla="*/ 3595793 w 3926590"/>
              <a:gd name="connsiteY2" fmla="*/ 1028144 h 1530164"/>
              <a:gd name="connsiteX3" fmla="*/ 3926590 w 3926590"/>
              <a:gd name="connsiteY3" fmla="*/ 1032947 h 1530164"/>
              <a:gd name="connsiteX4" fmla="*/ 2957157 w 3926590"/>
              <a:gd name="connsiteY4" fmla="*/ 389304 h 1530164"/>
              <a:gd name="connsiteX5" fmla="*/ 2264800 w 3926590"/>
              <a:gd name="connsiteY5" fmla="*/ 49853 h 1530164"/>
              <a:gd name="connsiteX6" fmla="*/ 662734 w 3926590"/>
              <a:gd name="connsiteY6" fmla="*/ 435241 h 1530164"/>
              <a:gd name="connsiteX7" fmla="*/ 2915 w 3926590"/>
              <a:gd name="connsiteY7" fmla="*/ 823560 h 1530164"/>
              <a:gd name="connsiteX0" fmla="*/ 3389501 w 3926590"/>
              <a:gd name="connsiteY0" fmla="*/ 1530164 h 1530164"/>
              <a:gd name="connsiteX1" fmla="*/ 3337388 w 3926590"/>
              <a:gd name="connsiteY1" fmla="*/ 1328554 h 1530164"/>
              <a:gd name="connsiteX2" fmla="*/ 3595793 w 3926590"/>
              <a:gd name="connsiteY2" fmla="*/ 1028144 h 1530164"/>
              <a:gd name="connsiteX3" fmla="*/ 3926590 w 3926590"/>
              <a:gd name="connsiteY3" fmla="*/ 1032947 h 1530164"/>
              <a:gd name="connsiteX4" fmla="*/ 2957157 w 3926590"/>
              <a:gd name="connsiteY4" fmla="*/ 389304 h 1530164"/>
              <a:gd name="connsiteX5" fmla="*/ 2264800 w 3926590"/>
              <a:gd name="connsiteY5" fmla="*/ 49853 h 1530164"/>
              <a:gd name="connsiteX6" fmla="*/ 662734 w 3926590"/>
              <a:gd name="connsiteY6" fmla="*/ 435241 h 1530164"/>
              <a:gd name="connsiteX7" fmla="*/ 2915 w 3926590"/>
              <a:gd name="connsiteY7" fmla="*/ 823560 h 1530164"/>
              <a:gd name="connsiteX0" fmla="*/ 3389501 w 3926590"/>
              <a:gd name="connsiteY0" fmla="*/ 1189400 h 1189400"/>
              <a:gd name="connsiteX1" fmla="*/ 3337388 w 3926590"/>
              <a:gd name="connsiteY1" fmla="*/ 987790 h 1189400"/>
              <a:gd name="connsiteX2" fmla="*/ 3595793 w 3926590"/>
              <a:gd name="connsiteY2" fmla="*/ 687380 h 1189400"/>
              <a:gd name="connsiteX3" fmla="*/ 3926590 w 3926590"/>
              <a:gd name="connsiteY3" fmla="*/ 692183 h 1189400"/>
              <a:gd name="connsiteX4" fmla="*/ 2957157 w 3926590"/>
              <a:gd name="connsiteY4" fmla="*/ 48540 h 1189400"/>
              <a:gd name="connsiteX5" fmla="*/ 662734 w 3926590"/>
              <a:gd name="connsiteY5" fmla="*/ 94477 h 1189400"/>
              <a:gd name="connsiteX6" fmla="*/ 2915 w 3926590"/>
              <a:gd name="connsiteY6" fmla="*/ 482796 h 1189400"/>
              <a:gd name="connsiteX0" fmla="*/ 3389501 w 3926590"/>
              <a:gd name="connsiteY0" fmla="*/ 1178688 h 1178688"/>
              <a:gd name="connsiteX1" fmla="*/ 3337388 w 3926590"/>
              <a:gd name="connsiteY1" fmla="*/ 977078 h 1178688"/>
              <a:gd name="connsiteX2" fmla="*/ 3595793 w 3926590"/>
              <a:gd name="connsiteY2" fmla="*/ 676668 h 1178688"/>
              <a:gd name="connsiteX3" fmla="*/ 3926590 w 3926590"/>
              <a:gd name="connsiteY3" fmla="*/ 681471 h 1178688"/>
              <a:gd name="connsiteX4" fmla="*/ 2957157 w 3926590"/>
              <a:gd name="connsiteY4" fmla="*/ 37828 h 1178688"/>
              <a:gd name="connsiteX5" fmla="*/ 662734 w 3926590"/>
              <a:gd name="connsiteY5" fmla="*/ 83765 h 1178688"/>
              <a:gd name="connsiteX6" fmla="*/ 2915 w 3926590"/>
              <a:gd name="connsiteY6" fmla="*/ 472084 h 1178688"/>
              <a:gd name="connsiteX0" fmla="*/ 3389501 w 3926590"/>
              <a:gd name="connsiteY0" fmla="*/ 1140860 h 1140860"/>
              <a:gd name="connsiteX1" fmla="*/ 3337388 w 3926590"/>
              <a:gd name="connsiteY1" fmla="*/ 939250 h 1140860"/>
              <a:gd name="connsiteX2" fmla="*/ 3595793 w 3926590"/>
              <a:gd name="connsiteY2" fmla="*/ 638840 h 1140860"/>
              <a:gd name="connsiteX3" fmla="*/ 3926590 w 3926590"/>
              <a:gd name="connsiteY3" fmla="*/ 643643 h 1140860"/>
              <a:gd name="connsiteX4" fmla="*/ 2957157 w 3926590"/>
              <a:gd name="connsiteY4" fmla="*/ 0 h 1140860"/>
              <a:gd name="connsiteX5" fmla="*/ 662734 w 3926590"/>
              <a:gd name="connsiteY5" fmla="*/ 45937 h 1140860"/>
              <a:gd name="connsiteX6" fmla="*/ 2915 w 3926590"/>
              <a:gd name="connsiteY6" fmla="*/ 434256 h 1140860"/>
              <a:gd name="connsiteX0" fmla="*/ 3386586 w 3923675"/>
              <a:gd name="connsiteY0" fmla="*/ 1140860 h 1140860"/>
              <a:gd name="connsiteX1" fmla="*/ 3334473 w 3923675"/>
              <a:gd name="connsiteY1" fmla="*/ 939250 h 1140860"/>
              <a:gd name="connsiteX2" fmla="*/ 3592878 w 3923675"/>
              <a:gd name="connsiteY2" fmla="*/ 638840 h 1140860"/>
              <a:gd name="connsiteX3" fmla="*/ 3923675 w 3923675"/>
              <a:gd name="connsiteY3" fmla="*/ 643643 h 1140860"/>
              <a:gd name="connsiteX4" fmla="*/ 2954242 w 3923675"/>
              <a:gd name="connsiteY4" fmla="*/ 0 h 1140860"/>
              <a:gd name="connsiteX5" fmla="*/ 659819 w 3923675"/>
              <a:gd name="connsiteY5" fmla="*/ 45937 h 1140860"/>
              <a:gd name="connsiteX6" fmla="*/ 0 w 3923675"/>
              <a:gd name="connsiteY6" fmla="*/ 434256 h 1140860"/>
              <a:gd name="connsiteX0" fmla="*/ 3386586 w 3923675"/>
              <a:gd name="connsiteY0" fmla="*/ 1140860 h 1140860"/>
              <a:gd name="connsiteX1" fmla="*/ 3334473 w 3923675"/>
              <a:gd name="connsiteY1" fmla="*/ 939250 h 1140860"/>
              <a:gd name="connsiteX2" fmla="*/ 3592878 w 3923675"/>
              <a:gd name="connsiteY2" fmla="*/ 638840 h 1140860"/>
              <a:gd name="connsiteX3" fmla="*/ 3923675 w 3923675"/>
              <a:gd name="connsiteY3" fmla="*/ 643643 h 1140860"/>
              <a:gd name="connsiteX4" fmla="*/ 2954242 w 3923675"/>
              <a:gd name="connsiteY4" fmla="*/ 0 h 1140860"/>
              <a:gd name="connsiteX5" fmla="*/ 659819 w 3923675"/>
              <a:gd name="connsiteY5" fmla="*/ 45937 h 1140860"/>
              <a:gd name="connsiteX6" fmla="*/ 0 w 3923675"/>
              <a:gd name="connsiteY6" fmla="*/ 434256 h 1140860"/>
              <a:gd name="connsiteX7" fmla="*/ 3386586 w 3923675"/>
              <a:gd name="connsiteY7" fmla="*/ 1140860 h 114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3675" h="1140860">
                <a:moveTo>
                  <a:pt x="3386586" y="1140860"/>
                </a:moveTo>
                <a:cubicBezTo>
                  <a:pt x="3738359" y="762579"/>
                  <a:pt x="3501655" y="874729"/>
                  <a:pt x="3334473" y="939250"/>
                </a:cubicBezTo>
                <a:cubicBezTo>
                  <a:pt x="2864699" y="1115377"/>
                  <a:pt x="3573825" y="410681"/>
                  <a:pt x="3592878" y="638840"/>
                </a:cubicBezTo>
                <a:cubicBezTo>
                  <a:pt x="3607045" y="747098"/>
                  <a:pt x="3715245" y="825322"/>
                  <a:pt x="3923675" y="643643"/>
                </a:cubicBezTo>
                <a:lnTo>
                  <a:pt x="2954242" y="0"/>
                </a:lnTo>
                <a:lnTo>
                  <a:pt x="659819" y="45937"/>
                </a:lnTo>
                <a:cubicBezTo>
                  <a:pt x="466985" y="147169"/>
                  <a:pt x="244743" y="288097"/>
                  <a:pt x="0" y="434256"/>
                </a:cubicBezTo>
                <a:lnTo>
                  <a:pt x="3386586" y="1140860"/>
                </a:lnTo>
                <a:close/>
              </a:path>
            </a:pathLst>
          </a:custGeom>
          <a:solidFill>
            <a:srgbClr val="505A64">
              <a:alpha val="54000"/>
            </a:srgbClr>
          </a:solidFill>
          <a:ln>
            <a:noFill/>
          </a:ln>
          <a:effectLst>
            <a:outerShdw blurRad="279400" dist="38100" dir="2700000" algn="tl" rotWithShape="0">
              <a:prstClr val="black">
                <a:alpha val="40000"/>
              </a:prstClr>
            </a:outerShdw>
          </a:effectLst>
          <a:scene3d>
            <a:camera prst="orthographicFront"/>
            <a:lightRig rig="freezing" dir="t"/>
          </a:scene3d>
          <a:sp3d prstMaterial="translucentPowder">
            <a:bevelT w="50800" h="133350"/>
            <a:bevelB w="25400" h="107950"/>
          </a:sp3d>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13" name="Freihandform 12"/>
          <p:cNvSpPr/>
          <p:nvPr/>
        </p:nvSpPr>
        <p:spPr bwMode="auto">
          <a:xfrm>
            <a:off x="4720265" y="2691049"/>
            <a:ext cx="2893792" cy="837540"/>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2873847"/>
              <a:gd name="connsiteX1" fmla="*/ 160498 w 5964568"/>
              <a:gd name="connsiteY1" fmla="*/ 2672237 h 2873847"/>
              <a:gd name="connsiteX2" fmla="*/ 418903 w 5964568"/>
              <a:gd name="connsiteY2" fmla="*/ 2371827 h 2873847"/>
              <a:gd name="connsiteX3" fmla="*/ 914255 w 5964568"/>
              <a:gd name="connsiteY3" fmla="*/ 2223421 h 2873847"/>
              <a:gd name="connsiteX4" fmla="*/ 1020177 w 5964568"/>
              <a:gd name="connsiteY4" fmla="*/ 1819583 h 2873847"/>
              <a:gd name="connsiteX5" fmla="*/ 714335 w 5964568"/>
              <a:gd name="connsiteY5" fmla="*/ 1913113 h 2873847"/>
              <a:gd name="connsiteX6" fmla="*/ 1523207 w 5964568"/>
              <a:gd name="connsiteY6" fmla="*/ 1199395 h 2873847"/>
              <a:gd name="connsiteX7" fmla="*/ 1433591 w 5964568"/>
              <a:gd name="connsiteY7" fmla="*/ 1471142 h 2873847"/>
              <a:gd name="connsiteX8" fmla="*/ 2320564 w 5964568"/>
              <a:gd name="connsiteY8" fmla="*/ 958464 h 2873847"/>
              <a:gd name="connsiteX9" fmla="*/ 1934587 w 5964568"/>
              <a:gd name="connsiteY9" fmla="*/ 939686 h 2873847"/>
              <a:gd name="connsiteX10" fmla="*/ 2724695 w 5964568"/>
              <a:gd name="connsiteY10" fmla="*/ 648948 h 2873847"/>
              <a:gd name="connsiteX11" fmla="*/ 2671161 w 5964568"/>
              <a:gd name="connsiteY11" fmla="*/ 815773 h 2873847"/>
              <a:gd name="connsiteX12" fmla="*/ 3352287 w 5964568"/>
              <a:gd name="connsiteY12" fmla="*/ 521781 h 2873847"/>
              <a:gd name="connsiteX13" fmla="*/ 3086216 w 5964568"/>
              <a:gd name="connsiteY13" fmla="*/ 509932 h 2873847"/>
              <a:gd name="connsiteX14" fmla="*/ 3698561 w 5964568"/>
              <a:gd name="connsiteY14" fmla="*/ 232711 h 2873847"/>
              <a:gd name="connsiteX15" fmla="*/ 3623481 w 5964568"/>
              <a:gd name="connsiteY15" fmla="*/ 395239 h 2873847"/>
              <a:gd name="connsiteX16" fmla="*/ 4344358 w 5964568"/>
              <a:gd name="connsiteY16" fmla="*/ 194615 h 2873847"/>
              <a:gd name="connsiteX17" fmla="*/ 4198661 w 5964568"/>
              <a:gd name="connsiteY17" fmla="*/ 170771 h 2873847"/>
              <a:gd name="connsiteX18" fmla="*/ 4788590 w 5964568"/>
              <a:gd name="connsiteY18" fmla="*/ 54418 h 2873847"/>
              <a:gd name="connsiteX19" fmla="*/ 5066181 w 5964568"/>
              <a:gd name="connsiteY19" fmla="*/ 95353 h 2873847"/>
              <a:gd name="connsiteX20" fmla="*/ 5478894 w 5964568"/>
              <a:gd name="connsiteY20" fmla="*/ 3603 h 2873847"/>
              <a:gd name="connsiteX21" fmla="*/ 5964568 w 5964568"/>
              <a:gd name="connsiteY21" fmla="*/ 324196 h 2873847"/>
              <a:gd name="connsiteX22" fmla="*/ 212611 w 5964568"/>
              <a:gd name="connsiteY22" fmla="*/ 2873847 h 2873847"/>
              <a:gd name="connsiteX0" fmla="*/ 212611 w 5478895"/>
              <a:gd name="connsiteY0" fmla="*/ 2873847 h 2873847"/>
              <a:gd name="connsiteX1" fmla="*/ 160498 w 5478895"/>
              <a:gd name="connsiteY1" fmla="*/ 2672237 h 2873847"/>
              <a:gd name="connsiteX2" fmla="*/ 418903 w 5478895"/>
              <a:gd name="connsiteY2" fmla="*/ 2371827 h 2873847"/>
              <a:gd name="connsiteX3" fmla="*/ 914255 w 5478895"/>
              <a:gd name="connsiteY3" fmla="*/ 2223421 h 2873847"/>
              <a:gd name="connsiteX4" fmla="*/ 1020177 w 5478895"/>
              <a:gd name="connsiteY4" fmla="*/ 1819583 h 2873847"/>
              <a:gd name="connsiteX5" fmla="*/ 714335 w 5478895"/>
              <a:gd name="connsiteY5" fmla="*/ 1913113 h 2873847"/>
              <a:gd name="connsiteX6" fmla="*/ 1523207 w 5478895"/>
              <a:gd name="connsiteY6" fmla="*/ 1199395 h 2873847"/>
              <a:gd name="connsiteX7" fmla="*/ 1433591 w 5478895"/>
              <a:gd name="connsiteY7" fmla="*/ 1471142 h 2873847"/>
              <a:gd name="connsiteX8" fmla="*/ 2320564 w 5478895"/>
              <a:gd name="connsiteY8" fmla="*/ 958464 h 2873847"/>
              <a:gd name="connsiteX9" fmla="*/ 1934587 w 5478895"/>
              <a:gd name="connsiteY9" fmla="*/ 939686 h 2873847"/>
              <a:gd name="connsiteX10" fmla="*/ 2724695 w 5478895"/>
              <a:gd name="connsiteY10" fmla="*/ 648948 h 2873847"/>
              <a:gd name="connsiteX11" fmla="*/ 2671161 w 5478895"/>
              <a:gd name="connsiteY11" fmla="*/ 815773 h 2873847"/>
              <a:gd name="connsiteX12" fmla="*/ 3352287 w 5478895"/>
              <a:gd name="connsiteY12" fmla="*/ 521781 h 2873847"/>
              <a:gd name="connsiteX13" fmla="*/ 3086216 w 5478895"/>
              <a:gd name="connsiteY13" fmla="*/ 509932 h 2873847"/>
              <a:gd name="connsiteX14" fmla="*/ 3698561 w 5478895"/>
              <a:gd name="connsiteY14" fmla="*/ 232711 h 2873847"/>
              <a:gd name="connsiteX15" fmla="*/ 3623481 w 5478895"/>
              <a:gd name="connsiteY15" fmla="*/ 395239 h 2873847"/>
              <a:gd name="connsiteX16" fmla="*/ 4344358 w 5478895"/>
              <a:gd name="connsiteY16" fmla="*/ 194615 h 2873847"/>
              <a:gd name="connsiteX17" fmla="*/ 4198661 w 5478895"/>
              <a:gd name="connsiteY17" fmla="*/ 170771 h 2873847"/>
              <a:gd name="connsiteX18" fmla="*/ 4788590 w 5478895"/>
              <a:gd name="connsiteY18" fmla="*/ 54418 h 2873847"/>
              <a:gd name="connsiteX19" fmla="*/ 5066181 w 5478895"/>
              <a:gd name="connsiteY19" fmla="*/ 95353 h 2873847"/>
              <a:gd name="connsiteX20" fmla="*/ 5478894 w 5478895"/>
              <a:gd name="connsiteY20" fmla="*/ 3603 h 2873847"/>
              <a:gd name="connsiteX21" fmla="*/ 212611 w 5478895"/>
              <a:gd name="connsiteY21" fmla="*/ 2873847 h 2873847"/>
              <a:gd name="connsiteX0" fmla="*/ 212611 w 5478894"/>
              <a:gd name="connsiteY0" fmla="*/ 2873847 h 2963441"/>
              <a:gd name="connsiteX1" fmla="*/ 160498 w 5478894"/>
              <a:gd name="connsiteY1" fmla="*/ 2672237 h 2963441"/>
              <a:gd name="connsiteX2" fmla="*/ 418903 w 5478894"/>
              <a:gd name="connsiteY2" fmla="*/ 2371827 h 2963441"/>
              <a:gd name="connsiteX3" fmla="*/ 914255 w 5478894"/>
              <a:gd name="connsiteY3" fmla="*/ 2223421 h 2963441"/>
              <a:gd name="connsiteX4" fmla="*/ 1020177 w 5478894"/>
              <a:gd name="connsiteY4" fmla="*/ 1819583 h 2963441"/>
              <a:gd name="connsiteX5" fmla="*/ 714335 w 5478894"/>
              <a:gd name="connsiteY5" fmla="*/ 1913113 h 2963441"/>
              <a:gd name="connsiteX6" fmla="*/ 1523207 w 5478894"/>
              <a:gd name="connsiteY6" fmla="*/ 1199395 h 2963441"/>
              <a:gd name="connsiteX7" fmla="*/ 1433591 w 5478894"/>
              <a:gd name="connsiteY7" fmla="*/ 1471142 h 2963441"/>
              <a:gd name="connsiteX8" fmla="*/ 2320564 w 5478894"/>
              <a:gd name="connsiteY8" fmla="*/ 958464 h 2963441"/>
              <a:gd name="connsiteX9" fmla="*/ 1934587 w 5478894"/>
              <a:gd name="connsiteY9" fmla="*/ 939686 h 2963441"/>
              <a:gd name="connsiteX10" fmla="*/ 2724695 w 5478894"/>
              <a:gd name="connsiteY10" fmla="*/ 648948 h 2963441"/>
              <a:gd name="connsiteX11" fmla="*/ 2671161 w 5478894"/>
              <a:gd name="connsiteY11" fmla="*/ 815773 h 2963441"/>
              <a:gd name="connsiteX12" fmla="*/ 3352287 w 5478894"/>
              <a:gd name="connsiteY12" fmla="*/ 521781 h 2963441"/>
              <a:gd name="connsiteX13" fmla="*/ 3086216 w 5478894"/>
              <a:gd name="connsiteY13" fmla="*/ 509932 h 2963441"/>
              <a:gd name="connsiteX14" fmla="*/ 3698561 w 5478894"/>
              <a:gd name="connsiteY14" fmla="*/ 232711 h 2963441"/>
              <a:gd name="connsiteX15" fmla="*/ 3623481 w 5478894"/>
              <a:gd name="connsiteY15" fmla="*/ 395239 h 2963441"/>
              <a:gd name="connsiteX16" fmla="*/ 4344358 w 5478894"/>
              <a:gd name="connsiteY16" fmla="*/ 194615 h 2963441"/>
              <a:gd name="connsiteX17" fmla="*/ 4198661 w 5478894"/>
              <a:gd name="connsiteY17" fmla="*/ 170771 h 2963441"/>
              <a:gd name="connsiteX18" fmla="*/ 4788590 w 5478894"/>
              <a:gd name="connsiteY18" fmla="*/ 54418 h 2963441"/>
              <a:gd name="connsiteX19" fmla="*/ 5066181 w 5478894"/>
              <a:gd name="connsiteY19" fmla="*/ 95353 h 2963441"/>
              <a:gd name="connsiteX20" fmla="*/ 5478894 w 5478894"/>
              <a:gd name="connsiteY20" fmla="*/ 3603 h 2963441"/>
              <a:gd name="connsiteX21" fmla="*/ 315554 w 5478894"/>
              <a:gd name="connsiteY21" fmla="*/ 2963441 h 2963441"/>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212611 w 5066181"/>
              <a:gd name="connsiteY0" fmla="*/ 2873847 h 2873847"/>
              <a:gd name="connsiteX1" fmla="*/ 160498 w 5066181"/>
              <a:gd name="connsiteY1" fmla="*/ 2672237 h 2873847"/>
              <a:gd name="connsiteX2" fmla="*/ 418903 w 5066181"/>
              <a:gd name="connsiteY2" fmla="*/ 2371827 h 2873847"/>
              <a:gd name="connsiteX3" fmla="*/ 914255 w 5066181"/>
              <a:gd name="connsiteY3" fmla="*/ 2223421 h 2873847"/>
              <a:gd name="connsiteX4" fmla="*/ 1020177 w 5066181"/>
              <a:gd name="connsiteY4" fmla="*/ 1819583 h 2873847"/>
              <a:gd name="connsiteX5" fmla="*/ 714335 w 5066181"/>
              <a:gd name="connsiteY5" fmla="*/ 1913113 h 2873847"/>
              <a:gd name="connsiteX6" fmla="*/ 1523207 w 5066181"/>
              <a:gd name="connsiteY6" fmla="*/ 1199395 h 2873847"/>
              <a:gd name="connsiteX7" fmla="*/ 1433591 w 5066181"/>
              <a:gd name="connsiteY7" fmla="*/ 1471142 h 2873847"/>
              <a:gd name="connsiteX8" fmla="*/ 2320564 w 5066181"/>
              <a:gd name="connsiteY8" fmla="*/ 958464 h 2873847"/>
              <a:gd name="connsiteX9" fmla="*/ 1934587 w 5066181"/>
              <a:gd name="connsiteY9" fmla="*/ 939686 h 2873847"/>
              <a:gd name="connsiteX10" fmla="*/ 2724695 w 5066181"/>
              <a:gd name="connsiteY10" fmla="*/ 648948 h 2873847"/>
              <a:gd name="connsiteX11" fmla="*/ 2671161 w 5066181"/>
              <a:gd name="connsiteY11" fmla="*/ 815773 h 2873847"/>
              <a:gd name="connsiteX12" fmla="*/ 3352287 w 5066181"/>
              <a:gd name="connsiteY12" fmla="*/ 521781 h 2873847"/>
              <a:gd name="connsiteX13" fmla="*/ 3086216 w 5066181"/>
              <a:gd name="connsiteY13" fmla="*/ 509932 h 2873847"/>
              <a:gd name="connsiteX14" fmla="*/ 3698561 w 5066181"/>
              <a:gd name="connsiteY14" fmla="*/ 232711 h 2873847"/>
              <a:gd name="connsiteX15" fmla="*/ 3623481 w 5066181"/>
              <a:gd name="connsiteY15" fmla="*/ 395239 h 2873847"/>
              <a:gd name="connsiteX16" fmla="*/ 4344358 w 5066181"/>
              <a:gd name="connsiteY16" fmla="*/ 194615 h 2873847"/>
              <a:gd name="connsiteX17" fmla="*/ 4198661 w 5066181"/>
              <a:gd name="connsiteY17" fmla="*/ 170771 h 2873847"/>
              <a:gd name="connsiteX18" fmla="*/ 4788590 w 5066181"/>
              <a:gd name="connsiteY18" fmla="*/ 54418 h 2873847"/>
              <a:gd name="connsiteX19" fmla="*/ 5066181 w 5066181"/>
              <a:gd name="connsiteY19" fmla="*/ 95353 h 2873847"/>
              <a:gd name="connsiteX0" fmla="*/ 212611 w 4813054"/>
              <a:gd name="connsiteY0" fmla="*/ 2873847 h 2873847"/>
              <a:gd name="connsiteX1" fmla="*/ 160498 w 4813054"/>
              <a:gd name="connsiteY1" fmla="*/ 2672237 h 2873847"/>
              <a:gd name="connsiteX2" fmla="*/ 418903 w 4813054"/>
              <a:gd name="connsiteY2" fmla="*/ 2371827 h 2873847"/>
              <a:gd name="connsiteX3" fmla="*/ 914255 w 4813054"/>
              <a:gd name="connsiteY3" fmla="*/ 2223421 h 2873847"/>
              <a:gd name="connsiteX4" fmla="*/ 1020177 w 4813054"/>
              <a:gd name="connsiteY4" fmla="*/ 1819583 h 2873847"/>
              <a:gd name="connsiteX5" fmla="*/ 714335 w 4813054"/>
              <a:gd name="connsiteY5" fmla="*/ 1913113 h 2873847"/>
              <a:gd name="connsiteX6" fmla="*/ 1523207 w 4813054"/>
              <a:gd name="connsiteY6" fmla="*/ 1199395 h 2873847"/>
              <a:gd name="connsiteX7" fmla="*/ 1433591 w 4813054"/>
              <a:gd name="connsiteY7" fmla="*/ 1471142 h 2873847"/>
              <a:gd name="connsiteX8" fmla="*/ 2320564 w 4813054"/>
              <a:gd name="connsiteY8" fmla="*/ 958464 h 2873847"/>
              <a:gd name="connsiteX9" fmla="*/ 1934587 w 4813054"/>
              <a:gd name="connsiteY9" fmla="*/ 939686 h 2873847"/>
              <a:gd name="connsiteX10" fmla="*/ 2724695 w 4813054"/>
              <a:gd name="connsiteY10" fmla="*/ 648948 h 2873847"/>
              <a:gd name="connsiteX11" fmla="*/ 2671161 w 4813054"/>
              <a:gd name="connsiteY11" fmla="*/ 815773 h 2873847"/>
              <a:gd name="connsiteX12" fmla="*/ 3352287 w 4813054"/>
              <a:gd name="connsiteY12" fmla="*/ 521781 h 2873847"/>
              <a:gd name="connsiteX13" fmla="*/ 3086216 w 4813054"/>
              <a:gd name="connsiteY13" fmla="*/ 509932 h 2873847"/>
              <a:gd name="connsiteX14" fmla="*/ 3698561 w 4813054"/>
              <a:gd name="connsiteY14" fmla="*/ 232711 h 2873847"/>
              <a:gd name="connsiteX15" fmla="*/ 3623481 w 4813054"/>
              <a:gd name="connsiteY15" fmla="*/ 395239 h 2873847"/>
              <a:gd name="connsiteX16" fmla="*/ 4344358 w 4813054"/>
              <a:gd name="connsiteY16" fmla="*/ 194615 h 2873847"/>
              <a:gd name="connsiteX17" fmla="*/ 4198661 w 4813054"/>
              <a:gd name="connsiteY17" fmla="*/ 170771 h 2873847"/>
              <a:gd name="connsiteX18" fmla="*/ 4788590 w 4813054"/>
              <a:gd name="connsiteY18" fmla="*/ 54418 h 2873847"/>
              <a:gd name="connsiteX0" fmla="*/ 212611 w 4396031"/>
              <a:gd name="connsiteY0" fmla="*/ 2703076 h 2703076"/>
              <a:gd name="connsiteX1" fmla="*/ 160498 w 4396031"/>
              <a:gd name="connsiteY1" fmla="*/ 2501466 h 2703076"/>
              <a:gd name="connsiteX2" fmla="*/ 418903 w 4396031"/>
              <a:gd name="connsiteY2" fmla="*/ 2201056 h 2703076"/>
              <a:gd name="connsiteX3" fmla="*/ 914255 w 4396031"/>
              <a:gd name="connsiteY3" fmla="*/ 2052650 h 2703076"/>
              <a:gd name="connsiteX4" fmla="*/ 1020177 w 4396031"/>
              <a:gd name="connsiteY4" fmla="*/ 1648812 h 2703076"/>
              <a:gd name="connsiteX5" fmla="*/ 714335 w 4396031"/>
              <a:gd name="connsiteY5" fmla="*/ 1742342 h 2703076"/>
              <a:gd name="connsiteX6" fmla="*/ 1523207 w 4396031"/>
              <a:gd name="connsiteY6" fmla="*/ 1028624 h 2703076"/>
              <a:gd name="connsiteX7" fmla="*/ 1433591 w 4396031"/>
              <a:gd name="connsiteY7" fmla="*/ 1300371 h 2703076"/>
              <a:gd name="connsiteX8" fmla="*/ 2320564 w 4396031"/>
              <a:gd name="connsiteY8" fmla="*/ 787693 h 2703076"/>
              <a:gd name="connsiteX9" fmla="*/ 1934587 w 4396031"/>
              <a:gd name="connsiteY9" fmla="*/ 768915 h 2703076"/>
              <a:gd name="connsiteX10" fmla="*/ 2724695 w 4396031"/>
              <a:gd name="connsiteY10" fmla="*/ 478177 h 2703076"/>
              <a:gd name="connsiteX11" fmla="*/ 2671161 w 4396031"/>
              <a:gd name="connsiteY11" fmla="*/ 645002 h 2703076"/>
              <a:gd name="connsiteX12" fmla="*/ 3352287 w 4396031"/>
              <a:gd name="connsiteY12" fmla="*/ 351010 h 2703076"/>
              <a:gd name="connsiteX13" fmla="*/ 3086216 w 4396031"/>
              <a:gd name="connsiteY13" fmla="*/ 339161 h 2703076"/>
              <a:gd name="connsiteX14" fmla="*/ 3698561 w 4396031"/>
              <a:gd name="connsiteY14" fmla="*/ 61940 h 2703076"/>
              <a:gd name="connsiteX15" fmla="*/ 3623481 w 4396031"/>
              <a:gd name="connsiteY15" fmla="*/ 224468 h 2703076"/>
              <a:gd name="connsiteX16" fmla="*/ 4344358 w 4396031"/>
              <a:gd name="connsiteY16" fmla="*/ 23844 h 2703076"/>
              <a:gd name="connsiteX17" fmla="*/ 4198661 w 4396031"/>
              <a:gd name="connsiteY17" fmla="*/ 0 h 2703076"/>
              <a:gd name="connsiteX0" fmla="*/ 212611 w 4396031"/>
              <a:gd name="connsiteY0" fmla="*/ 2679232 h 2679232"/>
              <a:gd name="connsiteX1" fmla="*/ 160498 w 4396031"/>
              <a:gd name="connsiteY1" fmla="*/ 2477622 h 2679232"/>
              <a:gd name="connsiteX2" fmla="*/ 418903 w 4396031"/>
              <a:gd name="connsiteY2" fmla="*/ 2177212 h 2679232"/>
              <a:gd name="connsiteX3" fmla="*/ 914255 w 4396031"/>
              <a:gd name="connsiteY3" fmla="*/ 2028806 h 2679232"/>
              <a:gd name="connsiteX4" fmla="*/ 1020177 w 4396031"/>
              <a:gd name="connsiteY4" fmla="*/ 1624968 h 2679232"/>
              <a:gd name="connsiteX5" fmla="*/ 714335 w 4396031"/>
              <a:gd name="connsiteY5" fmla="*/ 1718498 h 2679232"/>
              <a:gd name="connsiteX6" fmla="*/ 1523207 w 4396031"/>
              <a:gd name="connsiteY6" fmla="*/ 1004780 h 2679232"/>
              <a:gd name="connsiteX7" fmla="*/ 1433591 w 4396031"/>
              <a:gd name="connsiteY7" fmla="*/ 1276527 h 2679232"/>
              <a:gd name="connsiteX8" fmla="*/ 2320564 w 4396031"/>
              <a:gd name="connsiteY8" fmla="*/ 763849 h 2679232"/>
              <a:gd name="connsiteX9" fmla="*/ 1934587 w 4396031"/>
              <a:gd name="connsiteY9" fmla="*/ 745071 h 2679232"/>
              <a:gd name="connsiteX10" fmla="*/ 2724695 w 4396031"/>
              <a:gd name="connsiteY10" fmla="*/ 454333 h 2679232"/>
              <a:gd name="connsiteX11" fmla="*/ 2671161 w 4396031"/>
              <a:gd name="connsiteY11" fmla="*/ 621158 h 2679232"/>
              <a:gd name="connsiteX12" fmla="*/ 3352287 w 4396031"/>
              <a:gd name="connsiteY12" fmla="*/ 327166 h 2679232"/>
              <a:gd name="connsiteX13" fmla="*/ 3086216 w 4396031"/>
              <a:gd name="connsiteY13" fmla="*/ 315317 h 2679232"/>
              <a:gd name="connsiteX14" fmla="*/ 3698561 w 4396031"/>
              <a:gd name="connsiteY14" fmla="*/ 38096 h 2679232"/>
              <a:gd name="connsiteX15" fmla="*/ 3623481 w 4396031"/>
              <a:gd name="connsiteY15" fmla="*/ 200624 h 2679232"/>
              <a:gd name="connsiteX16" fmla="*/ 4344358 w 4396031"/>
              <a:gd name="connsiteY16" fmla="*/ 0 h 2679232"/>
              <a:gd name="connsiteX0" fmla="*/ 212611 w 3726250"/>
              <a:gd name="connsiteY0" fmla="*/ 2657500 h 2657500"/>
              <a:gd name="connsiteX1" fmla="*/ 160498 w 3726250"/>
              <a:gd name="connsiteY1" fmla="*/ 2455890 h 2657500"/>
              <a:gd name="connsiteX2" fmla="*/ 418903 w 3726250"/>
              <a:gd name="connsiteY2" fmla="*/ 2155480 h 2657500"/>
              <a:gd name="connsiteX3" fmla="*/ 914255 w 3726250"/>
              <a:gd name="connsiteY3" fmla="*/ 2007074 h 2657500"/>
              <a:gd name="connsiteX4" fmla="*/ 1020177 w 3726250"/>
              <a:gd name="connsiteY4" fmla="*/ 1603236 h 2657500"/>
              <a:gd name="connsiteX5" fmla="*/ 714335 w 3726250"/>
              <a:gd name="connsiteY5" fmla="*/ 1696766 h 2657500"/>
              <a:gd name="connsiteX6" fmla="*/ 1523207 w 3726250"/>
              <a:gd name="connsiteY6" fmla="*/ 983048 h 2657500"/>
              <a:gd name="connsiteX7" fmla="*/ 1433591 w 3726250"/>
              <a:gd name="connsiteY7" fmla="*/ 1254795 h 2657500"/>
              <a:gd name="connsiteX8" fmla="*/ 2320564 w 3726250"/>
              <a:gd name="connsiteY8" fmla="*/ 742117 h 2657500"/>
              <a:gd name="connsiteX9" fmla="*/ 1934587 w 3726250"/>
              <a:gd name="connsiteY9" fmla="*/ 723339 h 2657500"/>
              <a:gd name="connsiteX10" fmla="*/ 2724695 w 3726250"/>
              <a:gd name="connsiteY10" fmla="*/ 432601 h 2657500"/>
              <a:gd name="connsiteX11" fmla="*/ 2671161 w 3726250"/>
              <a:gd name="connsiteY11" fmla="*/ 599426 h 2657500"/>
              <a:gd name="connsiteX12" fmla="*/ 3352287 w 3726250"/>
              <a:gd name="connsiteY12" fmla="*/ 305434 h 2657500"/>
              <a:gd name="connsiteX13" fmla="*/ 3086216 w 3726250"/>
              <a:gd name="connsiteY13" fmla="*/ 293585 h 2657500"/>
              <a:gd name="connsiteX14" fmla="*/ 3698561 w 3726250"/>
              <a:gd name="connsiteY14" fmla="*/ 16364 h 2657500"/>
              <a:gd name="connsiteX15" fmla="*/ 3623481 w 3726250"/>
              <a:gd name="connsiteY15" fmla="*/ 178892 h 2657500"/>
              <a:gd name="connsiteX0" fmla="*/ 212611 w 3698561"/>
              <a:gd name="connsiteY0" fmla="*/ 2657500 h 2657500"/>
              <a:gd name="connsiteX1" fmla="*/ 160498 w 3698561"/>
              <a:gd name="connsiteY1" fmla="*/ 2455890 h 2657500"/>
              <a:gd name="connsiteX2" fmla="*/ 418903 w 3698561"/>
              <a:gd name="connsiteY2" fmla="*/ 2155480 h 2657500"/>
              <a:gd name="connsiteX3" fmla="*/ 914255 w 3698561"/>
              <a:gd name="connsiteY3" fmla="*/ 2007074 h 2657500"/>
              <a:gd name="connsiteX4" fmla="*/ 1020177 w 3698561"/>
              <a:gd name="connsiteY4" fmla="*/ 1603236 h 2657500"/>
              <a:gd name="connsiteX5" fmla="*/ 714335 w 3698561"/>
              <a:gd name="connsiteY5" fmla="*/ 1696766 h 2657500"/>
              <a:gd name="connsiteX6" fmla="*/ 1523207 w 3698561"/>
              <a:gd name="connsiteY6" fmla="*/ 983048 h 2657500"/>
              <a:gd name="connsiteX7" fmla="*/ 1433591 w 3698561"/>
              <a:gd name="connsiteY7" fmla="*/ 1254795 h 2657500"/>
              <a:gd name="connsiteX8" fmla="*/ 2320564 w 3698561"/>
              <a:gd name="connsiteY8" fmla="*/ 742117 h 2657500"/>
              <a:gd name="connsiteX9" fmla="*/ 1934587 w 3698561"/>
              <a:gd name="connsiteY9" fmla="*/ 723339 h 2657500"/>
              <a:gd name="connsiteX10" fmla="*/ 2724695 w 3698561"/>
              <a:gd name="connsiteY10" fmla="*/ 432601 h 2657500"/>
              <a:gd name="connsiteX11" fmla="*/ 2671161 w 3698561"/>
              <a:gd name="connsiteY11" fmla="*/ 599426 h 2657500"/>
              <a:gd name="connsiteX12" fmla="*/ 3352287 w 3698561"/>
              <a:gd name="connsiteY12" fmla="*/ 305434 h 2657500"/>
              <a:gd name="connsiteX13" fmla="*/ 3086216 w 3698561"/>
              <a:gd name="connsiteY13" fmla="*/ 293585 h 2657500"/>
              <a:gd name="connsiteX14" fmla="*/ 3698561 w 3698561"/>
              <a:gd name="connsiteY14" fmla="*/ 16364 h 2657500"/>
              <a:gd name="connsiteX0" fmla="*/ 212611 w 3367068"/>
              <a:gd name="connsiteY0" fmla="*/ 2374808 h 2374808"/>
              <a:gd name="connsiteX1" fmla="*/ 160498 w 3367068"/>
              <a:gd name="connsiteY1" fmla="*/ 2173198 h 2374808"/>
              <a:gd name="connsiteX2" fmla="*/ 418903 w 3367068"/>
              <a:gd name="connsiteY2" fmla="*/ 1872788 h 2374808"/>
              <a:gd name="connsiteX3" fmla="*/ 914255 w 3367068"/>
              <a:gd name="connsiteY3" fmla="*/ 1724382 h 2374808"/>
              <a:gd name="connsiteX4" fmla="*/ 1020177 w 3367068"/>
              <a:gd name="connsiteY4" fmla="*/ 1320544 h 2374808"/>
              <a:gd name="connsiteX5" fmla="*/ 714335 w 3367068"/>
              <a:gd name="connsiteY5" fmla="*/ 1414074 h 2374808"/>
              <a:gd name="connsiteX6" fmla="*/ 1523207 w 3367068"/>
              <a:gd name="connsiteY6" fmla="*/ 700356 h 2374808"/>
              <a:gd name="connsiteX7" fmla="*/ 1433591 w 3367068"/>
              <a:gd name="connsiteY7" fmla="*/ 972103 h 2374808"/>
              <a:gd name="connsiteX8" fmla="*/ 2320564 w 3367068"/>
              <a:gd name="connsiteY8" fmla="*/ 459425 h 2374808"/>
              <a:gd name="connsiteX9" fmla="*/ 1934587 w 3367068"/>
              <a:gd name="connsiteY9" fmla="*/ 440647 h 2374808"/>
              <a:gd name="connsiteX10" fmla="*/ 2724695 w 3367068"/>
              <a:gd name="connsiteY10" fmla="*/ 149909 h 2374808"/>
              <a:gd name="connsiteX11" fmla="*/ 2671161 w 3367068"/>
              <a:gd name="connsiteY11" fmla="*/ 316734 h 2374808"/>
              <a:gd name="connsiteX12" fmla="*/ 3352287 w 3367068"/>
              <a:gd name="connsiteY12" fmla="*/ 22742 h 2374808"/>
              <a:gd name="connsiteX13" fmla="*/ 3086216 w 3367068"/>
              <a:gd name="connsiteY13" fmla="*/ 10893 h 2374808"/>
              <a:gd name="connsiteX0" fmla="*/ 160498 w 3367068"/>
              <a:gd name="connsiteY0" fmla="*/ 2173198 h 2201780"/>
              <a:gd name="connsiteX1" fmla="*/ 418903 w 3367068"/>
              <a:gd name="connsiteY1" fmla="*/ 1872788 h 2201780"/>
              <a:gd name="connsiteX2" fmla="*/ 914255 w 3367068"/>
              <a:gd name="connsiteY2" fmla="*/ 1724382 h 2201780"/>
              <a:gd name="connsiteX3" fmla="*/ 1020177 w 3367068"/>
              <a:gd name="connsiteY3" fmla="*/ 1320544 h 2201780"/>
              <a:gd name="connsiteX4" fmla="*/ 714335 w 3367068"/>
              <a:gd name="connsiteY4" fmla="*/ 1414074 h 2201780"/>
              <a:gd name="connsiteX5" fmla="*/ 1523207 w 3367068"/>
              <a:gd name="connsiteY5" fmla="*/ 700356 h 2201780"/>
              <a:gd name="connsiteX6" fmla="*/ 1433591 w 3367068"/>
              <a:gd name="connsiteY6" fmla="*/ 972103 h 2201780"/>
              <a:gd name="connsiteX7" fmla="*/ 2320564 w 3367068"/>
              <a:gd name="connsiteY7" fmla="*/ 459425 h 2201780"/>
              <a:gd name="connsiteX8" fmla="*/ 1934587 w 3367068"/>
              <a:gd name="connsiteY8" fmla="*/ 440647 h 2201780"/>
              <a:gd name="connsiteX9" fmla="*/ 2724695 w 3367068"/>
              <a:gd name="connsiteY9" fmla="*/ 149909 h 2201780"/>
              <a:gd name="connsiteX10" fmla="*/ 2671161 w 3367068"/>
              <a:gd name="connsiteY10" fmla="*/ 316734 h 2201780"/>
              <a:gd name="connsiteX11" fmla="*/ 3352287 w 3367068"/>
              <a:gd name="connsiteY11" fmla="*/ 22742 h 2201780"/>
              <a:gd name="connsiteX12" fmla="*/ 3086216 w 3367068"/>
              <a:gd name="connsiteY12" fmla="*/ 10893 h 2201780"/>
              <a:gd name="connsiteX0" fmla="*/ 0 w 2948165"/>
              <a:gd name="connsiteY0" fmla="*/ 1872788 h 1965831"/>
              <a:gd name="connsiteX1" fmla="*/ 495352 w 2948165"/>
              <a:gd name="connsiteY1" fmla="*/ 1724382 h 1965831"/>
              <a:gd name="connsiteX2" fmla="*/ 601274 w 2948165"/>
              <a:gd name="connsiteY2" fmla="*/ 1320544 h 1965831"/>
              <a:gd name="connsiteX3" fmla="*/ 295432 w 2948165"/>
              <a:gd name="connsiteY3" fmla="*/ 1414074 h 1965831"/>
              <a:gd name="connsiteX4" fmla="*/ 1104304 w 2948165"/>
              <a:gd name="connsiteY4" fmla="*/ 700356 h 1965831"/>
              <a:gd name="connsiteX5" fmla="*/ 1014688 w 2948165"/>
              <a:gd name="connsiteY5" fmla="*/ 972103 h 1965831"/>
              <a:gd name="connsiteX6" fmla="*/ 1901661 w 2948165"/>
              <a:gd name="connsiteY6" fmla="*/ 459425 h 1965831"/>
              <a:gd name="connsiteX7" fmla="*/ 1515684 w 2948165"/>
              <a:gd name="connsiteY7" fmla="*/ 440647 h 1965831"/>
              <a:gd name="connsiteX8" fmla="*/ 2305792 w 2948165"/>
              <a:gd name="connsiteY8" fmla="*/ 149909 h 1965831"/>
              <a:gd name="connsiteX9" fmla="*/ 2252258 w 2948165"/>
              <a:gd name="connsiteY9" fmla="*/ 316734 h 1965831"/>
              <a:gd name="connsiteX10" fmla="*/ 2933384 w 2948165"/>
              <a:gd name="connsiteY10" fmla="*/ 22742 h 1965831"/>
              <a:gd name="connsiteX11" fmla="*/ 2667313 w 2948165"/>
              <a:gd name="connsiteY11" fmla="*/ 10893 h 1965831"/>
              <a:gd name="connsiteX0" fmla="*/ 231044 w 2683857"/>
              <a:gd name="connsiteY0" fmla="*/ 1724382 h 1724382"/>
              <a:gd name="connsiteX1" fmla="*/ 336966 w 2683857"/>
              <a:gd name="connsiteY1" fmla="*/ 1320544 h 1724382"/>
              <a:gd name="connsiteX2" fmla="*/ 31124 w 2683857"/>
              <a:gd name="connsiteY2" fmla="*/ 1414074 h 1724382"/>
              <a:gd name="connsiteX3" fmla="*/ 839996 w 2683857"/>
              <a:gd name="connsiteY3" fmla="*/ 700356 h 1724382"/>
              <a:gd name="connsiteX4" fmla="*/ 750380 w 2683857"/>
              <a:gd name="connsiteY4" fmla="*/ 972103 h 1724382"/>
              <a:gd name="connsiteX5" fmla="*/ 1637353 w 2683857"/>
              <a:gd name="connsiteY5" fmla="*/ 459425 h 1724382"/>
              <a:gd name="connsiteX6" fmla="*/ 1251376 w 2683857"/>
              <a:gd name="connsiteY6" fmla="*/ 440647 h 1724382"/>
              <a:gd name="connsiteX7" fmla="*/ 2041484 w 2683857"/>
              <a:gd name="connsiteY7" fmla="*/ 149909 h 1724382"/>
              <a:gd name="connsiteX8" fmla="*/ 1987950 w 2683857"/>
              <a:gd name="connsiteY8" fmla="*/ 316734 h 1724382"/>
              <a:gd name="connsiteX9" fmla="*/ 2669076 w 2683857"/>
              <a:gd name="connsiteY9" fmla="*/ 22742 h 1724382"/>
              <a:gd name="connsiteX10" fmla="*/ 2403005 w 2683857"/>
              <a:gd name="connsiteY10" fmla="*/ 10893 h 1724382"/>
              <a:gd name="connsiteX0" fmla="*/ 336966 w 2683857"/>
              <a:gd name="connsiteY0" fmla="*/ 1320544 h 1435378"/>
              <a:gd name="connsiteX1" fmla="*/ 31124 w 2683857"/>
              <a:gd name="connsiteY1" fmla="*/ 1414074 h 1435378"/>
              <a:gd name="connsiteX2" fmla="*/ 839996 w 2683857"/>
              <a:gd name="connsiteY2" fmla="*/ 700356 h 1435378"/>
              <a:gd name="connsiteX3" fmla="*/ 750380 w 2683857"/>
              <a:gd name="connsiteY3" fmla="*/ 972103 h 1435378"/>
              <a:gd name="connsiteX4" fmla="*/ 1637353 w 2683857"/>
              <a:gd name="connsiteY4" fmla="*/ 459425 h 1435378"/>
              <a:gd name="connsiteX5" fmla="*/ 1251376 w 2683857"/>
              <a:gd name="connsiteY5" fmla="*/ 440647 h 1435378"/>
              <a:gd name="connsiteX6" fmla="*/ 2041484 w 2683857"/>
              <a:gd name="connsiteY6" fmla="*/ 149909 h 1435378"/>
              <a:gd name="connsiteX7" fmla="*/ 1987950 w 2683857"/>
              <a:gd name="connsiteY7" fmla="*/ 316734 h 1435378"/>
              <a:gd name="connsiteX8" fmla="*/ 2669076 w 2683857"/>
              <a:gd name="connsiteY8" fmla="*/ 22742 h 1435378"/>
              <a:gd name="connsiteX9" fmla="*/ 2403005 w 2683857"/>
              <a:gd name="connsiteY9" fmla="*/ 10893 h 1435378"/>
              <a:gd name="connsiteX0" fmla="*/ 336966 w 2683857"/>
              <a:gd name="connsiteY0" fmla="*/ 1320544 h 1435378"/>
              <a:gd name="connsiteX1" fmla="*/ 31124 w 2683857"/>
              <a:gd name="connsiteY1" fmla="*/ 1414074 h 1435378"/>
              <a:gd name="connsiteX2" fmla="*/ 839996 w 2683857"/>
              <a:gd name="connsiteY2" fmla="*/ 700356 h 1435378"/>
              <a:gd name="connsiteX3" fmla="*/ 1433505 w 2683857"/>
              <a:gd name="connsiteY3" fmla="*/ 778052 h 1435378"/>
              <a:gd name="connsiteX4" fmla="*/ 1637353 w 2683857"/>
              <a:gd name="connsiteY4" fmla="*/ 459425 h 1435378"/>
              <a:gd name="connsiteX5" fmla="*/ 1251376 w 2683857"/>
              <a:gd name="connsiteY5" fmla="*/ 440647 h 1435378"/>
              <a:gd name="connsiteX6" fmla="*/ 2041484 w 2683857"/>
              <a:gd name="connsiteY6" fmla="*/ 149909 h 1435378"/>
              <a:gd name="connsiteX7" fmla="*/ 1987950 w 2683857"/>
              <a:gd name="connsiteY7" fmla="*/ 316734 h 1435378"/>
              <a:gd name="connsiteX8" fmla="*/ 2669076 w 2683857"/>
              <a:gd name="connsiteY8" fmla="*/ 22742 h 1435378"/>
              <a:gd name="connsiteX9" fmla="*/ 2403005 w 2683857"/>
              <a:gd name="connsiteY9" fmla="*/ 10893 h 1435378"/>
              <a:gd name="connsiteX0" fmla="*/ 334158 w 2681049"/>
              <a:gd name="connsiteY0" fmla="*/ 1320544 h 1435378"/>
              <a:gd name="connsiteX1" fmla="*/ 28316 w 2681049"/>
              <a:gd name="connsiteY1" fmla="*/ 1414074 h 1435378"/>
              <a:gd name="connsiteX2" fmla="*/ 941554 w 2681049"/>
              <a:gd name="connsiteY2" fmla="*/ 337026 h 1435378"/>
              <a:gd name="connsiteX3" fmla="*/ 1430697 w 2681049"/>
              <a:gd name="connsiteY3" fmla="*/ 778052 h 1435378"/>
              <a:gd name="connsiteX4" fmla="*/ 1634545 w 2681049"/>
              <a:gd name="connsiteY4" fmla="*/ 459425 h 1435378"/>
              <a:gd name="connsiteX5" fmla="*/ 1248568 w 2681049"/>
              <a:gd name="connsiteY5" fmla="*/ 440647 h 1435378"/>
              <a:gd name="connsiteX6" fmla="*/ 2038676 w 2681049"/>
              <a:gd name="connsiteY6" fmla="*/ 149909 h 1435378"/>
              <a:gd name="connsiteX7" fmla="*/ 1985142 w 2681049"/>
              <a:gd name="connsiteY7" fmla="*/ 316734 h 1435378"/>
              <a:gd name="connsiteX8" fmla="*/ 2666268 w 2681049"/>
              <a:gd name="connsiteY8" fmla="*/ 22742 h 1435378"/>
              <a:gd name="connsiteX9" fmla="*/ 2400197 w 2681049"/>
              <a:gd name="connsiteY9" fmla="*/ 10893 h 1435378"/>
              <a:gd name="connsiteX0" fmla="*/ 898765 w 3245656"/>
              <a:gd name="connsiteY0" fmla="*/ 1320544 h 1326136"/>
              <a:gd name="connsiteX1" fmla="*/ 18908 w 3245656"/>
              <a:gd name="connsiteY1" fmla="*/ 216738 h 1326136"/>
              <a:gd name="connsiteX2" fmla="*/ 1506161 w 3245656"/>
              <a:gd name="connsiteY2" fmla="*/ 337026 h 1326136"/>
              <a:gd name="connsiteX3" fmla="*/ 1995304 w 3245656"/>
              <a:gd name="connsiteY3" fmla="*/ 778052 h 1326136"/>
              <a:gd name="connsiteX4" fmla="*/ 2199152 w 3245656"/>
              <a:gd name="connsiteY4" fmla="*/ 459425 h 1326136"/>
              <a:gd name="connsiteX5" fmla="*/ 1813175 w 3245656"/>
              <a:gd name="connsiteY5" fmla="*/ 440647 h 1326136"/>
              <a:gd name="connsiteX6" fmla="*/ 2603283 w 3245656"/>
              <a:gd name="connsiteY6" fmla="*/ 149909 h 1326136"/>
              <a:gd name="connsiteX7" fmla="*/ 2549749 w 3245656"/>
              <a:gd name="connsiteY7" fmla="*/ 316734 h 1326136"/>
              <a:gd name="connsiteX8" fmla="*/ 3230875 w 3245656"/>
              <a:gd name="connsiteY8" fmla="*/ 22742 h 1326136"/>
              <a:gd name="connsiteX9" fmla="*/ 2964804 w 3245656"/>
              <a:gd name="connsiteY9" fmla="*/ 10893 h 1326136"/>
              <a:gd name="connsiteX0" fmla="*/ 898765 w 2976119"/>
              <a:gd name="connsiteY0" fmla="*/ 1309651 h 1315243"/>
              <a:gd name="connsiteX1" fmla="*/ 18908 w 2976119"/>
              <a:gd name="connsiteY1" fmla="*/ 205845 h 1315243"/>
              <a:gd name="connsiteX2" fmla="*/ 1506161 w 2976119"/>
              <a:gd name="connsiteY2" fmla="*/ 326133 h 1315243"/>
              <a:gd name="connsiteX3" fmla="*/ 1995304 w 2976119"/>
              <a:gd name="connsiteY3" fmla="*/ 767159 h 1315243"/>
              <a:gd name="connsiteX4" fmla="*/ 2199152 w 2976119"/>
              <a:gd name="connsiteY4" fmla="*/ 448532 h 1315243"/>
              <a:gd name="connsiteX5" fmla="*/ 1813175 w 2976119"/>
              <a:gd name="connsiteY5" fmla="*/ 429754 h 1315243"/>
              <a:gd name="connsiteX6" fmla="*/ 2603283 w 2976119"/>
              <a:gd name="connsiteY6" fmla="*/ 139016 h 1315243"/>
              <a:gd name="connsiteX7" fmla="*/ 2549749 w 2976119"/>
              <a:gd name="connsiteY7" fmla="*/ 305841 h 1315243"/>
              <a:gd name="connsiteX8" fmla="*/ 2922520 w 2976119"/>
              <a:gd name="connsiteY8" fmla="*/ 296733 h 1315243"/>
              <a:gd name="connsiteX9" fmla="*/ 2964804 w 2976119"/>
              <a:gd name="connsiteY9" fmla="*/ 0 h 1315243"/>
              <a:gd name="connsiteX0" fmla="*/ 898765 w 2942947"/>
              <a:gd name="connsiteY0" fmla="*/ 1342680 h 1348272"/>
              <a:gd name="connsiteX1" fmla="*/ 18908 w 2942947"/>
              <a:gd name="connsiteY1" fmla="*/ 238874 h 1348272"/>
              <a:gd name="connsiteX2" fmla="*/ 1506161 w 2942947"/>
              <a:gd name="connsiteY2" fmla="*/ 359162 h 1348272"/>
              <a:gd name="connsiteX3" fmla="*/ 1995304 w 2942947"/>
              <a:gd name="connsiteY3" fmla="*/ 800188 h 1348272"/>
              <a:gd name="connsiteX4" fmla="*/ 2199152 w 2942947"/>
              <a:gd name="connsiteY4" fmla="*/ 481561 h 1348272"/>
              <a:gd name="connsiteX5" fmla="*/ 1813175 w 2942947"/>
              <a:gd name="connsiteY5" fmla="*/ 462783 h 1348272"/>
              <a:gd name="connsiteX6" fmla="*/ 2603283 w 2942947"/>
              <a:gd name="connsiteY6" fmla="*/ 172045 h 1348272"/>
              <a:gd name="connsiteX7" fmla="*/ 2549749 w 2942947"/>
              <a:gd name="connsiteY7" fmla="*/ 338870 h 1348272"/>
              <a:gd name="connsiteX8" fmla="*/ 2922520 w 2942947"/>
              <a:gd name="connsiteY8" fmla="*/ 329762 h 1348272"/>
              <a:gd name="connsiteX9" fmla="*/ 2604266 w 2942947"/>
              <a:gd name="connsiteY9" fmla="*/ 0 h 1348272"/>
              <a:gd name="connsiteX0" fmla="*/ 1491756 w 2942947"/>
              <a:gd name="connsiteY0" fmla="*/ 0 h 1030038"/>
              <a:gd name="connsiteX1" fmla="*/ 18908 w 2942947"/>
              <a:gd name="connsiteY1" fmla="*/ 415570 h 1030038"/>
              <a:gd name="connsiteX2" fmla="*/ 1506161 w 2942947"/>
              <a:gd name="connsiteY2" fmla="*/ 535858 h 1030038"/>
              <a:gd name="connsiteX3" fmla="*/ 1995304 w 2942947"/>
              <a:gd name="connsiteY3" fmla="*/ 976884 h 1030038"/>
              <a:gd name="connsiteX4" fmla="*/ 2199152 w 2942947"/>
              <a:gd name="connsiteY4" fmla="*/ 658257 h 1030038"/>
              <a:gd name="connsiteX5" fmla="*/ 1813175 w 2942947"/>
              <a:gd name="connsiteY5" fmla="*/ 639479 h 1030038"/>
              <a:gd name="connsiteX6" fmla="*/ 2603283 w 2942947"/>
              <a:gd name="connsiteY6" fmla="*/ 348741 h 1030038"/>
              <a:gd name="connsiteX7" fmla="*/ 2549749 w 2942947"/>
              <a:gd name="connsiteY7" fmla="*/ 515566 h 1030038"/>
              <a:gd name="connsiteX8" fmla="*/ 2922520 w 2942947"/>
              <a:gd name="connsiteY8" fmla="*/ 506458 h 1030038"/>
              <a:gd name="connsiteX9" fmla="*/ 2604266 w 2942947"/>
              <a:gd name="connsiteY9" fmla="*/ 176696 h 1030038"/>
              <a:gd name="connsiteX0" fmla="*/ 1491756 w 2942947"/>
              <a:gd name="connsiteY0" fmla="*/ 0 h 976884"/>
              <a:gd name="connsiteX1" fmla="*/ 18908 w 2942947"/>
              <a:gd name="connsiteY1" fmla="*/ 415570 h 976884"/>
              <a:gd name="connsiteX2" fmla="*/ 1506161 w 2942947"/>
              <a:gd name="connsiteY2" fmla="*/ 535858 h 976884"/>
              <a:gd name="connsiteX3" fmla="*/ 1995304 w 2942947"/>
              <a:gd name="connsiteY3" fmla="*/ 976884 h 976884"/>
              <a:gd name="connsiteX4" fmla="*/ 2199152 w 2942947"/>
              <a:gd name="connsiteY4" fmla="*/ 658257 h 976884"/>
              <a:gd name="connsiteX5" fmla="*/ 1813175 w 2942947"/>
              <a:gd name="connsiteY5" fmla="*/ 639479 h 976884"/>
              <a:gd name="connsiteX6" fmla="*/ 2603283 w 2942947"/>
              <a:gd name="connsiteY6" fmla="*/ 348741 h 976884"/>
              <a:gd name="connsiteX7" fmla="*/ 2549749 w 2942947"/>
              <a:gd name="connsiteY7" fmla="*/ 515566 h 976884"/>
              <a:gd name="connsiteX8" fmla="*/ 2922520 w 2942947"/>
              <a:gd name="connsiteY8" fmla="*/ 506458 h 976884"/>
              <a:gd name="connsiteX9" fmla="*/ 2604266 w 2942947"/>
              <a:gd name="connsiteY9" fmla="*/ 176696 h 976884"/>
              <a:gd name="connsiteX0" fmla="*/ 1491756 w 2942947"/>
              <a:gd name="connsiteY0" fmla="*/ 0 h 976884"/>
              <a:gd name="connsiteX1" fmla="*/ 18908 w 2942947"/>
              <a:gd name="connsiteY1" fmla="*/ 415570 h 976884"/>
              <a:gd name="connsiteX2" fmla="*/ 1506161 w 2942947"/>
              <a:gd name="connsiteY2" fmla="*/ 535858 h 976884"/>
              <a:gd name="connsiteX3" fmla="*/ 1995304 w 2942947"/>
              <a:gd name="connsiteY3" fmla="*/ 976884 h 976884"/>
              <a:gd name="connsiteX4" fmla="*/ 2199152 w 2942947"/>
              <a:gd name="connsiteY4" fmla="*/ 658257 h 976884"/>
              <a:gd name="connsiteX5" fmla="*/ 1813175 w 2942947"/>
              <a:gd name="connsiteY5" fmla="*/ 639479 h 976884"/>
              <a:gd name="connsiteX6" fmla="*/ 2603283 w 2942947"/>
              <a:gd name="connsiteY6" fmla="*/ 348741 h 976884"/>
              <a:gd name="connsiteX7" fmla="*/ 2549749 w 2942947"/>
              <a:gd name="connsiteY7" fmla="*/ 515566 h 976884"/>
              <a:gd name="connsiteX8" fmla="*/ 2922520 w 2942947"/>
              <a:gd name="connsiteY8" fmla="*/ 506458 h 976884"/>
              <a:gd name="connsiteX9" fmla="*/ 2604266 w 2942947"/>
              <a:gd name="connsiteY9" fmla="*/ 176696 h 976884"/>
              <a:gd name="connsiteX0" fmla="*/ 1491756 w 2942947"/>
              <a:gd name="connsiteY0" fmla="*/ 0 h 976884"/>
              <a:gd name="connsiteX1" fmla="*/ 18908 w 2942947"/>
              <a:gd name="connsiteY1" fmla="*/ 415570 h 976884"/>
              <a:gd name="connsiteX2" fmla="*/ 1506161 w 2942947"/>
              <a:gd name="connsiteY2" fmla="*/ 535858 h 976884"/>
              <a:gd name="connsiteX3" fmla="*/ 1995304 w 2942947"/>
              <a:gd name="connsiteY3" fmla="*/ 976884 h 976884"/>
              <a:gd name="connsiteX4" fmla="*/ 2199152 w 2942947"/>
              <a:gd name="connsiteY4" fmla="*/ 658257 h 976884"/>
              <a:gd name="connsiteX5" fmla="*/ 1813175 w 2942947"/>
              <a:gd name="connsiteY5" fmla="*/ 639479 h 976884"/>
              <a:gd name="connsiteX6" fmla="*/ 2603283 w 2942947"/>
              <a:gd name="connsiteY6" fmla="*/ 348741 h 976884"/>
              <a:gd name="connsiteX7" fmla="*/ 2549749 w 2942947"/>
              <a:gd name="connsiteY7" fmla="*/ 515566 h 976884"/>
              <a:gd name="connsiteX8" fmla="*/ 2922520 w 2942947"/>
              <a:gd name="connsiteY8" fmla="*/ 506458 h 976884"/>
              <a:gd name="connsiteX9" fmla="*/ 2604266 w 2942947"/>
              <a:gd name="connsiteY9" fmla="*/ 176696 h 976884"/>
              <a:gd name="connsiteX0" fmla="*/ 1491756 w 2942947"/>
              <a:gd name="connsiteY0" fmla="*/ 0 h 976884"/>
              <a:gd name="connsiteX1" fmla="*/ 18908 w 2942947"/>
              <a:gd name="connsiteY1" fmla="*/ 415570 h 976884"/>
              <a:gd name="connsiteX2" fmla="*/ 1506161 w 2942947"/>
              <a:gd name="connsiteY2" fmla="*/ 535858 h 976884"/>
              <a:gd name="connsiteX3" fmla="*/ 1995304 w 2942947"/>
              <a:gd name="connsiteY3" fmla="*/ 976884 h 976884"/>
              <a:gd name="connsiteX4" fmla="*/ 2199152 w 2942947"/>
              <a:gd name="connsiteY4" fmla="*/ 658257 h 976884"/>
              <a:gd name="connsiteX5" fmla="*/ 1813175 w 2942947"/>
              <a:gd name="connsiteY5" fmla="*/ 639479 h 976884"/>
              <a:gd name="connsiteX6" fmla="*/ 2603283 w 2942947"/>
              <a:gd name="connsiteY6" fmla="*/ 348741 h 976884"/>
              <a:gd name="connsiteX7" fmla="*/ 2549749 w 2942947"/>
              <a:gd name="connsiteY7" fmla="*/ 515566 h 976884"/>
              <a:gd name="connsiteX8" fmla="*/ 2922520 w 2942947"/>
              <a:gd name="connsiteY8" fmla="*/ 506458 h 976884"/>
              <a:gd name="connsiteX9" fmla="*/ 2604266 w 2942947"/>
              <a:gd name="connsiteY9" fmla="*/ 176696 h 976884"/>
              <a:gd name="connsiteX0" fmla="*/ 1491756 w 2942947"/>
              <a:gd name="connsiteY0" fmla="*/ 0 h 976884"/>
              <a:gd name="connsiteX1" fmla="*/ 18908 w 2942947"/>
              <a:gd name="connsiteY1" fmla="*/ 415570 h 976884"/>
              <a:gd name="connsiteX2" fmla="*/ 1506161 w 2942947"/>
              <a:gd name="connsiteY2" fmla="*/ 535858 h 976884"/>
              <a:gd name="connsiteX3" fmla="*/ 1995304 w 2942947"/>
              <a:gd name="connsiteY3" fmla="*/ 976884 h 976884"/>
              <a:gd name="connsiteX4" fmla="*/ 2199152 w 2942947"/>
              <a:gd name="connsiteY4" fmla="*/ 658257 h 976884"/>
              <a:gd name="connsiteX5" fmla="*/ 1813175 w 2942947"/>
              <a:gd name="connsiteY5" fmla="*/ 639479 h 976884"/>
              <a:gd name="connsiteX6" fmla="*/ 2603283 w 2942947"/>
              <a:gd name="connsiteY6" fmla="*/ 348741 h 976884"/>
              <a:gd name="connsiteX7" fmla="*/ 2549749 w 2942947"/>
              <a:gd name="connsiteY7" fmla="*/ 515566 h 976884"/>
              <a:gd name="connsiteX8" fmla="*/ 2922520 w 2942947"/>
              <a:gd name="connsiteY8" fmla="*/ 506458 h 976884"/>
              <a:gd name="connsiteX9" fmla="*/ 2604266 w 2942947"/>
              <a:gd name="connsiteY9" fmla="*/ 176696 h 976884"/>
              <a:gd name="connsiteX0" fmla="*/ 1499190 w 2950381"/>
              <a:gd name="connsiteY0" fmla="*/ 0 h 976884"/>
              <a:gd name="connsiteX1" fmla="*/ 26342 w 2950381"/>
              <a:gd name="connsiteY1" fmla="*/ 415570 h 976884"/>
              <a:gd name="connsiteX2" fmla="*/ 1513595 w 2950381"/>
              <a:gd name="connsiteY2" fmla="*/ 535858 h 976884"/>
              <a:gd name="connsiteX3" fmla="*/ 2002738 w 2950381"/>
              <a:gd name="connsiteY3" fmla="*/ 976884 h 976884"/>
              <a:gd name="connsiteX4" fmla="*/ 2206586 w 2950381"/>
              <a:gd name="connsiteY4" fmla="*/ 658257 h 976884"/>
              <a:gd name="connsiteX5" fmla="*/ 1820609 w 2950381"/>
              <a:gd name="connsiteY5" fmla="*/ 639479 h 976884"/>
              <a:gd name="connsiteX6" fmla="*/ 2610717 w 2950381"/>
              <a:gd name="connsiteY6" fmla="*/ 348741 h 976884"/>
              <a:gd name="connsiteX7" fmla="*/ 2557183 w 2950381"/>
              <a:gd name="connsiteY7" fmla="*/ 515566 h 976884"/>
              <a:gd name="connsiteX8" fmla="*/ 2929954 w 2950381"/>
              <a:gd name="connsiteY8" fmla="*/ 506458 h 976884"/>
              <a:gd name="connsiteX9" fmla="*/ 2611700 w 2950381"/>
              <a:gd name="connsiteY9" fmla="*/ 176696 h 976884"/>
              <a:gd name="connsiteX0" fmla="*/ 1472849 w 2924040"/>
              <a:gd name="connsiteY0" fmla="*/ 0 h 976884"/>
              <a:gd name="connsiteX1" fmla="*/ 1 w 2924040"/>
              <a:gd name="connsiteY1" fmla="*/ 415570 h 976884"/>
              <a:gd name="connsiteX2" fmla="*/ 1487254 w 2924040"/>
              <a:gd name="connsiteY2" fmla="*/ 535858 h 976884"/>
              <a:gd name="connsiteX3" fmla="*/ 1976397 w 2924040"/>
              <a:gd name="connsiteY3" fmla="*/ 976884 h 976884"/>
              <a:gd name="connsiteX4" fmla="*/ 2180245 w 2924040"/>
              <a:gd name="connsiteY4" fmla="*/ 658257 h 976884"/>
              <a:gd name="connsiteX5" fmla="*/ 1794268 w 2924040"/>
              <a:gd name="connsiteY5" fmla="*/ 639479 h 976884"/>
              <a:gd name="connsiteX6" fmla="*/ 2584376 w 2924040"/>
              <a:gd name="connsiteY6" fmla="*/ 348741 h 976884"/>
              <a:gd name="connsiteX7" fmla="*/ 2530842 w 2924040"/>
              <a:gd name="connsiteY7" fmla="*/ 515566 h 976884"/>
              <a:gd name="connsiteX8" fmla="*/ 2903613 w 2924040"/>
              <a:gd name="connsiteY8" fmla="*/ 506458 h 976884"/>
              <a:gd name="connsiteX9" fmla="*/ 2585359 w 2924040"/>
              <a:gd name="connsiteY9" fmla="*/ 176696 h 976884"/>
              <a:gd name="connsiteX0" fmla="*/ 1472848 w 2924039"/>
              <a:gd name="connsiteY0" fmla="*/ 0 h 976884"/>
              <a:gd name="connsiteX1" fmla="*/ 0 w 2924039"/>
              <a:gd name="connsiteY1" fmla="*/ 415570 h 976884"/>
              <a:gd name="connsiteX2" fmla="*/ 1487253 w 2924039"/>
              <a:gd name="connsiteY2" fmla="*/ 535858 h 976884"/>
              <a:gd name="connsiteX3" fmla="*/ 1976396 w 2924039"/>
              <a:gd name="connsiteY3" fmla="*/ 976884 h 976884"/>
              <a:gd name="connsiteX4" fmla="*/ 2180244 w 2924039"/>
              <a:gd name="connsiteY4" fmla="*/ 658257 h 976884"/>
              <a:gd name="connsiteX5" fmla="*/ 1794267 w 2924039"/>
              <a:gd name="connsiteY5" fmla="*/ 639479 h 976884"/>
              <a:gd name="connsiteX6" fmla="*/ 2584375 w 2924039"/>
              <a:gd name="connsiteY6" fmla="*/ 348741 h 976884"/>
              <a:gd name="connsiteX7" fmla="*/ 2530841 w 2924039"/>
              <a:gd name="connsiteY7" fmla="*/ 515566 h 976884"/>
              <a:gd name="connsiteX8" fmla="*/ 2903612 w 2924039"/>
              <a:gd name="connsiteY8" fmla="*/ 506458 h 976884"/>
              <a:gd name="connsiteX9" fmla="*/ 2585358 w 2924039"/>
              <a:gd name="connsiteY9" fmla="*/ 176696 h 976884"/>
              <a:gd name="connsiteX0" fmla="*/ 1497426 w 2948617"/>
              <a:gd name="connsiteY0" fmla="*/ 0 h 976884"/>
              <a:gd name="connsiteX1" fmla="*/ 24578 w 2948617"/>
              <a:gd name="connsiteY1" fmla="*/ 415570 h 976884"/>
              <a:gd name="connsiteX2" fmla="*/ 1511831 w 2948617"/>
              <a:gd name="connsiteY2" fmla="*/ 535858 h 976884"/>
              <a:gd name="connsiteX3" fmla="*/ 2000974 w 2948617"/>
              <a:gd name="connsiteY3" fmla="*/ 976884 h 976884"/>
              <a:gd name="connsiteX4" fmla="*/ 2204822 w 2948617"/>
              <a:gd name="connsiteY4" fmla="*/ 658257 h 976884"/>
              <a:gd name="connsiteX5" fmla="*/ 1818845 w 2948617"/>
              <a:gd name="connsiteY5" fmla="*/ 639479 h 976884"/>
              <a:gd name="connsiteX6" fmla="*/ 2608953 w 2948617"/>
              <a:gd name="connsiteY6" fmla="*/ 348741 h 976884"/>
              <a:gd name="connsiteX7" fmla="*/ 2555419 w 2948617"/>
              <a:gd name="connsiteY7" fmla="*/ 515566 h 976884"/>
              <a:gd name="connsiteX8" fmla="*/ 2928190 w 2948617"/>
              <a:gd name="connsiteY8" fmla="*/ 506458 h 976884"/>
              <a:gd name="connsiteX9" fmla="*/ 2609936 w 2948617"/>
              <a:gd name="connsiteY9" fmla="*/ 176696 h 976884"/>
              <a:gd name="connsiteX0" fmla="*/ 1497427 w 2948618"/>
              <a:gd name="connsiteY0" fmla="*/ 0 h 976884"/>
              <a:gd name="connsiteX1" fmla="*/ 24579 w 2948618"/>
              <a:gd name="connsiteY1" fmla="*/ 415570 h 976884"/>
              <a:gd name="connsiteX2" fmla="*/ 1511832 w 2948618"/>
              <a:gd name="connsiteY2" fmla="*/ 535858 h 976884"/>
              <a:gd name="connsiteX3" fmla="*/ 2000975 w 2948618"/>
              <a:gd name="connsiteY3" fmla="*/ 976884 h 976884"/>
              <a:gd name="connsiteX4" fmla="*/ 2204823 w 2948618"/>
              <a:gd name="connsiteY4" fmla="*/ 658257 h 976884"/>
              <a:gd name="connsiteX5" fmla="*/ 1818846 w 2948618"/>
              <a:gd name="connsiteY5" fmla="*/ 639479 h 976884"/>
              <a:gd name="connsiteX6" fmla="*/ 2608954 w 2948618"/>
              <a:gd name="connsiteY6" fmla="*/ 348741 h 976884"/>
              <a:gd name="connsiteX7" fmla="*/ 2555420 w 2948618"/>
              <a:gd name="connsiteY7" fmla="*/ 515566 h 976884"/>
              <a:gd name="connsiteX8" fmla="*/ 2928191 w 2948618"/>
              <a:gd name="connsiteY8" fmla="*/ 506458 h 976884"/>
              <a:gd name="connsiteX9" fmla="*/ 2609937 w 2948618"/>
              <a:gd name="connsiteY9" fmla="*/ 176696 h 976884"/>
              <a:gd name="connsiteX0" fmla="*/ 1497427 w 2948618"/>
              <a:gd name="connsiteY0" fmla="*/ 0 h 976884"/>
              <a:gd name="connsiteX1" fmla="*/ 24579 w 2948618"/>
              <a:gd name="connsiteY1" fmla="*/ 415570 h 976884"/>
              <a:gd name="connsiteX2" fmla="*/ 1511832 w 2948618"/>
              <a:gd name="connsiteY2" fmla="*/ 535858 h 976884"/>
              <a:gd name="connsiteX3" fmla="*/ 2000975 w 2948618"/>
              <a:gd name="connsiteY3" fmla="*/ 976884 h 976884"/>
              <a:gd name="connsiteX4" fmla="*/ 2204823 w 2948618"/>
              <a:gd name="connsiteY4" fmla="*/ 658257 h 976884"/>
              <a:gd name="connsiteX5" fmla="*/ 1818846 w 2948618"/>
              <a:gd name="connsiteY5" fmla="*/ 639479 h 976884"/>
              <a:gd name="connsiteX6" fmla="*/ 2608954 w 2948618"/>
              <a:gd name="connsiteY6" fmla="*/ 348741 h 976884"/>
              <a:gd name="connsiteX7" fmla="*/ 2555420 w 2948618"/>
              <a:gd name="connsiteY7" fmla="*/ 515566 h 976884"/>
              <a:gd name="connsiteX8" fmla="*/ 2928191 w 2948618"/>
              <a:gd name="connsiteY8" fmla="*/ 506458 h 976884"/>
              <a:gd name="connsiteX9" fmla="*/ 2609937 w 2948618"/>
              <a:gd name="connsiteY9" fmla="*/ 176696 h 976884"/>
              <a:gd name="connsiteX0" fmla="*/ 1497427 w 2948618"/>
              <a:gd name="connsiteY0" fmla="*/ 0 h 976884"/>
              <a:gd name="connsiteX1" fmla="*/ 24579 w 2948618"/>
              <a:gd name="connsiteY1" fmla="*/ 415570 h 976884"/>
              <a:gd name="connsiteX2" fmla="*/ 1511832 w 2948618"/>
              <a:gd name="connsiteY2" fmla="*/ 535858 h 976884"/>
              <a:gd name="connsiteX3" fmla="*/ 2000975 w 2948618"/>
              <a:gd name="connsiteY3" fmla="*/ 976884 h 976884"/>
              <a:gd name="connsiteX4" fmla="*/ 2204823 w 2948618"/>
              <a:gd name="connsiteY4" fmla="*/ 658257 h 976884"/>
              <a:gd name="connsiteX5" fmla="*/ 1818846 w 2948618"/>
              <a:gd name="connsiteY5" fmla="*/ 639479 h 976884"/>
              <a:gd name="connsiteX6" fmla="*/ 2608954 w 2948618"/>
              <a:gd name="connsiteY6" fmla="*/ 348741 h 976884"/>
              <a:gd name="connsiteX7" fmla="*/ 2555420 w 2948618"/>
              <a:gd name="connsiteY7" fmla="*/ 515566 h 976884"/>
              <a:gd name="connsiteX8" fmla="*/ 2928191 w 2948618"/>
              <a:gd name="connsiteY8" fmla="*/ 506458 h 976884"/>
              <a:gd name="connsiteX9" fmla="*/ 2609937 w 2948618"/>
              <a:gd name="connsiteY9" fmla="*/ 176696 h 976884"/>
              <a:gd name="connsiteX0" fmla="*/ 1497427 w 2948618"/>
              <a:gd name="connsiteY0" fmla="*/ 0 h 976884"/>
              <a:gd name="connsiteX1" fmla="*/ 24579 w 2948618"/>
              <a:gd name="connsiteY1" fmla="*/ 415570 h 976884"/>
              <a:gd name="connsiteX2" fmla="*/ 1511832 w 2948618"/>
              <a:gd name="connsiteY2" fmla="*/ 535858 h 976884"/>
              <a:gd name="connsiteX3" fmla="*/ 2000975 w 2948618"/>
              <a:gd name="connsiteY3" fmla="*/ 976884 h 976884"/>
              <a:gd name="connsiteX4" fmla="*/ 2204823 w 2948618"/>
              <a:gd name="connsiteY4" fmla="*/ 658257 h 976884"/>
              <a:gd name="connsiteX5" fmla="*/ 1818846 w 2948618"/>
              <a:gd name="connsiteY5" fmla="*/ 639479 h 976884"/>
              <a:gd name="connsiteX6" fmla="*/ 2608954 w 2948618"/>
              <a:gd name="connsiteY6" fmla="*/ 348741 h 976884"/>
              <a:gd name="connsiteX7" fmla="*/ 2555420 w 2948618"/>
              <a:gd name="connsiteY7" fmla="*/ 515566 h 976884"/>
              <a:gd name="connsiteX8" fmla="*/ 2928191 w 2948618"/>
              <a:gd name="connsiteY8" fmla="*/ 506458 h 976884"/>
              <a:gd name="connsiteX9" fmla="*/ 2609937 w 2948618"/>
              <a:gd name="connsiteY9" fmla="*/ 176696 h 976884"/>
              <a:gd name="connsiteX0" fmla="*/ 1472849 w 2924040"/>
              <a:gd name="connsiteY0" fmla="*/ 0 h 976884"/>
              <a:gd name="connsiteX1" fmla="*/ 1 w 2924040"/>
              <a:gd name="connsiteY1" fmla="*/ 415570 h 976884"/>
              <a:gd name="connsiteX2" fmla="*/ 1487254 w 2924040"/>
              <a:gd name="connsiteY2" fmla="*/ 535858 h 976884"/>
              <a:gd name="connsiteX3" fmla="*/ 1976397 w 2924040"/>
              <a:gd name="connsiteY3" fmla="*/ 976884 h 976884"/>
              <a:gd name="connsiteX4" fmla="*/ 2180245 w 2924040"/>
              <a:gd name="connsiteY4" fmla="*/ 658257 h 976884"/>
              <a:gd name="connsiteX5" fmla="*/ 1794268 w 2924040"/>
              <a:gd name="connsiteY5" fmla="*/ 639479 h 976884"/>
              <a:gd name="connsiteX6" fmla="*/ 2584376 w 2924040"/>
              <a:gd name="connsiteY6" fmla="*/ 348741 h 976884"/>
              <a:gd name="connsiteX7" fmla="*/ 2530842 w 2924040"/>
              <a:gd name="connsiteY7" fmla="*/ 515566 h 976884"/>
              <a:gd name="connsiteX8" fmla="*/ 2903613 w 2924040"/>
              <a:gd name="connsiteY8" fmla="*/ 506458 h 976884"/>
              <a:gd name="connsiteX9" fmla="*/ 2585359 w 2924040"/>
              <a:gd name="connsiteY9" fmla="*/ 176696 h 976884"/>
              <a:gd name="connsiteX0" fmla="*/ 1472848 w 2924039"/>
              <a:gd name="connsiteY0" fmla="*/ 0 h 976884"/>
              <a:gd name="connsiteX1" fmla="*/ 0 w 2924039"/>
              <a:gd name="connsiteY1" fmla="*/ 415570 h 976884"/>
              <a:gd name="connsiteX2" fmla="*/ 1487253 w 2924039"/>
              <a:gd name="connsiteY2" fmla="*/ 535858 h 976884"/>
              <a:gd name="connsiteX3" fmla="*/ 1976396 w 2924039"/>
              <a:gd name="connsiteY3" fmla="*/ 976884 h 976884"/>
              <a:gd name="connsiteX4" fmla="*/ 2180244 w 2924039"/>
              <a:gd name="connsiteY4" fmla="*/ 658257 h 976884"/>
              <a:gd name="connsiteX5" fmla="*/ 1794267 w 2924039"/>
              <a:gd name="connsiteY5" fmla="*/ 639479 h 976884"/>
              <a:gd name="connsiteX6" fmla="*/ 2584375 w 2924039"/>
              <a:gd name="connsiteY6" fmla="*/ 348741 h 976884"/>
              <a:gd name="connsiteX7" fmla="*/ 2530841 w 2924039"/>
              <a:gd name="connsiteY7" fmla="*/ 515566 h 976884"/>
              <a:gd name="connsiteX8" fmla="*/ 2903612 w 2924039"/>
              <a:gd name="connsiteY8" fmla="*/ 506458 h 976884"/>
              <a:gd name="connsiteX9" fmla="*/ 2585358 w 2924039"/>
              <a:gd name="connsiteY9" fmla="*/ 176696 h 976884"/>
              <a:gd name="connsiteX0" fmla="*/ 1472848 w 2924039"/>
              <a:gd name="connsiteY0" fmla="*/ 0 h 976884"/>
              <a:gd name="connsiteX1" fmla="*/ 0 w 2924039"/>
              <a:gd name="connsiteY1" fmla="*/ 415570 h 976884"/>
              <a:gd name="connsiteX2" fmla="*/ 1487253 w 2924039"/>
              <a:gd name="connsiteY2" fmla="*/ 535858 h 976884"/>
              <a:gd name="connsiteX3" fmla="*/ 1976396 w 2924039"/>
              <a:gd name="connsiteY3" fmla="*/ 976884 h 976884"/>
              <a:gd name="connsiteX4" fmla="*/ 2180244 w 2924039"/>
              <a:gd name="connsiteY4" fmla="*/ 658257 h 976884"/>
              <a:gd name="connsiteX5" fmla="*/ 1794267 w 2924039"/>
              <a:gd name="connsiteY5" fmla="*/ 639479 h 976884"/>
              <a:gd name="connsiteX6" fmla="*/ 2584375 w 2924039"/>
              <a:gd name="connsiteY6" fmla="*/ 348741 h 976884"/>
              <a:gd name="connsiteX7" fmla="*/ 2530841 w 2924039"/>
              <a:gd name="connsiteY7" fmla="*/ 515566 h 976884"/>
              <a:gd name="connsiteX8" fmla="*/ 2903612 w 2924039"/>
              <a:gd name="connsiteY8" fmla="*/ 506458 h 976884"/>
              <a:gd name="connsiteX9" fmla="*/ 2585358 w 2924039"/>
              <a:gd name="connsiteY9" fmla="*/ 176696 h 976884"/>
              <a:gd name="connsiteX10" fmla="*/ 1472848 w 2924039"/>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530841 w 2903612"/>
              <a:gd name="connsiteY7" fmla="*/ 515566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584375 w 2903612"/>
              <a:gd name="connsiteY6" fmla="*/ 348741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180244 w 2903612"/>
              <a:gd name="connsiteY4" fmla="*/ 658257 h 976884"/>
              <a:gd name="connsiteX5" fmla="*/ 1794267 w 2903612"/>
              <a:gd name="connsiteY5" fmla="*/ 639479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3878 w 2903612"/>
              <a:gd name="connsiteY4" fmla="*/ 679303 h 976884"/>
              <a:gd name="connsiteX5" fmla="*/ 1794267 w 2903612"/>
              <a:gd name="connsiteY5" fmla="*/ 639479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3878 w 2903612"/>
              <a:gd name="connsiteY4" fmla="*/ 679303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3878 w 2903612"/>
              <a:gd name="connsiteY4" fmla="*/ 679303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70060 w 2903612"/>
              <a:gd name="connsiteY4" fmla="*/ 688322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70060 w 2903612"/>
              <a:gd name="connsiteY4" fmla="*/ 688322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0598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3605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3605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3605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3612"/>
              <a:gd name="connsiteY0" fmla="*/ 0 h 976884"/>
              <a:gd name="connsiteX1" fmla="*/ 0 w 2903612"/>
              <a:gd name="connsiteY1" fmla="*/ 415570 h 976884"/>
              <a:gd name="connsiteX2" fmla="*/ 1487253 w 2903612"/>
              <a:gd name="connsiteY2" fmla="*/ 535858 h 976884"/>
              <a:gd name="connsiteX3" fmla="*/ 1976396 w 2903612"/>
              <a:gd name="connsiteY3" fmla="*/ 976884 h 976884"/>
              <a:gd name="connsiteX4" fmla="*/ 2280423 w 2903612"/>
              <a:gd name="connsiteY4" fmla="*/ 691328 h 976884"/>
              <a:gd name="connsiteX5" fmla="*/ 1939354 w 2903612"/>
              <a:gd name="connsiteY5" fmla="*/ 756733 h 976884"/>
              <a:gd name="connsiteX6" fmla="*/ 2726009 w 2903612"/>
              <a:gd name="connsiteY6" fmla="*/ 405865 h 976884"/>
              <a:gd name="connsiteX7" fmla="*/ 2606840 w 2903612"/>
              <a:gd name="connsiteY7" fmla="*/ 533605 h 976884"/>
              <a:gd name="connsiteX8" fmla="*/ 2903612 w 2903612"/>
              <a:gd name="connsiteY8" fmla="*/ 506458 h 976884"/>
              <a:gd name="connsiteX9" fmla="*/ 2585358 w 2903612"/>
              <a:gd name="connsiteY9" fmla="*/ 176696 h 976884"/>
              <a:gd name="connsiteX10" fmla="*/ 1472848 w 2903612"/>
              <a:gd name="connsiteY10" fmla="*/ 0 h 976884"/>
              <a:gd name="connsiteX0" fmla="*/ 1472848 w 2907066"/>
              <a:gd name="connsiteY0" fmla="*/ 0 h 976884"/>
              <a:gd name="connsiteX1" fmla="*/ 0 w 2907066"/>
              <a:gd name="connsiteY1" fmla="*/ 415570 h 976884"/>
              <a:gd name="connsiteX2" fmla="*/ 1487253 w 2907066"/>
              <a:gd name="connsiteY2" fmla="*/ 535858 h 976884"/>
              <a:gd name="connsiteX3" fmla="*/ 1976396 w 2907066"/>
              <a:gd name="connsiteY3" fmla="*/ 976884 h 976884"/>
              <a:gd name="connsiteX4" fmla="*/ 2280423 w 2907066"/>
              <a:gd name="connsiteY4" fmla="*/ 691328 h 976884"/>
              <a:gd name="connsiteX5" fmla="*/ 1939354 w 2907066"/>
              <a:gd name="connsiteY5" fmla="*/ 756733 h 976884"/>
              <a:gd name="connsiteX6" fmla="*/ 2726009 w 2907066"/>
              <a:gd name="connsiteY6" fmla="*/ 405865 h 976884"/>
              <a:gd name="connsiteX7" fmla="*/ 2606840 w 2907066"/>
              <a:gd name="connsiteY7" fmla="*/ 533605 h 976884"/>
              <a:gd name="connsiteX8" fmla="*/ 2907066 w 2907066"/>
              <a:gd name="connsiteY8" fmla="*/ 497439 h 976884"/>
              <a:gd name="connsiteX9" fmla="*/ 2585358 w 2907066"/>
              <a:gd name="connsiteY9" fmla="*/ 176696 h 976884"/>
              <a:gd name="connsiteX10" fmla="*/ 1472848 w 2907066"/>
              <a:gd name="connsiteY10" fmla="*/ 0 h 976884"/>
              <a:gd name="connsiteX0" fmla="*/ 1472848 w 2907066"/>
              <a:gd name="connsiteY0" fmla="*/ 0 h 976884"/>
              <a:gd name="connsiteX1" fmla="*/ 0 w 2907066"/>
              <a:gd name="connsiteY1" fmla="*/ 415570 h 976884"/>
              <a:gd name="connsiteX2" fmla="*/ 1487253 w 2907066"/>
              <a:gd name="connsiteY2" fmla="*/ 535858 h 976884"/>
              <a:gd name="connsiteX3" fmla="*/ 1976396 w 2907066"/>
              <a:gd name="connsiteY3" fmla="*/ 976884 h 976884"/>
              <a:gd name="connsiteX4" fmla="*/ 2280423 w 2907066"/>
              <a:gd name="connsiteY4" fmla="*/ 691328 h 976884"/>
              <a:gd name="connsiteX5" fmla="*/ 1939354 w 2907066"/>
              <a:gd name="connsiteY5" fmla="*/ 756733 h 976884"/>
              <a:gd name="connsiteX6" fmla="*/ 2726009 w 2907066"/>
              <a:gd name="connsiteY6" fmla="*/ 405865 h 976884"/>
              <a:gd name="connsiteX7" fmla="*/ 2606840 w 2907066"/>
              <a:gd name="connsiteY7" fmla="*/ 533605 h 976884"/>
              <a:gd name="connsiteX8" fmla="*/ 2907066 w 2907066"/>
              <a:gd name="connsiteY8" fmla="*/ 497439 h 976884"/>
              <a:gd name="connsiteX9" fmla="*/ 2585358 w 2907066"/>
              <a:gd name="connsiteY9" fmla="*/ 176696 h 976884"/>
              <a:gd name="connsiteX10" fmla="*/ 1472848 w 2907066"/>
              <a:gd name="connsiteY10" fmla="*/ 0 h 97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07066" h="976884">
                <a:moveTo>
                  <a:pt x="1472848" y="0"/>
                </a:moveTo>
                <a:cubicBezTo>
                  <a:pt x="993691" y="123892"/>
                  <a:pt x="670363" y="200262"/>
                  <a:pt x="0" y="415570"/>
                </a:cubicBezTo>
                <a:lnTo>
                  <a:pt x="1487253" y="535858"/>
                </a:lnTo>
                <a:cubicBezTo>
                  <a:pt x="1667742" y="714738"/>
                  <a:pt x="1702588" y="748426"/>
                  <a:pt x="1976396" y="976884"/>
                </a:cubicBezTo>
                <a:cubicBezTo>
                  <a:pt x="2112451" y="865738"/>
                  <a:pt x="2347847" y="821011"/>
                  <a:pt x="2280423" y="691328"/>
                </a:cubicBezTo>
                <a:cubicBezTo>
                  <a:pt x="2252907" y="638404"/>
                  <a:pt x="1959922" y="798405"/>
                  <a:pt x="1939354" y="756733"/>
                </a:cubicBezTo>
                <a:cubicBezTo>
                  <a:pt x="1831698" y="654291"/>
                  <a:pt x="2669253" y="347052"/>
                  <a:pt x="2726009" y="405865"/>
                </a:cubicBezTo>
                <a:cubicBezTo>
                  <a:pt x="2739339" y="454021"/>
                  <a:pt x="2664259" y="466053"/>
                  <a:pt x="2606840" y="533605"/>
                </a:cubicBezTo>
                <a:cubicBezTo>
                  <a:pt x="2522899" y="664674"/>
                  <a:pt x="2828051" y="528685"/>
                  <a:pt x="2907066" y="497439"/>
                </a:cubicBezTo>
                <a:cubicBezTo>
                  <a:pt x="2803025" y="400759"/>
                  <a:pt x="2643715" y="246783"/>
                  <a:pt x="2585358" y="176696"/>
                </a:cubicBezTo>
                <a:lnTo>
                  <a:pt x="1472848" y="0"/>
                </a:lnTo>
                <a:close/>
              </a:path>
            </a:pathLst>
          </a:custGeom>
          <a:solidFill>
            <a:srgbClr val="505A64">
              <a:alpha val="54000"/>
            </a:srgbClr>
          </a:solidFill>
          <a:ln>
            <a:noFill/>
          </a:ln>
          <a:effectLst>
            <a:outerShdw blurRad="279400" dist="38100" dir="2700000" algn="tl" rotWithShape="0">
              <a:prstClr val="black">
                <a:alpha val="40000"/>
              </a:prstClr>
            </a:outerShdw>
          </a:effectLst>
          <a:scene3d>
            <a:camera prst="orthographicFront"/>
            <a:lightRig rig="freezing" dir="t"/>
          </a:scene3d>
          <a:sp3d prstMaterial="translucentPowder">
            <a:bevelT w="50800" h="133350"/>
            <a:bevelB w="25400" h="107950"/>
          </a:sp3d>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14" name="Freihandform 13"/>
          <p:cNvSpPr/>
          <p:nvPr/>
        </p:nvSpPr>
        <p:spPr bwMode="auto">
          <a:xfrm>
            <a:off x="2414815" y="3121793"/>
            <a:ext cx="4099339" cy="1249863"/>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2873847"/>
              <a:gd name="connsiteX1" fmla="*/ 160498 w 5964568"/>
              <a:gd name="connsiteY1" fmla="*/ 2672237 h 2873847"/>
              <a:gd name="connsiteX2" fmla="*/ 418903 w 5964568"/>
              <a:gd name="connsiteY2" fmla="*/ 2371827 h 2873847"/>
              <a:gd name="connsiteX3" fmla="*/ 914255 w 5964568"/>
              <a:gd name="connsiteY3" fmla="*/ 2223421 h 2873847"/>
              <a:gd name="connsiteX4" fmla="*/ 1020177 w 5964568"/>
              <a:gd name="connsiteY4" fmla="*/ 1819583 h 2873847"/>
              <a:gd name="connsiteX5" fmla="*/ 714335 w 5964568"/>
              <a:gd name="connsiteY5" fmla="*/ 1913113 h 2873847"/>
              <a:gd name="connsiteX6" fmla="*/ 1523207 w 5964568"/>
              <a:gd name="connsiteY6" fmla="*/ 1199395 h 2873847"/>
              <a:gd name="connsiteX7" fmla="*/ 1433591 w 5964568"/>
              <a:gd name="connsiteY7" fmla="*/ 1471142 h 2873847"/>
              <a:gd name="connsiteX8" fmla="*/ 2320564 w 5964568"/>
              <a:gd name="connsiteY8" fmla="*/ 958464 h 2873847"/>
              <a:gd name="connsiteX9" fmla="*/ 1934587 w 5964568"/>
              <a:gd name="connsiteY9" fmla="*/ 939686 h 2873847"/>
              <a:gd name="connsiteX10" fmla="*/ 2724695 w 5964568"/>
              <a:gd name="connsiteY10" fmla="*/ 648948 h 2873847"/>
              <a:gd name="connsiteX11" fmla="*/ 2671161 w 5964568"/>
              <a:gd name="connsiteY11" fmla="*/ 815773 h 2873847"/>
              <a:gd name="connsiteX12" fmla="*/ 3352287 w 5964568"/>
              <a:gd name="connsiteY12" fmla="*/ 521781 h 2873847"/>
              <a:gd name="connsiteX13" fmla="*/ 3086216 w 5964568"/>
              <a:gd name="connsiteY13" fmla="*/ 509932 h 2873847"/>
              <a:gd name="connsiteX14" fmla="*/ 3698561 w 5964568"/>
              <a:gd name="connsiteY14" fmla="*/ 232711 h 2873847"/>
              <a:gd name="connsiteX15" fmla="*/ 3623481 w 5964568"/>
              <a:gd name="connsiteY15" fmla="*/ 395239 h 2873847"/>
              <a:gd name="connsiteX16" fmla="*/ 4344358 w 5964568"/>
              <a:gd name="connsiteY16" fmla="*/ 194615 h 2873847"/>
              <a:gd name="connsiteX17" fmla="*/ 4198661 w 5964568"/>
              <a:gd name="connsiteY17" fmla="*/ 170771 h 2873847"/>
              <a:gd name="connsiteX18" fmla="*/ 4788590 w 5964568"/>
              <a:gd name="connsiteY18" fmla="*/ 54418 h 2873847"/>
              <a:gd name="connsiteX19" fmla="*/ 5066181 w 5964568"/>
              <a:gd name="connsiteY19" fmla="*/ 95353 h 2873847"/>
              <a:gd name="connsiteX20" fmla="*/ 5478894 w 5964568"/>
              <a:gd name="connsiteY20" fmla="*/ 3603 h 2873847"/>
              <a:gd name="connsiteX21" fmla="*/ 5964568 w 5964568"/>
              <a:gd name="connsiteY21" fmla="*/ 324196 h 2873847"/>
              <a:gd name="connsiteX22" fmla="*/ 212611 w 5964568"/>
              <a:gd name="connsiteY22" fmla="*/ 2873847 h 2873847"/>
              <a:gd name="connsiteX0" fmla="*/ 212611 w 5478895"/>
              <a:gd name="connsiteY0" fmla="*/ 2873847 h 2873847"/>
              <a:gd name="connsiteX1" fmla="*/ 160498 w 5478895"/>
              <a:gd name="connsiteY1" fmla="*/ 2672237 h 2873847"/>
              <a:gd name="connsiteX2" fmla="*/ 418903 w 5478895"/>
              <a:gd name="connsiteY2" fmla="*/ 2371827 h 2873847"/>
              <a:gd name="connsiteX3" fmla="*/ 914255 w 5478895"/>
              <a:gd name="connsiteY3" fmla="*/ 2223421 h 2873847"/>
              <a:gd name="connsiteX4" fmla="*/ 1020177 w 5478895"/>
              <a:gd name="connsiteY4" fmla="*/ 1819583 h 2873847"/>
              <a:gd name="connsiteX5" fmla="*/ 714335 w 5478895"/>
              <a:gd name="connsiteY5" fmla="*/ 1913113 h 2873847"/>
              <a:gd name="connsiteX6" fmla="*/ 1523207 w 5478895"/>
              <a:gd name="connsiteY6" fmla="*/ 1199395 h 2873847"/>
              <a:gd name="connsiteX7" fmla="*/ 1433591 w 5478895"/>
              <a:gd name="connsiteY7" fmla="*/ 1471142 h 2873847"/>
              <a:gd name="connsiteX8" fmla="*/ 2320564 w 5478895"/>
              <a:gd name="connsiteY8" fmla="*/ 958464 h 2873847"/>
              <a:gd name="connsiteX9" fmla="*/ 1934587 w 5478895"/>
              <a:gd name="connsiteY9" fmla="*/ 939686 h 2873847"/>
              <a:gd name="connsiteX10" fmla="*/ 2724695 w 5478895"/>
              <a:gd name="connsiteY10" fmla="*/ 648948 h 2873847"/>
              <a:gd name="connsiteX11" fmla="*/ 2671161 w 5478895"/>
              <a:gd name="connsiteY11" fmla="*/ 815773 h 2873847"/>
              <a:gd name="connsiteX12" fmla="*/ 3352287 w 5478895"/>
              <a:gd name="connsiteY12" fmla="*/ 521781 h 2873847"/>
              <a:gd name="connsiteX13" fmla="*/ 3086216 w 5478895"/>
              <a:gd name="connsiteY13" fmla="*/ 509932 h 2873847"/>
              <a:gd name="connsiteX14" fmla="*/ 3698561 w 5478895"/>
              <a:gd name="connsiteY14" fmla="*/ 232711 h 2873847"/>
              <a:gd name="connsiteX15" fmla="*/ 3623481 w 5478895"/>
              <a:gd name="connsiteY15" fmla="*/ 395239 h 2873847"/>
              <a:gd name="connsiteX16" fmla="*/ 4344358 w 5478895"/>
              <a:gd name="connsiteY16" fmla="*/ 194615 h 2873847"/>
              <a:gd name="connsiteX17" fmla="*/ 4198661 w 5478895"/>
              <a:gd name="connsiteY17" fmla="*/ 170771 h 2873847"/>
              <a:gd name="connsiteX18" fmla="*/ 4788590 w 5478895"/>
              <a:gd name="connsiteY18" fmla="*/ 54418 h 2873847"/>
              <a:gd name="connsiteX19" fmla="*/ 5066181 w 5478895"/>
              <a:gd name="connsiteY19" fmla="*/ 95353 h 2873847"/>
              <a:gd name="connsiteX20" fmla="*/ 5478894 w 5478895"/>
              <a:gd name="connsiteY20" fmla="*/ 3603 h 2873847"/>
              <a:gd name="connsiteX21" fmla="*/ 212611 w 5478895"/>
              <a:gd name="connsiteY21" fmla="*/ 2873847 h 2873847"/>
              <a:gd name="connsiteX0" fmla="*/ 212611 w 5478894"/>
              <a:gd name="connsiteY0" fmla="*/ 2873847 h 2963441"/>
              <a:gd name="connsiteX1" fmla="*/ 160498 w 5478894"/>
              <a:gd name="connsiteY1" fmla="*/ 2672237 h 2963441"/>
              <a:gd name="connsiteX2" fmla="*/ 418903 w 5478894"/>
              <a:gd name="connsiteY2" fmla="*/ 2371827 h 2963441"/>
              <a:gd name="connsiteX3" fmla="*/ 914255 w 5478894"/>
              <a:gd name="connsiteY3" fmla="*/ 2223421 h 2963441"/>
              <a:gd name="connsiteX4" fmla="*/ 1020177 w 5478894"/>
              <a:gd name="connsiteY4" fmla="*/ 1819583 h 2963441"/>
              <a:gd name="connsiteX5" fmla="*/ 714335 w 5478894"/>
              <a:gd name="connsiteY5" fmla="*/ 1913113 h 2963441"/>
              <a:gd name="connsiteX6" fmla="*/ 1523207 w 5478894"/>
              <a:gd name="connsiteY6" fmla="*/ 1199395 h 2963441"/>
              <a:gd name="connsiteX7" fmla="*/ 1433591 w 5478894"/>
              <a:gd name="connsiteY7" fmla="*/ 1471142 h 2963441"/>
              <a:gd name="connsiteX8" fmla="*/ 2320564 w 5478894"/>
              <a:gd name="connsiteY8" fmla="*/ 958464 h 2963441"/>
              <a:gd name="connsiteX9" fmla="*/ 1934587 w 5478894"/>
              <a:gd name="connsiteY9" fmla="*/ 939686 h 2963441"/>
              <a:gd name="connsiteX10" fmla="*/ 2724695 w 5478894"/>
              <a:gd name="connsiteY10" fmla="*/ 648948 h 2963441"/>
              <a:gd name="connsiteX11" fmla="*/ 2671161 w 5478894"/>
              <a:gd name="connsiteY11" fmla="*/ 815773 h 2963441"/>
              <a:gd name="connsiteX12" fmla="*/ 3352287 w 5478894"/>
              <a:gd name="connsiteY12" fmla="*/ 521781 h 2963441"/>
              <a:gd name="connsiteX13" fmla="*/ 3086216 w 5478894"/>
              <a:gd name="connsiteY13" fmla="*/ 509932 h 2963441"/>
              <a:gd name="connsiteX14" fmla="*/ 3698561 w 5478894"/>
              <a:gd name="connsiteY14" fmla="*/ 232711 h 2963441"/>
              <a:gd name="connsiteX15" fmla="*/ 3623481 w 5478894"/>
              <a:gd name="connsiteY15" fmla="*/ 395239 h 2963441"/>
              <a:gd name="connsiteX16" fmla="*/ 4344358 w 5478894"/>
              <a:gd name="connsiteY16" fmla="*/ 194615 h 2963441"/>
              <a:gd name="connsiteX17" fmla="*/ 4198661 w 5478894"/>
              <a:gd name="connsiteY17" fmla="*/ 170771 h 2963441"/>
              <a:gd name="connsiteX18" fmla="*/ 4788590 w 5478894"/>
              <a:gd name="connsiteY18" fmla="*/ 54418 h 2963441"/>
              <a:gd name="connsiteX19" fmla="*/ 5066181 w 5478894"/>
              <a:gd name="connsiteY19" fmla="*/ 95353 h 2963441"/>
              <a:gd name="connsiteX20" fmla="*/ 5478894 w 5478894"/>
              <a:gd name="connsiteY20" fmla="*/ 3603 h 2963441"/>
              <a:gd name="connsiteX21" fmla="*/ 315554 w 5478894"/>
              <a:gd name="connsiteY21" fmla="*/ 2963441 h 2963441"/>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212611 w 5066181"/>
              <a:gd name="connsiteY0" fmla="*/ 2873847 h 2873847"/>
              <a:gd name="connsiteX1" fmla="*/ 160498 w 5066181"/>
              <a:gd name="connsiteY1" fmla="*/ 2672237 h 2873847"/>
              <a:gd name="connsiteX2" fmla="*/ 418903 w 5066181"/>
              <a:gd name="connsiteY2" fmla="*/ 2371827 h 2873847"/>
              <a:gd name="connsiteX3" fmla="*/ 914255 w 5066181"/>
              <a:gd name="connsiteY3" fmla="*/ 2223421 h 2873847"/>
              <a:gd name="connsiteX4" fmla="*/ 1020177 w 5066181"/>
              <a:gd name="connsiteY4" fmla="*/ 1819583 h 2873847"/>
              <a:gd name="connsiteX5" fmla="*/ 714335 w 5066181"/>
              <a:gd name="connsiteY5" fmla="*/ 1913113 h 2873847"/>
              <a:gd name="connsiteX6" fmla="*/ 1523207 w 5066181"/>
              <a:gd name="connsiteY6" fmla="*/ 1199395 h 2873847"/>
              <a:gd name="connsiteX7" fmla="*/ 1433591 w 5066181"/>
              <a:gd name="connsiteY7" fmla="*/ 1471142 h 2873847"/>
              <a:gd name="connsiteX8" fmla="*/ 2320564 w 5066181"/>
              <a:gd name="connsiteY8" fmla="*/ 958464 h 2873847"/>
              <a:gd name="connsiteX9" fmla="*/ 1934587 w 5066181"/>
              <a:gd name="connsiteY9" fmla="*/ 939686 h 2873847"/>
              <a:gd name="connsiteX10" fmla="*/ 2724695 w 5066181"/>
              <a:gd name="connsiteY10" fmla="*/ 648948 h 2873847"/>
              <a:gd name="connsiteX11" fmla="*/ 2671161 w 5066181"/>
              <a:gd name="connsiteY11" fmla="*/ 815773 h 2873847"/>
              <a:gd name="connsiteX12" fmla="*/ 3352287 w 5066181"/>
              <a:gd name="connsiteY12" fmla="*/ 521781 h 2873847"/>
              <a:gd name="connsiteX13" fmla="*/ 3086216 w 5066181"/>
              <a:gd name="connsiteY13" fmla="*/ 509932 h 2873847"/>
              <a:gd name="connsiteX14" fmla="*/ 3698561 w 5066181"/>
              <a:gd name="connsiteY14" fmla="*/ 232711 h 2873847"/>
              <a:gd name="connsiteX15" fmla="*/ 3623481 w 5066181"/>
              <a:gd name="connsiteY15" fmla="*/ 395239 h 2873847"/>
              <a:gd name="connsiteX16" fmla="*/ 4344358 w 5066181"/>
              <a:gd name="connsiteY16" fmla="*/ 194615 h 2873847"/>
              <a:gd name="connsiteX17" fmla="*/ 4198661 w 5066181"/>
              <a:gd name="connsiteY17" fmla="*/ 170771 h 2873847"/>
              <a:gd name="connsiteX18" fmla="*/ 4788590 w 5066181"/>
              <a:gd name="connsiteY18" fmla="*/ 54418 h 2873847"/>
              <a:gd name="connsiteX19" fmla="*/ 5066181 w 5066181"/>
              <a:gd name="connsiteY19" fmla="*/ 95353 h 2873847"/>
              <a:gd name="connsiteX0" fmla="*/ 212611 w 4813054"/>
              <a:gd name="connsiteY0" fmla="*/ 2873847 h 2873847"/>
              <a:gd name="connsiteX1" fmla="*/ 160498 w 4813054"/>
              <a:gd name="connsiteY1" fmla="*/ 2672237 h 2873847"/>
              <a:gd name="connsiteX2" fmla="*/ 418903 w 4813054"/>
              <a:gd name="connsiteY2" fmla="*/ 2371827 h 2873847"/>
              <a:gd name="connsiteX3" fmla="*/ 914255 w 4813054"/>
              <a:gd name="connsiteY3" fmla="*/ 2223421 h 2873847"/>
              <a:gd name="connsiteX4" fmla="*/ 1020177 w 4813054"/>
              <a:gd name="connsiteY4" fmla="*/ 1819583 h 2873847"/>
              <a:gd name="connsiteX5" fmla="*/ 714335 w 4813054"/>
              <a:gd name="connsiteY5" fmla="*/ 1913113 h 2873847"/>
              <a:gd name="connsiteX6" fmla="*/ 1523207 w 4813054"/>
              <a:gd name="connsiteY6" fmla="*/ 1199395 h 2873847"/>
              <a:gd name="connsiteX7" fmla="*/ 1433591 w 4813054"/>
              <a:gd name="connsiteY7" fmla="*/ 1471142 h 2873847"/>
              <a:gd name="connsiteX8" fmla="*/ 2320564 w 4813054"/>
              <a:gd name="connsiteY8" fmla="*/ 958464 h 2873847"/>
              <a:gd name="connsiteX9" fmla="*/ 1934587 w 4813054"/>
              <a:gd name="connsiteY9" fmla="*/ 939686 h 2873847"/>
              <a:gd name="connsiteX10" fmla="*/ 2724695 w 4813054"/>
              <a:gd name="connsiteY10" fmla="*/ 648948 h 2873847"/>
              <a:gd name="connsiteX11" fmla="*/ 2671161 w 4813054"/>
              <a:gd name="connsiteY11" fmla="*/ 815773 h 2873847"/>
              <a:gd name="connsiteX12" fmla="*/ 3352287 w 4813054"/>
              <a:gd name="connsiteY12" fmla="*/ 521781 h 2873847"/>
              <a:gd name="connsiteX13" fmla="*/ 3086216 w 4813054"/>
              <a:gd name="connsiteY13" fmla="*/ 509932 h 2873847"/>
              <a:gd name="connsiteX14" fmla="*/ 3698561 w 4813054"/>
              <a:gd name="connsiteY14" fmla="*/ 232711 h 2873847"/>
              <a:gd name="connsiteX15" fmla="*/ 3623481 w 4813054"/>
              <a:gd name="connsiteY15" fmla="*/ 395239 h 2873847"/>
              <a:gd name="connsiteX16" fmla="*/ 4344358 w 4813054"/>
              <a:gd name="connsiteY16" fmla="*/ 194615 h 2873847"/>
              <a:gd name="connsiteX17" fmla="*/ 4198661 w 4813054"/>
              <a:gd name="connsiteY17" fmla="*/ 170771 h 2873847"/>
              <a:gd name="connsiteX18" fmla="*/ 4788590 w 4813054"/>
              <a:gd name="connsiteY18" fmla="*/ 54418 h 2873847"/>
              <a:gd name="connsiteX0" fmla="*/ 212611 w 4396031"/>
              <a:gd name="connsiteY0" fmla="*/ 2703076 h 2703076"/>
              <a:gd name="connsiteX1" fmla="*/ 160498 w 4396031"/>
              <a:gd name="connsiteY1" fmla="*/ 2501466 h 2703076"/>
              <a:gd name="connsiteX2" fmla="*/ 418903 w 4396031"/>
              <a:gd name="connsiteY2" fmla="*/ 2201056 h 2703076"/>
              <a:gd name="connsiteX3" fmla="*/ 914255 w 4396031"/>
              <a:gd name="connsiteY3" fmla="*/ 2052650 h 2703076"/>
              <a:gd name="connsiteX4" fmla="*/ 1020177 w 4396031"/>
              <a:gd name="connsiteY4" fmla="*/ 1648812 h 2703076"/>
              <a:gd name="connsiteX5" fmla="*/ 714335 w 4396031"/>
              <a:gd name="connsiteY5" fmla="*/ 1742342 h 2703076"/>
              <a:gd name="connsiteX6" fmla="*/ 1523207 w 4396031"/>
              <a:gd name="connsiteY6" fmla="*/ 1028624 h 2703076"/>
              <a:gd name="connsiteX7" fmla="*/ 1433591 w 4396031"/>
              <a:gd name="connsiteY7" fmla="*/ 1300371 h 2703076"/>
              <a:gd name="connsiteX8" fmla="*/ 2320564 w 4396031"/>
              <a:gd name="connsiteY8" fmla="*/ 787693 h 2703076"/>
              <a:gd name="connsiteX9" fmla="*/ 1934587 w 4396031"/>
              <a:gd name="connsiteY9" fmla="*/ 768915 h 2703076"/>
              <a:gd name="connsiteX10" fmla="*/ 2724695 w 4396031"/>
              <a:gd name="connsiteY10" fmla="*/ 478177 h 2703076"/>
              <a:gd name="connsiteX11" fmla="*/ 2671161 w 4396031"/>
              <a:gd name="connsiteY11" fmla="*/ 645002 h 2703076"/>
              <a:gd name="connsiteX12" fmla="*/ 3352287 w 4396031"/>
              <a:gd name="connsiteY12" fmla="*/ 351010 h 2703076"/>
              <a:gd name="connsiteX13" fmla="*/ 3086216 w 4396031"/>
              <a:gd name="connsiteY13" fmla="*/ 339161 h 2703076"/>
              <a:gd name="connsiteX14" fmla="*/ 3698561 w 4396031"/>
              <a:gd name="connsiteY14" fmla="*/ 61940 h 2703076"/>
              <a:gd name="connsiteX15" fmla="*/ 3623481 w 4396031"/>
              <a:gd name="connsiteY15" fmla="*/ 224468 h 2703076"/>
              <a:gd name="connsiteX16" fmla="*/ 4344358 w 4396031"/>
              <a:gd name="connsiteY16" fmla="*/ 23844 h 2703076"/>
              <a:gd name="connsiteX17" fmla="*/ 4198661 w 4396031"/>
              <a:gd name="connsiteY17" fmla="*/ 0 h 2703076"/>
              <a:gd name="connsiteX0" fmla="*/ 212611 w 4396031"/>
              <a:gd name="connsiteY0" fmla="*/ 2679232 h 2679232"/>
              <a:gd name="connsiteX1" fmla="*/ 160498 w 4396031"/>
              <a:gd name="connsiteY1" fmla="*/ 2477622 h 2679232"/>
              <a:gd name="connsiteX2" fmla="*/ 418903 w 4396031"/>
              <a:gd name="connsiteY2" fmla="*/ 2177212 h 2679232"/>
              <a:gd name="connsiteX3" fmla="*/ 914255 w 4396031"/>
              <a:gd name="connsiteY3" fmla="*/ 2028806 h 2679232"/>
              <a:gd name="connsiteX4" fmla="*/ 1020177 w 4396031"/>
              <a:gd name="connsiteY4" fmla="*/ 1624968 h 2679232"/>
              <a:gd name="connsiteX5" fmla="*/ 714335 w 4396031"/>
              <a:gd name="connsiteY5" fmla="*/ 1718498 h 2679232"/>
              <a:gd name="connsiteX6" fmla="*/ 1523207 w 4396031"/>
              <a:gd name="connsiteY6" fmla="*/ 1004780 h 2679232"/>
              <a:gd name="connsiteX7" fmla="*/ 1433591 w 4396031"/>
              <a:gd name="connsiteY7" fmla="*/ 1276527 h 2679232"/>
              <a:gd name="connsiteX8" fmla="*/ 2320564 w 4396031"/>
              <a:gd name="connsiteY8" fmla="*/ 763849 h 2679232"/>
              <a:gd name="connsiteX9" fmla="*/ 1934587 w 4396031"/>
              <a:gd name="connsiteY9" fmla="*/ 745071 h 2679232"/>
              <a:gd name="connsiteX10" fmla="*/ 2724695 w 4396031"/>
              <a:gd name="connsiteY10" fmla="*/ 454333 h 2679232"/>
              <a:gd name="connsiteX11" fmla="*/ 2671161 w 4396031"/>
              <a:gd name="connsiteY11" fmla="*/ 621158 h 2679232"/>
              <a:gd name="connsiteX12" fmla="*/ 3352287 w 4396031"/>
              <a:gd name="connsiteY12" fmla="*/ 327166 h 2679232"/>
              <a:gd name="connsiteX13" fmla="*/ 3086216 w 4396031"/>
              <a:gd name="connsiteY13" fmla="*/ 315317 h 2679232"/>
              <a:gd name="connsiteX14" fmla="*/ 3698561 w 4396031"/>
              <a:gd name="connsiteY14" fmla="*/ 38096 h 2679232"/>
              <a:gd name="connsiteX15" fmla="*/ 3623481 w 4396031"/>
              <a:gd name="connsiteY15" fmla="*/ 200624 h 2679232"/>
              <a:gd name="connsiteX16" fmla="*/ 4344358 w 4396031"/>
              <a:gd name="connsiteY16" fmla="*/ 0 h 2679232"/>
              <a:gd name="connsiteX0" fmla="*/ 212611 w 3726250"/>
              <a:gd name="connsiteY0" fmla="*/ 2657500 h 2657500"/>
              <a:gd name="connsiteX1" fmla="*/ 160498 w 3726250"/>
              <a:gd name="connsiteY1" fmla="*/ 2455890 h 2657500"/>
              <a:gd name="connsiteX2" fmla="*/ 418903 w 3726250"/>
              <a:gd name="connsiteY2" fmla="*/ 2155480 h 2657500"/>
              <a:gd name="connsiteX3" fmla="*/ 914255 w 3726250"/>
              <a:gd name="connsiteY3" fmla="*/ 2007074 h 2657500"/>
              <a:gd name="connsiteX4" fmla="*/ 1020177 w 3726250"/>
              <a:gd name="connsiteY4" fmla="*/ 1603236 h 2657500"/>
              <a:gd name="connsiteX5" fmla="*/ 714335 w 3726250"/>
              <a:gd name="connsiteY5" fmla="*/ 1696766 h 2657500"/>
              <a:gd name="connsiteX6" fmla="*/ 1523207 w 3726250"/>
              <a:gd name="connsiteY6" fmla="*/ 983048 h 2657500"/>
              <a:gd name="connsiteX7" fmla="*/ 1433591 w 3726250"/>
              <a:gd name="connsiteY7" fmla="*/ 1254795 h 2657500"/>
              <a:gd name="connsiteX8" fmla="*/ 2320564 w 3726250"/>
              <a:gd name="connsiteY8" fmla="*/ 742117 h 2657500"/>
              <a:gd name="connsiteX9" fmla="*/ 1934587 w 3726250"/>
              <a:gd name="connsiteY9" fmla="*/ 723339 h 2657500"/>
              <a:gd name="connsiteX10" fmla="*/ 2724695 w 3726250"/>
              <a:gd name="connsiteY10" fmla="*/ 432601 h 2657500"/>
              <a:gd name="connsiteX11" fmla="*/ 2671161 w 3726250"/>
              <a:gd name="connsiteY11" fmla="*/ 599426 h 2657500"/>
              <a:gd name="connsiteX12" fmla="*/ 3352287 w 3726250"/>
              <a:gd name="connsiteY12" fmla="*/ 305434 h 2657500"/>
              <a:gd name="connsiteX13" fmla="*/ 3086216 w 3726250"/>
              <a:gd name="connsiteY13" fmla="*/ 293585 h 2657500"/>
              <a:gd name="connsiteX14" fmla="*/ 3698561 w 3726250"/>
              <a:gd name="connsiteY14" fmla="*/ 16364 h 2657500"/>
              <a:gd name="connsiteX15" fmla="*/ 3623481 w 3726250"/>
              <a:gd name="connsiteY15" fmla="*/ 178892 h 2657500"/>
              <a:gd name="connsiteX0" fmla="*/ 212611 w 3698561"/>
              <a:gd name="connsiteY0" fmla="*/ 2657500 h 2657500"/>
              <a:gd name="connsiteX1" fmla="*/ 160498 w 3698561"/>
              <a:gd name="connsiteY1" fmla="*/ 2455890 h 2657500"/>
              <a:gd name="connsiteX2" fmla="*/ 418903 w 3698561"/>
              <a:gd name="connsiteY2" fmla="*/ 2155480 h 2657500"/>
              <a:gd name="connsiteX3" fmla="*/ 914255 w 3698561"/>
              <a:gd name="connsiteY3" fmla="*/ 2007074 h 2657500"/>
              <a:gd name="connsiteX4" fmla="*/ 1020177 w 3698561"/>
              <a:gd name="connsiteY4" fmla="*/ 1603236 h 2657500"/>
              <a:gd name="connsiteX5" fmla="*/ 714335 w 3698561"/>
              <a:gd name="connsiteY5" fmla="*/ 1696766 h 2657500"/>
              <a:gd name="connsiteX6" fmla="*/ 1523207 w 3698561"/>
              <a:gd name="connsiteY6" fmla="*/ 983048 h 2657500"/>
              <a:gd name="connsiteX7" fmla="*/ 1433591 w 3698561"/>
              <a:gd name="connsiteY7" fmla="*/ 1254795 h 2657500"/>
              <a:gd name="connsiteX8" fmla="*/ 2320564 w 3698561"/>
              <a:gd name="connsiteY8" fmla="*/ 742117 h 2657500"/>
              <a:gd name="connsiteX9" fmla="*/ 1934587 w 3698561"/>
              <a:gd name="connsiteY9" fmla="*/ 723339 h 2657500"/>
              <a:gd name="connsiteX10" fmla="*/ 2724695 w 3698561"/>
              <a:gd name="connsiteY10" fmla="*/ 432601 h 2657500"/>
              <a:gd name="connsiteX11" fmla="*/ 2671161 w 3698561"/>
              <a:gd name="connsiteY11" fmla="*/ 599426 h 2657500"/>
              <a:gd name="connsiteX12" fmla="*/ 3352287 w 3698561"/>
              <a:gd name="connsiteY12" fmla="*/ 305434 h 2657500"/>
              <a:gd name="connsiteX13" fmla="*/ 3086216 w 3698561"/>
              <a:gd name="connsiteY13" fmla="*/ 293585 h 2657500"/>
              <a:gd name="connsiteX14" fmla="*/ 3698561 w 3698561"/>
              <a:gd name="connsiteY14" fmla="*/ 16364 h 2657500"/>
              <a:gd name="connsiteX0" fmla="*/ 212611 w 3367068"/>
              <a:gd name="connsiteY0" fmla="*/ 2374808 h 2374808"/>
              <a:gd name="connsiteX1" fmla="*/ 160498 w 3367068"/>
              <a:gd name="connsiteY1" fmla="*/ 2173198 h 2374808"/>
              <a:gd name="connsiteX2" fmla="*/ 418903 w 3367068"/>
              <a:gd name="connsiteY2" fmla="*/ 1872788 h 2374808"/>
              <a:gd name="connsiteX3" fmla="*/ 914255 w 3367068"/>
              <a:gd name="connsiteY3" fmla="*/ 1724382 h 2374808"/>
              <a:gd name="connsiteX4" fmla="*/ 1020177 w 3367068"/>
              <a:gd name="connsiteY4" fmla="*/ 1320544 h 2374808"/>
              <a:gd name="connsiteX5" fmla="*/ 714335 w 3367068"/>
              <a:gd name="connsiteY5" fmla="*/ 1414074 h 2374808"/>
              <a:gd name="connsiteX6" fmla="*/ 1523207 w 3367068"/>
              <a:gd name="connsiteY6" fmla="*/ 700356 h 2374808"/>
              <a:gd name="connsiteX7" fmla="*/ 1433591 w 3367068"/>
              <a:gd name="connsiteY7" fmla="*/ 972103 h 2374808"/>
              <a:gd name="connsiteX8" fmla="*/ 2320564 w 3367068"/>
              <a:gd name="connsiteY8" fmla="*/ 459425 h 2374808"/>
              <a:gd name="connsiteX9" fmla="*/ 1934587 w 3367068"/>
              <a:gd name="connsiteY9" fmla="*/ 440647 h 2374808"/>
              <a:gd name="connsiteX10" fmla="*/ 2724695 w 3367068"/>
              <a:gd name="connsiteY10" fmla="*/ 149909 h 2374808"/>
              <a:gd name="connsiteX11" fmla="*/ 2671161 w 3367068"/>
              <a:gd name="connsiteY11" fmla="*/ 316734 h 2374808"/>
              <a:gd name="connsiteX12" fmla="*/ 3352287 w 3367068"/>
              <a:gd name="connsiteY12" fmla="*/ 22742 h 2374808"/>
              <a:gd name="connsiteX13" fmla="*/ 3086216 w 3367068"/>
              <a:gd name="connsiteY13" fmla="*/ 10893 h 2374808"/>
              <a:gd name="connsiteX0" fmla="*/ 212611 w 3367068"/>
              <a:gd name="connsiteY0" fmla="*/ 2352066 h 2352066"/>
              <a:gd name="connsiteX1" fmla="*/ 160498 w 3367068"/>
              <a:gd name="connsiteY1" fmla="*/ 2150456 h 2352066"/>
              <a:gd name="connsiteX2" fmla="*/ 418903 w 3367068"/>
              <a:gd name="connsiteY2" fmla="*/ 1850046 h 2352066"/>
              <a:gd name="connsiteX3" fmla="*/ 914255 w 3367068"/>
              <a:gd name="connsiteY3" fmla="*/ 1701640 h 2352066"/>
              <a:gd name="connsiteX4" fmla="*/ 1020177 w 3367068"/>
              <a:gd name="connsiteY4" fmla="*/ 1297802 h 2352066"/>
              <a:gd name="connsiteX5" fmla="*/ 714335 w 3367068"/>
              <a:gd name="connsiteY5" fmla="*/ 1391332 h 2352066"/>
              <a:gd name="connsiteX6" fmla="*/ 1523207 w 3367068"/>
              <a:gd name="connsiteY6" fmla="*/ 677614 h 2352066"/>
              <a:gd name="connsiteX7" fmla="*/ 1433591 w 3367068"/>
              <a:gd name="connsiteY7" fmla="*/ 949361 h 2352066"/>
              <a:gd name="connsiteX8" fmla="*/ 2320564 w 3367068"/>
              <a:gd name="connsiteY8" fmla="*/ 436683 h 2352066"/>
              <a:gd name="connsiteX9" fmla="*/ 1934587 w 3367068"/>
              <a:gd name="connsiteY9" fmla="*/ 417905 h 2352066"/>
              <a:gd name="connsiteX10" fmla="*/ 2724695 w 3367068"/>
              <a:gd name="connsiteY10" fmla="*/ 127167 h 2352066"/>
              <a:gd name="connsiteX11" fmla="*/ 2671161 w 3367068"/>
              <a:gd name="connsiteY11" fmla="*/ 293992 h 2352066"/>
              <a:gd name="connsiteX12" fmla="*/ 3352287 w 3367068"/>
              <a:gd name="connsiteY12" fmla="*/ 0 h 2352066"/>
              <a:gd name="connsiteX0" fmla="*/ 212611 w 2738291"/>
              <a:gd name="connsiteY0" fmla="*/ 2244056 h 2244056"/>
              <a:gd name="connsiteX1" fmla="*/ 160498 w 2738291"/>
              <a:gd name="connsiteY1" fmla="*/ 2042446 h 2244056"/>
              <a:gd name="connsiteX2" fmla="*/ 418903 w 2738291"/>
              <a:gd name="connsiteY2" fmla="*/ 1742036 h 2244056"/>
              <a:gd name="connsiteX3" fmla="*/ 914255 w 2738291"/>
              <a:gd name="connsiteY3" fmla="*/ 1593630 h 2244056"/>
              <a:gd name="connsiteX4" fmla="*/ 1020177 w 2738291"/>
              <a:gd name="connsiteY4" fmla="*/ 1189792 h 2244056"/>
              <a:gd name="connsiteX5" fmla="*/ 714335 w 2738291"/>
              <a:gd name="connsiteY5" fmla="*/ 1283322 h 2244056"/>
              <a:gd name="connsiteX6" fmla="*/ 1523207 w 2738291"/>
              <a:gd name="connsiteY6" fmla="*/ 569604 h 2244056"/>
              <a:gd name="connsiteX7" fmla="*/ 1433591 w 2738291"/>
              <a:gd name="connsiteY7" fmla="*/ 841351 h 2244056"/>
              <a:gd name="connsiteX8" fmla="*/ 2320564 w 2738291"/>
              <a:gd name="connsiteY8" fmla="*/ 328673 h 2244056"/>
              <a:gd name="connsiteX9" fmla="*/ 1934587 w 2738291"/>
              <a:gd name="connsiteY9" fmla="*/ 309895 h 2244056"/>
              <a:gd name="connsiteX10" fmla="*/ 2724695 w 2738291"/>
              <a:gd name="connsiteY10" fmla="*/ 19157 h 2244056"/>
              <a:gd name="connsiteX11" fmla="*/ 2671161 w 2738291"/>
              <a:gd name="connsiteY11" fmla="*/ 185982 h 2244056"/>
              <a:gd name="connsiteX0" fmla="*/ 212611 w 2724695"/>
              <a:gd name="connsiteY0" fmla="*/ 2244056 h 2244056"/>
              <a:gd name="connsiteX1" fmla="*/ 160498 w 2724695"/>
              <a:gd name="connsiteY1" fmla="*/ 2042446 h 2244056"/>
              <a:gd name="connsiteX2" fmla="*/ 418903 w 2724695"/>
              <a:gd name="connsiteY2" fmla="*/ 1742036 h 2244056"/>
              <a:gd name="connsiteX3" fmla="*/ 914255 w 2724695"/>
              <a:gd name="connsiteY3" fmla="*/ 1593630 h 2244056"/>
              <a:gd name="connsiteX4" fmla="*/ 1020177 w 2724695"/>
              <a:gd name="connsiteY4" fmla="*/ 1189792 h 2244056"/>
              <a:gd name="connsiteX5" fmla="*/ 714335 w 2724695"/>
              <a:gd name="connsiteY5" fmla="*/ 1283322 h 2244056"/>
              <a:gd name="connsiteX6" fmla="*/ 1523207 w 2724695"/>
              <a:gd name="connsiteY6" fmla="*/ 569604 h 2244056"/>
              <a:gd name="connsiteX7" fmla="*/ 1433591 w 2724695"/>
              <a:gd name="connsiteY7" fmla="*/ 841351 h 2244056"/>
              <a:gd name="connsiteX8" fmla="*/ 2320564 w 2724695"/>
              <a:gd name="connsiteY8" fmla="*/ 328673 h 2244056"/>
              <a:gd name="connsiteX9" fmla="*/ 1934587 w 2724695"/>
              <a:gd name="connsiteY9" fmla="*/ 309895 h 2244056"/>
              <a:gd name="connsiteX10" fmla="*/ 2724695 w 2724695"/>
              <a:gd name="connsiteY10" fmla="*/ 19157 h 2244056"/>
              <a:gd name="connsiteX0" fmla="*/ 212611 w 2724695"/>
              <a:gd name="connsiteY0" fmla="*/ 2244056 h 2244056"/>
              <a:gd name="connsiteX1" fmla="*/ 160498 w 2724695"/>
              <a:gd name="connsiteY1" fmla="*/ 2042446 h 2244056"/>
              <a:gd name="connsiteX2" fmla="*/ 418903 w 2724695"/>
              <a:gd name="connsiteY2" fmla="*/ 1742036 h 2244056"/>
              <a:gd name="connsiteX3" fmla="*/ 914255 w 2724695"/>
              <a:gd name="connsiteY3" fmla="*/ 1593630 h 2244056"/>
              <a:gd name="connsiteX4" fmla="*/ 1020177 w 2724695"/>
              <a:gd name="connsiteY4" fmla="*/ 1189792 h 2244056"/>
              <a:gd name="connsiteX5" fmla="*/ 714335 w 2724695"/>
              <a:gd name="connsiteY5" fmla="*/ 1283322 h 2244056"/>
              <a:gd name="connsiteX6" fmla="*/ 1523207 w 2724695"/>
              <a:gd name="connsiteY6" fmla="*/ 569604 h 2244056"/>
              <a:gd name="connsiteX7" fmla="*/ 1433591 w 2724695"/>
              <a:gd name="connsiteY7" fmla="*/ 841351 h 2244056"/>
              <a:gd name="connsiteX8" fmla="*/ 1931827 w 2724695"/>
              <a:gd name="connsiteY8" fmla="*/ 754714 h 2244056"/>
              <a:gd name="connsiteX9" fmla="*/ 1934587 w 2724695"/>
              <a:gd name="connsiteY9" fmla="*/ 309895 h 2244056"/>
              <a:gd name="connsiteX10" fmla="*/ 2724695 w 2724695"/>
              <a:gd name="connsiteY10" fmla="*/ 19157 h 2244056"/>
              <a:gd name="connsiteX0" fmla="*/ 212611 w 2724695"/>
              <a:gd name="connsiteY0" fmla="*/ 2244056 h 2244056"/>
              <a:gd name="connsiteX1" fmla="*/ 160498 w 2724695"/>
              <a:gd name="connsiteY1" fmla="*/ 2042446 h 2244056"/>
              <a:gd name="connsiteX2" fmla="*/ 418903 w 2724695"/>
              <a:gd name="connsiteY2" fmla="*/ 1742036 h 2244056"/>
              <a:gd name="connsiteX3" fmla="*/ 914255 w 2724695"/>
              <a:gd name="connsiteY3" fmla="*/ 1593630 h 2244056"/>
              <a:gd name="connsiteX4" fmla="*/ 1020177 w 2724695"/>
              <a:gd name="connsiteY4" fmla="*/ 1189792 h 2244056"/>
              <a:gd name="connsiteX5" fmla="*/ 714335 w 2724695"/>
              <a:gd name="connsiteY5" fmla="*/ 1283322 h 2244056"/>
              <a:gd name="connsiteX6" fmla="*/ 1523207 w 2724695"/>
              <a:gd name="connsiteY6" fmla="*/ 569604 h 2244056"/>
              <a:gd name="connsiteX7" fmla="*/ 1433591 w 2724695"/>
              <a:gd name="connsiteY7" fmla="*/ 841351 h 2244056"/>
              <a:gd name="connsiteX8" fmla="*/ 1931827 w 2724695"/>
              <a:gd name="connsiteY8" fmla="*/ 754714 h 2244056"/>
              <a:gd name="connsiteX9" fmla="*/ 1934587 w 2724695"/>
              <a:gd name="connsiteY9" fmla="*/ 309895 h 2244056"/>
              <a:gd name="connsiteX10" fmla="*/ 2724695 w 2724695"/>
              <a:gd name="connsiteY10" fmla="*/ 19157 h 2244056"/>
              <a:gd name="connsiteX0" fmla="*/ 212611 w 2724695"/>
              <a:gd name="connsiteY0" fmla="*/ 2244056 h 2244056"/>
              <a:gd name="connsiteX1" fmla="*/ 160498 w 2724695"/>
              <a:gd name="connsiteY1" fmla="*/ 2042446 h 2244056"/>
              <a:gd name="connsiteX2" fmla="*/ 418903 w 2724695"/>
              <a:gd name="connsiteY2" fmla="*/ 1742036 h 2244056"/>
              <a:gd name="connsiteX3" fmla="*/ 914255 w 2724695"/>
              <a:gd name="connsiteY3" fmla="*/ 1593630 h 2244056"/>
              <a:gd name="connsiteX4" fmla="*/ 1020177 w 2724695"/>
              <a:gd name="connsiteY4" fmla="*/ 1189792 h 2244056"/>
              <a:gd name="connsiteX5" fmla="*/ 714335 w 2724695"/>
              <a:gd name="connsiteY5" fmla="*/ 1283322 h 2244056"/>
              <a:gd name="connsiteX6" fmla="*/ 1523207 w 2724695"/>
              <a:gd name="connsiteY6" fmla="*/ 569604 h 2244056"/>
              <a:gd name="connsiteX7" fmla="*/ 1433591 w 2724695"/>
              <a:gd name="connsiteY7" fmla="*/ 841351 h 2244056"/>
              <a:gd name="connsiteX8" fmla="*/ 1931827 w 2724695"/>
              <a:gd name="connsiteY8" fmla="*/ 754714 h 2244056"/>
              <a:gd name="connsiteX9" fmla="*/ 1934587 w 2724695"/>
              <a:gd name="connsiteY9" fmla="*/ 309895 h 2244056"/>
              <a:gd name="connsiteX10" fmla="*/ 2724695 w 2724695"/>
              <a:gd name="connsiteY10" fmla="*/ 19157 h 2244056"/>
              <a:gd name="connsiteX0" fmla="*/ 212611 w 2724695"/>
              <a:gd name="connsiteY0" fmla="*/ 2243891 h 2243891"/>
              <a:gd name="connsiteX1" fmla="*/ 160498 w 2724695"/>
              <a:gd name="connsiteY1" fmla="*/ 2042281 h 2243891"/>
              <a:gd name="connsiteX2" fmla="*/ 418903 w 2724695"/>
              <a:gd name="connsiteY2" fmla="*/ 1741871 h 2243891"/>
              <a:gd name="connsiteX3" fmla="*/ 914255 w 2724695"/>
              <a:gd name="connsiteY3" fmla="*/ 1593465 h 2243891"/>
              <a:gd name="connsiteX4" fmla="*/ 1020177 w 2724695"/>
              <a:gd name="connsiteY4" fmla="*/ 1189627 h 2243891"/>
              <a:gd name="connsiteX5" fmla="*/ 714335 w 2724695"/>
              <a:gd name="connsiteY5" fmla="*/ 1283157 h 2243891"/>
              <a:gd name="connsiteX6" fmla="*/ 1523207 w 2724695"/>
              <a:gd name="connsiteY6" fmla="*/ 569439 h 2243891"/>
              <a:gd name="connsiteX7" fmla="*/ 1433591 w 2724695"/>
              <a:gd name="connsiteY7" fmla="*/ 841186 h 2243891"/>
              <a:gd name="connsiteX8" fmla="*/ 1931827 w 2724695"/>
              <a:gd name="connsiteY8" fmla="*/ 754549 h 2243891"/>
              <a:gd name="connsiteX9" fmla="*/ 1409072 w 2724695"/>
              <a:gd name="connsiteY9" fmla="*/ 312862 h 2243891"/>
              <a:gd name="connsiteX10" fmla="*/ 2724695 w 2724695"/>
              <a:gd name="connsiteY10" fmla="*/ 18992 h 2243891"/>
              <a:gd name="connsiteX0" fmla="*/ 383043 w 2102259"/>
              <a:gd name="connsiteY0" fmla="*/ 2095978 h 2095978"/>
              <a:gd name="connsiteX1" fmla="*/ 330930 w 2102259"/>
              <a:gd name="connsiteY1" fmla="*/ 1894368 h 2095978"/>
              <a:gd name="connsiteX2" fmla="*/ 589335 w 2102259"/>
              <a:gd name="connsiteY2" fmla="*/ 1593958 h 2095978"/>
              <a:gd name="connsiteX3" fmla="*/ 1084687 w 2102259"/>
              <a:gd name="connsiteY3" fmla="*/ 1445552 h 2095978"/>
              <a:gd name="connsiteX4" fmla="*/ 1190609 w 2102259"/>
              <a:gd name="connsiteY4" fmla="*/ 1041714 h 2095978"/>
              <a:gd name="connsiteX5" fmla="*/ 884767 w 2102259"/>
              <a:gd name="connsiteY5" fmla="*/ 1135244 h 2095978"/>
              <a:gd name="connsiteX6" fmla="*/ 1693639 w 2102259"/>
              <a:gd name="connsiteY6" fmla="*/ 421526 h 2095978"/>
              <a:gd name="connsiteX7" fmla="*/ 1604023 w 2102259"/>
              <a:gd name="connsiteY7" fmla="*/ 693273 h 2095978"/>
              <a:gd name="connsiteX8" fmla="*/ 2102259 w 2102259"/>
              <a:gd name="connsiteY8" fmla="*/ 606636 h 2095978"/>
              <a:gd name="connsiteX9" fmla="*/ 1579504 w 2102259"/>
              <a:gd name="connsiteY9" fmla="*/ 164949 h 2095978"/>
              <a:gd name="connsiteX10" fmla="*/ 1199 w 2102259"/>
              <a:gd name="connsiteY10" fmla="*/ 33977 h 2095978"/>
              <a:gd name="connsiteX0" fmla="*/ 381844 w 2101060"/>
              <a:gd name="connsiteY0" fmla="*/ 2062001 h 2062001"/>
              <a:gd name="connsiteX1" fmla="*/ 329731 w 2101060"/>
              <a:gd name="connsiteY1" fmla="*/ 1860391 h 2062001"/>
              <a:gd name="connsiteX2" fmla="*/ 588136 w 2101060"/>
              <a:gd name="connsiteY2" fmla="*/ 1559981 h 2062001"/>
              <a:gd name="connsiteX3" fmla="*/ 1083488 w 2101060"/>
              <a:gd name="connsiteY3" fmla="*/ 1411575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381844 w 2101060"/>
              <a:gd name="connsiteY0" fmla="*/ 2062001 h 2062001"/>
              <a:gd name="connsiteX1" fmla="*/ 329731 w 2101060"/>
              <a:gd name="connsiteY1" fmla="*/ 1860391 h 2062001"/>
              <a:gd name="connsiteX2" fmla="*/ 588136 w 2101060"/>
              <a:gd name="connsiteY2" fmla="*/ 1559981 h 2062001"/>
              <a:gd name="connsiteX3" fmla="*/ 1083488 w 2101060"/>
              <a:gd name="connsiteY3" fmla="*/ 1411575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381844 w 2101060"/>
              <a:gd name="connsiteY0" fmla="*/ 2062001 h 2062001"/>
              <a:gd name="connsiteX1" fmla="*/ 329731 w 2101060"/>
              <a:gd name="connsiteY1" fmla="*/ 1860391 h 2062001"/>
              <a:gd name="connsiteX2" fmla="*/ 588136 w 2101060"/>
              <a:gd name="connsiteY2" fmla="*/ 1559981 h 2062001"/>
              <a:gd name="connsiteX3" fmla="*/ 1058293 w 2101060"/>
              <a:gd name="connsiteY3" fmla="*/ 1439769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381844 w 2101060"/>
              <a:gd name="connsiteY0" fmla="*/ 2062001 h 2062001"/>
              <a:gd name="connsiteX1" fmla="*/ 329731 w 2101060"/>
              <a:gd name="connsiteY1" fmla="*/ 1860391 h 2062001"/>
              <a:gd name="connsiteX2" fmla="*/ 588136 w 2101060"/>
              <a:gd name="connsiteY2" fmla="*/ 1559981 h 2062001"/>
              <a:gd name="connsiteX3" fmla="*/ 1058293 w 2101060"/>
              <a:gd name="connsiteY3" fmla="*/ 1439769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449125 w 2168341"/>
              <a:gd name="connsiteY0" fmla="*/ 2062001 h 2062001"/>
              <a:gd name="connsiteX1" fmla="*/ 397012 w 2168341"/>
              <a:gd name="connsiteY1" fmla="*/ 1860391 h 2062001"/>
              <a:gd name="connsiteX2" fmla="*/ 14722 w 2168341"/>
              <a:gd name="connsiteY2" fmla="*/ 920920 h 2062001"/>
              <a:gd name="connsiteX3" fmla="*/ 1125574 w 2168341"/>
              <a:gd name="connsiteY3" fmla="*/ 1439769 h 2062001"/>
              <a:gd name="connsiteX4" fmla="*/ 1256691 w 2168341"/>
              <a:gd name="connsiteY4" fmla="*/ 1007737 h 2062001"/>
              <a:gd name="connsiteX5" fmla="*/ 950849 w 2168341"/>
              <a:gd name="connsiteY5" fmla="*/ 1101267 h 2062001"/>
              <a:gd name="connsiteX6" fmla="*/ 1759721 w 2168341"/>
              <a:gd name="connsiteY6" fmla="*/ 387549 h 2062001"/>
              <a:gd name="connsiteX7" fmla="*/ 1670105 w 2168341"/>
              <a:gd name="connsiteY7" fmla="*/ 659296 h 2062001"/>
              <a:gd name="connsiteX8" fmla="*/ 2168341 w 2168341"/>
              <a:gd name="connsiteY8" fmla="*/ 572659 h 2062001"/>
              <a:gd name="connsiteX9" fmla="*/ 1645586 w 2168341"/>
              <a:gd name="connsiteY9" fmla="*/ 130972 h 2062001"/>
              <a:gd name="connsiteX10" fmla="*/ 67281 w 2168341"/>
              <a:gd name="connsiteY10" fmla="*/ 0 h 2062001"/>
              <a:gd name="connsiteX0" fmla="*/ 449125 w 2168341"/>
              <a:gd name="connsiteY0" fmla="*/ 2062001 h 2062001"/>
              <a:gd name="connsiteX1" fmla="*/ 397012 w 2168341"/>
              <a:gd name="connsiteY1" fmla="*/ 1860391 h 2062001"/>
              <a:gd name="connsiteX2" fmla="*/ 14722 w 2168341"/>
              <a:gd name="connsiteY2" fmla="*/ 920920 h 2062001"/>
              <a:gd name="connsiteX3" fmla="*/ 1125574 w 2168341"/>
              <a:gd name="connsiteY3" fmla="*/ 1439769 h 2062001"/>
              <a:gd name="connsiteX4" fmla="*/ 1256691 w 2168341"/>
              <a:gd name="connsiteY4" fmla="*/ 1007737 h 2062001"/>
              <a:gd name="connsiteX5" fmla="*/ 950849 w 2168341"/>
              <a:gd name="connsiteY5" fmla="*/ 1101267 h 2062001"/>
              <a:gd name="connsiteX6" fmla="*/ 1759721 w 2168341"/>
              <a:gd name="connsiteY6" fmla="*/ 387549 h 2062001"/>
              <a:gd name="connsiteX7" fmla="*/ 1670105 w 2168341"/>
              <a:gd name="connsiteY7" fmla="*/ 659296 h 2062001"/>
              <a:gd name="connsiteX8" fmla="*/ 2168341 w 2168341"/>
              <a:gd name="connsiteY8" fmla="*/ 572659 h 2062001"/>
              <a:gd name="connsiteX9" fmla="*/ 1645586 w 2168341"/>
              <a:gd name="connsiteY9" fmla="*/ 130972 h 2062001"/>
              <a:gd name="connsiteX10" fmla="*/ 67281 w 2168341"/>
              <a:gd name="connsiteY10" fmla="*/ 0 h 2062001"/>
              <a:gd name="connsiteX0" fmla="*/ 381844 w 2101060"/>
              <a:gd name="connsiteY0" fmla="*/ 2062001 h 2062001"/>
              <a:gd name="connsiteX1" fmla="*/ 329731 w 2101060"/>
              <a:gd name="connsiteY1" fmla="*/ 1860391 h 2062001"/>
              <a:gd name="connsiteX2" fmla="*/ 134610 w 2101060"/>
              <a:gd name="connsiteY2" fmla="*/ 770554 h 2062001"/>
              <a:gd name="connsiteX3" fmla="*/ 1058293 w 2101060"/>
              <a:gd name="connsiteY3" fmla="*/ 1439769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381844 w 2101060"/>
              <a:gd name="connsiteY0" fmla="*/ 2062001 h 2062001"/>
              <a:gd name="connsiteX1" fmla="*/ 329731 w 2101060"/>
              <a:gd name="connsiteY1" fmla="*/ 1860391 h 2062001"/>
              <a:gd name="connsiteX2" fmla="*/ 134610 w 2101060"/>
              <a:gd name="connsiteY2" fmla="*/ 770554 h 2062001"/>
              <a:gd name="connsiteX3" fmla="*/ 1058293 w 2101060"/>
              <a:gd name="connsiteY3" fmla="*/ 1439769 h 2062001"/>
              <a:gd name="connsiteX4" fmla="*/ 1189410 w 2101060"/>
              <a:gd name="connsiteY4" fmla="*/ 1007737 h 2062001"/>
              <a:gd name="connsiteX5" fmla="*/ 883568 w 2101060"/>
              <a:gd name="connsiteY5" fmla="*/ 1101267 h 2062001"/>
              <a:gd name="connsiteX6" fmla="*/ 1692440 w 2101060"/>
              <a:gd name="connsiteY6" fmla="*/ 387549 h 2062001"/>
              <a:gd name="connsiteX7" fmla="*/ 1602824 w 2101060"/>
              <a:gd name="connsiteY7" fmla="*/ 659296 h 2062001"/>
              <a:gd name="connsiteX8" fmla="*/ 2101060 w 2101060"/>
              <a:gd name="connsiteY8" fmla="*/ 572659 h 2062001"/>
              <a:gd name="connsiteX9" fmla="*/ 1578305 w 2101060"/>
              <a:gd name="connsiteY9" fmla="*/ 130972 h 2062001"/>
              <a:gd name="connsiteX10" fmla="*/ 0 w 2101060"/>
              <a:gd name="connsiteY10" fmla="*/ 0 h 2062001"/>
              <a:gd name="connsiteX0" fmla="*/ 2448585 w 4167801"/>
              <a:gd name="connsiteY0" fmla="*/ 2062001 h 2062001"/>
              <a:gd name="connsiteX1" fmla="*/ 56855 w 4167801"/>
              <a:gd name="connsiteY1" fmla="*/ 798423 h 2062001"/>
              <a:gd name="connsiteX2" fmla="*/ 2201351 w 4167801"/>
              <a:gd name="connsiteY2" fmla="*/ 770554 h 2062001"/>
              <a:gd name="connsiteX3" fmla="*/ 3125034 w 4167801"/>
              <a:gd name="connsiteY3" fmla="*/ 1439769 h 2062001"/>
              <a:gd name="connsiteX4" fmla="*/ 3256151 w 4167801"/>
              <a:gd name="connsiteY4" fmla="*/ 1007737 h 2062001"/>
              <a:gd name="connsiteX5" fmla="*/ 2950309 w 4167801"/>
              <a:gd name="connsiteY5" fmla="*/ 1101267 h 2062001"/>
              <a:gd name="connsiteX6" fmla="*/ 3759181 w 4167801"/>
              <a:gd name="connsiteY6" fmla="*/ 387549 h 2062001"/>
              <a:gd name="connsiteX7" fmla="*/ 3669565 w 4167801"/>
              <a:gd name="connsiteY7" fmla="*/ 659296 h 2062001"/>
              <a:gd name="connsiteX8" fmla="*/ 4167801 w 4167801"/>
              <a:gd name="connsiteY8" fmla="*/ 572659 h 2062001"/>
              <a:gd name="connsiteX9" fmla="*/ 3645046 w 4167801"/>
              <a:gd name="connsiteY9" fmla="*/ 130972 h 2062001"/>
              <a:gd name="connsiteX10" fmla="*/ 2066741 w 4167801"/>
              <a:gd name="connsiteY10" fmla="*/ 0 h 2062001"/>
              <a:gd name="connsiteX0" fmla="*/ 2463724 w 4182940"/>
              <a:gd name="connsiteY0" fmla="*/ 2062001 h 2062001"/>
              <a:gd name="connsiteX1" fmla="*/ 71994 w 4182940"/>
              <a:gd name="connsiteY1" fmla="*/ 798423 h 2062001"/>
              <a:gd name="connsiteX2" fmla="*/ 2216490 w 4182940"/>
              <a:gd name="connsiteY2" fmla="*/ 770554 h 2062001"/>
              <a:gd name="connsiteX3" fmla="*/ 3140173 w 4182940"/>
              <a:gd name="connsiteY3" fmla="*/ 1439769 h 2062001"/>
              <a:gd name="connsiteX4" fmla="*/ 3271290 w 4182940"/>
              <a:gd name="connsiteY4" fmla="*/ 1007737 h 2062001"/>
              <a:gd name="connsiteX5" fmla="*/ 2965448 w 4182940"/>
              <a:gd name="connsiteY5" fmla="*/ 1101267 h 2062001"/>
              <a:gd name="connsiteX6" fmla="*/ 3774320 w 4182940"/>
              <a:gd name="connsiteY6" fmla="*/ 387549 h 2062001"/>
              <a:gd name="connsiteX7" fmla="*/ 3684704 w 4182940"/>
              <a:gd name="connsiteY7" fmla="*/ 659296 h 2062001"/>
              <a:gd name="connsiteX8" fmla="*/ 4182940 w 4182940"/>
              <a:gd name="connsiteY8" fmla="*/ 572659 h 2062001"/>
              <a:gd name="connsiteX9" fmla="*/ 3660185 w 4182940"/>
              <a:gd name="connsiteY9" fmla="*/ 130972 h 2062001"/>
              <a:gd name="connsiteX10" fmla="*/ 2081880 w 4182940"/>
              <a:gd name="connsiteY10" fmla="*/ 0 h 2062001"/>
              <a:gd name="connsiteX0" fmla="*/ 71994 w 4182940"/>
              <a:gd name="connsiteY0" fmla="*/ 798423 h 1439769"/>
              <a:gd name="connsiteX1" fmla="*/ 2216490 w 4182940"/>
              <a:gd name="connsiteY1" fmla="*/ 770554 h 1439769"/>
              <a:gd name="connsiteX2" fmla="*/ 3140173 w 4182940"/>
              <a:gd name="connsiteY2" fmla="*/ 1439769 h 1439769"/>
              <a:gd name="connsiteX3" fmla="*/ 3271290 w 4182940"/>
              <a:gd name="connsiteY3" fmla="*/ 1007737 h 1439769"/>
              <a:gd name="connsiteX4" fmla="*/ 2965448 w 4182940"/>
              <a:gd name="connsiteY4" fmla="*/ 1101267 h 1439769"/>
              <a:gd name="connsiteX5" fmla="*/ 3774320 w 4182940"/>
              <a:gd name="connsiteY5" fmla="*/ 387549 h 1439769"/>
              <a:gd name="connsiteX6" fmla="*/ 3684704 w 4182940"/>
              <a:gd name="connsiteY6" fmla="*/ 659296 h 1439769"/>
              <a:gd name="connsiteX7" fmla="*/ 4182940 w 4182940"/>
              <a:gd name="connsiteY7" fmla="*/ 572659 h 1439769"/>
              <a:gd name="connsiteX8" fmla="*/ 3660185 w 4182940"/>
              <a:gd name="connsiteY8" fmla="*/ 130972 h 1439769"/>
              <a:gd name="connsiteX9" fmla="*/ 2081880 w 4182940"/>
              <a:gd name="connsiteY9" fmla="*/ 0 h 1439769"/>
              <a:gd name="connsiteX0" fmla="*/ 0 w 4110946"/>
              <a:gd name="connsiteY0" fmla="*/ 798423 h 1439769"/>
              <a:gd name="connsiteX1" fmla="*/ 2144496 w 4110946"/>
              <a:gd name="connsiteY1" fmla="*/ 770554 h 1439769"/>
              <a:gd name="connsiteX2" fmla="*/ 3068179 w 4110946"/>
              <a:gd name="connsiteY2" fmla="*/ 1439769 h 1439769"/>
              <a:gd name="connsiteX3" fmla="*/ 3199296 w 4110946"/>
              <a:gd name="connsiteY3" fmla="*/ 1007737 h 1439769"/>
              <a:gd name="connsiteX4" fmla="*/ 2893454 w 4110946"/>
              <a:gd name="connsiteY4" fmla="*/ 1101267 h 1439769"/>
              <a:gd name="connsiteX5" fmla="*/ 3702326 w 4110946"/>
              <a:gd name="connsiteY5" fmla="*/ 387549 h 1439769"/>
              <a:gd name="connsiteX6" fmla="*/ 3612710 w 4110946"/>
              <a:gd name="connsiteY6" fmla="*/ 659296 h 1439769"/>
              <a:gd name="connsiteX7" fmla="*/ 4110946 w 4110946"/>
              <a:gd name="connsiteY7" fmla="*/ 572659 h 1439769"/>
              <a:gd name="connsiteX8" fmla="*/ 3588191 w 4110946"/>
              <a:gd name="connsiteY8" fmla="*/ 130972 h 1439769"/>
              <a:gd name="connsiteX9" fmla="*/ 2009886 w 4110946"/>
              <a:gd name="connsiteY9" fmla="*/ 0 h 1439769"/>
              <a:gd name="connsiteX0" fmla="*/ 0 w 4150539"/>
              <a:gd name="connsiteY0" fmla="*/ 857943 h 1439769"/>
              <a:gd name="connsiteX1" fmla="*/ 2184089 w 4150539"/>
              <a:gd name="connsiteY1" fmla="*/ 770554 h 1439769"/>
              <a:gd name="connsiteX2" fmla="*/ 3107772 w 4150539"/>
              <a:gd name="connsiteY2" fmla="*/ 1439769 h 1439769"/>
              <a:gd name="connsiteX3" fmla="*/ 3238889 w 4150539"/>
              <a:gd name="connsiteY3" fmla="*/ 1007737 h 1439769"/>
              <a:gd name="connsiteX4" fmla="*/ 2933047 w 4150539"/>
              <a:gd name="connsiteY4" fmla="*/ 1101267 h 1439769"/>
              <a:gd name="connsiteX5" fmla="*/ 3741919 w 4150539"/>
              <a:gd name="connsiteY5" fmla="*/ 387549 h 1439769"/>
              <a:gd name="connsiteX6" fmla="*/ 3652303 w 4150539"/>
              <a:gd name="connsiteY6" fmla="*/ 659296 h 1439769"/>
              <a:gd name="connsiteX7" fmla="*/ 4150539 w 4150539"/>
              <a:gd name="connsiteY7" fmla="*/ 572659 h 1439769"/>
              <a:gd name="connsiteX8" fmla="*/ 3627784 w 4150539"/>
              <a:gd name="connsiteY8" fmla="*/ 130972 h 1439769"/>
              <a:gd name="connsiteX9" fmla="*/ 2049479 w 4150539"/>
              <a:gd name="connsiteY9" fmla="*/ 0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19908 w 4118144"/>
              <a:gd name="connsiteY6" fmla="*/ 65929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709524 w 4118144"/>
              <a:gd name="connsiteY5" fmla="*/ 38754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82089 w 4118144"/>
              <a:gd name="connsiteY6" fmla="*/ 707399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92452 w 4118144"/>
              <a:gd name="connsiteY6" fmla="*/ 71040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92452 w 4118144"/>
              <a:gd name="connsiteY6" fmla="*/ 710406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06494 w 4118144"/>
              <a:gd name="connsiteY3" fmla="*/ 1007737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20313 w 4118144"/>
              <a:gd name="connsiteY3" fmla="*/ 1016756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20313 w 4118144"/>
              <a:gd name="connsiteY3" fmla="*/ 1016756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20313 w 4118144"/>
              <a:gd name="connsiteY3" fmla="*/ 1016756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39769"/>
              <a:gd name="connsiteX1" fmla="*/ 2151694 w 4118144"/>
              <a:gd name="connsiteY1" fmla="*/ 770554 h 1439769"/>
              <a:gd name="connsiteX2" fmla="*/ 3075377 w 4118144"/>
              <a:gd name="connsiteY2" fmla="*/ 1439769 h 1439769"/>
              <a:gd name="connsiteX3" fmla="*/ 3220313 w 4118144"/>
              <a:gd name="connsiteY3" fmla="*/ 1016756 h 1439769"/>
              <a:gd name="connsiteX4" fmla="*/ 2900652 w 4118144"/>
              <a:gd name="connsiteY4" fmla="*/ 1101267 h 1439769"/>
              <a:gd name="connsiteX5" fmla="*/ 3816613 w 4118144"/>
              <a:gd name="connsiteY5" fmla="*/ 489769 h 1439769"/>
              <a:gd name="connsiteX6" fmla="*/ 3699361 w 4118144"/>
              <a:gd name="connsiteY6" fmla="*/ 698380 h 1439769"/>
              <a:gd name="connsiteX7" fmla="*/ 4118144 w 4118144"/>
              <a:gd name="connsiteY7" fmla="*/ 572659 h 1439769"/>
              <a:gd name="connsiteX8" fmla="*/ 3595389 w 4118144"/>
              <a:gd name="connsiteY8" fmla="*/ 130972 h 1439769"/>
              <a:gd name="connsiteX9" fmla="*/ 2017084 w 4118144"/>
              <a:gd name="connsiteY9" fmla="*/ 0 h 1439769"/>
              <a:gd name="connsiteX10" fmla="*/ 0 w 4118144"/>
              <a:gd name="connsiteY10" fmla="*/ 810953 h 1439769"/>
              <a:gd name="connsiteX0" fmla="*/ 0 w 4118144"/>
              <a:gd name="connsiteY0" fmla="*/ 810953 h 1457808"/>
              <a:gd name="connsiteX1" fmla="*/ 2151694 w 4118144"/>
              <a:gd name="connsiteY1" fmla="*/ 770554 h 1457808"/>
              <a:gd name="connsiteX2" fmla="*/ 3089195 w 4118144"/>
              <a:gd name="connsiteY2" fmla="*/ 1457808 h 1457808"/>
              <a:gd name="connsiteX3" fmla="*/ 3220313 w 4118144"/>
              <a:gd name="connsiteY3" fmla="*/ 1016756 h 1457808"/>
              <a:gd name="connsiteX4" fmla="*/ 2900652 w 4118144"/>
              <a:gd name="connsiteY4" fmla="*/ 1101267 h 1457808"/>
              <a:gd name="connsiteX5" fmla="*/ 3816613 w 4118144"/>
              <a:gd name="connsiteY5" fmla="*/ 489769 h 1457808"/>
              <a:gd name="connsiteX6" fmla="*/ 3699361 w 4118144"/>
              <a:gd name="connsiteY6" fmla="*/ 698380 h 1457808"/>
              <a:gd name="connsiteX7" fmla="*/ 4118144 w 4118144"/>
              <a:gd name="connsiteY7" fmla="*/ 572659 h 1457808"/>
              <a:gd name="connsiteX8" fmla="*/ 3595389 w 4118144"/>
              <a:gd name="connsiteY8" fmla="*/ 130972 h 1457808"/>
              <a:gd name="connsiteX9" fmla="*/ 2017084 w 4118144"/>
              <a:gd name="connsiteY9" fmla="*/ 0 h 1457808"/>
              <a:gd name="connsiteX10" fmla="*/ 0 w 4118144"/>
              <a:gd name="connsiteY10" fmla="*/ 810953 h 1457808"/>
              <a:gd name="connsiteX0" fmla="*/ 0 w 4118144"/>
              <a:gd name="connsiteY0" fmla="*/ 810953 h 1457808"/>
              <a:gd name="connsiteX1" fmla="*/ 2151694 w 4118144"/>
              <a:gd name="connsiteY1" fmla="*/ 770554 h 1457808"/>
              <a:gd name="connsiteX2" fmla="*/ 3089195 w 4118144"/>
              <a:gd name="connsiteY2" fmla="*/ 1457808 h 1457808"/>
              <a:gd name="connsiteX3" fmla="*/ 3220313 w 4118144"/>
              <a:gd name="connsiteY3" fmla="*/ 1016756 h 1457808"/>
              <a:gd name="connsiteX4" fmla="*/ 2900652 w 4118144"/>
              <a:gd name="connsiteY4" fmla="*/ 1101267 h 1457808"/>
              <a:gd name="connsiteX5" fmla="*/ 3816613 w 4118144"/>
              <a:gd name="connsiteY5" fmla="*/ 489769 h 1457808"/>
              <a:gd name="connsiteX6" fmla="*/ 3699361 w 4118144"/>
              <a:gd name="connsiteY6" fmla="*/ 698380 h 1457808"/>
              <a:gd name="connsiteX7" fmla="*/ 4118144 w 4118144"/>
              <a:gd name="connsiteY7" fmla="*/ 572659 h 1457808"/>
              <a:gd name="connsiteX8" fmla="*/ 3595389 w 4118144"/>
              <a:gd name="connsiteY8" fmla="*/ 130972 h 1457808"/>
              <a:gd name="connsiteX9" fmla="*/ 2017084 w 4118144"/>
              <a:gd name="connsiteY9" fmla="*/ 0 h 1457808"/>
              <a:gd name="connsiteX10" fmla="*/ 0 w 4118144"/>
              <a:gd name="connsiteY10" fmla="*/ 810953 h 1457808"/>
              <a:gd name="connsiteX0" fmla="*/ 0 w 4118144"/>
              <a:gd name="connsiteY0" fmla="*/ 810953 h 1457808"/>
              <a:gd name="connsiteX1" fmla="*/ 2151694 w 4118144"/>
              <a:gd name="connsiteY1" fmla="*/ 770554 h 1457808"/>
              <a:gd name="connsiteX2" fmla="*/ 3089195 w 4118144"/>
              <a:gd name="connsiteY2" fmla="*/ 1457808 h 1457808"/>
              <a:gd name="connsiteX3" fmla="*/ 3220313 w 4118144"/>
              <a:gd name="connsiteY3" fmla="*/ 1016756 h 1457808"/>
              <a:gd name="connsiteX4" fmla="*/ 2914469 w 4118144"/>
              <a:gd name="connsiteY4" fmla="*/ 1101267 h 1457808"/>
              <a:gd name="connsiteX5" fmla="*/ 3816613 w 4118144"/>
              <a:gd name="connsiteY5" fmla="*/ 489769 h 1457808"/>
              <a:gd name="connsiteX6" fmla="*/ 3699361 w 4118144"/>
              <a:gd name="connsiteY6" fmla="*/ 698380 h 1457808"/>
              <a:gd name="connsiteX7" fmla="*/ 4118144 w 4118144"/>
              <a:gd name="connsiteY7" fmla="*/ 572659 h 1457808"/>
              <a:gd name="connsiteX8" fmla="*/ 3595389 w 4118144"/>
              <a:gd name="connsiteY8" fmla="*/ 130972 h 1457808"/>
              <a:gd name="connsiteX9" fmla="*/ 2017084 w 4118144"/>
              <a:gd name="connsiteY9" fmla="*/ 0 h 1457808"/>
              <a:gd name="connsiteX10" fmla="*/ 0 w 4118144"/>
              <a:gd name="connsiteY10" fmla="*/ 810953 h 1457808"/>
              <a:gd name="connsiteX0" fmla="*/ 0 w 4118144"/>
              <a:gd name="connsiteY0" fmla="*/ 810953 h 1457808"/>
              <a:gd name="connsiteX1" fmla="*/ 2151694 w 4118144"/>
              <a:gd name="connsiteY1" fmla="*/ 770554 h 1457808"/>
              <a:gd name="connsiteX2" fmla="*/ 3089195 w 4118144"/>
              <a:gd name="connsiteY2" fmla="*/ 1457808 h 1457808"/>
              <a:gd name="connsiteX3" fmla="*/ 3220313 w 4118144"/>
              <a:gd name="connsiteY3" fmla="*/ 1016756 h 1457808"/>
              <a:gd name="connsiteX4" fmla="*/ 2914469 w 4118144"/>
              <a:gd name="connsiteY4" fmla="*/ 1101267 h 1457808"/>
              <a:gd name="connsiteX5" fmla="*/ 3816613 w 4118144"/>
              <a:gd name="connsiteY5" fmla="*/ 489769 h 1457808"/>
              <a:gd name="connsiteX6" fmla="*/ 3699361 w 4118144"/>
              <a:gd name="connsiteY6" fmla="*/ 698380 h 1457808"/>
              <a:gd name="connsiteX7" fmla="*/ 4118144 w 4118144"/>
              <a:gd name="connsiteY7" fmla="*/ 572659 h 1457808"/>
              <a:gd name="connsiteX8" fmla="*/ 3595389 w 4118144"/>
              <a:gd name="connsiteY8" fmla="*/ 130972 h 1457808"/>
              <a:gd name="connsiteX9" fmla="*/ 2017084 w 4118144"/>
              <a:gd name="connsiteY9" fmla="*/ 0 h 1457808"/>
              <a:gd name="connsiteX10" fmla="*/ 0 w 4118144"/>
              <a:gd name="connsiteY10" fmla="*/ 810953 h 14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8144" h="1457808">
                <a:moveTo>
                  <a:pt x="0" y="810953"/>
                </a:moveTo>
                <a:lnTo>
                  <a:pt x="2151694" y="770554"/>
                </a:lnTo>
                <a:cubicBezTo>
                  <a:pt x="2515004" y="1019781"/>
                  <a:pt x="2681125" y="1159901"/>
                  <a:pt x="3089195" y="1457808"/>
                </a:cubicBezTo>
                <a:cubicBezTo>
                  <a:pt x="3606188" y="957121"/>
                  <a:pt x="3501611" y="856705"/>
                  <a:pt x="3220313" y="1016756"/>
                </a:cubicBezTo>
                <a:cubicBezTo>
                  <a:pt x="3162796" y="1049481"/>
                  <a:pt x="2948482" y="1136240"/>
                  <a:pt x="2914469" y="1101267"/>
                </a:cubicBezTo>
                <a:cubicBezTo>
                  <a:pt x="2809402" y="993234"/>
                  <a:pt x="3701393" y="365209"/>
                  <a:pt x="3816613" y="489769"/>
                </a:cubicBezTo>
                <a:cubicBezTo>
                  <a:pt x="3879332" y="561262"/>
                  <a:pt x="3643536" y="658146"/>
                  <a:pt x="3699361" y="698380"/>
                </a:cubicBezTo>
                <a:cubicBezTo>
                  <a:pt x="3747898" y="733361"/>
                  <a:pt x="4005993" y="616931"/>
                  <a:pt x="4118144" y="572659"/>
                </a:cubicBezTo>
                <a:cubicBezTo>
                  <a:pt x="4055621" y="505063"/>
                  <a:pt x="3649163" y="176772"/>
                  <a:pt x="3595389" y="130972"/>
                </a:cubicBezTo>
                <a:lnTo>
                  <a:pt x="2017084" y="0"/>
                </a:lnTo>
                <a:cubicBezTo>
                  <a:pt x="1190777" y="273451"/>
                  <a:pt x="754318" y="459619"/>
                  <a:pt x="0" y="810953"/>
                </a:cubicBezTo>
                <a:close/>
              </a:path>
            </a:pathLst>
          </a:custGeom>
          <a:solidFill>
            <a:srgbClr val="505A64">
              <a:alpha val="54000"/>
            </a:srgbClr>
          </a:solidFill>
          <a:ln>
            <a:noFill/>
          </a:ln>
          <a:effectLst>
            <a:outerShdw blurRad="279400" dist="38100" dir="2700000" algn="tl" rotWithShape="0">
              <a:prstClr val="black">
                <a:alpha val="40000"/>
              </a:prstClr>
            </a:outerShdw>
          </a:effectLst>
          <a:scene3d>
            <a:camera prst="orthographicFront"/>
            <a:lightRig rig="freezing" dir="t"/>
          </a:scene3d>
          <a:sp3d prstMaterial="translucentPowder">
            <a:bevelT w="50800" h="133350"/>
            <a:bevelB w="25400" h="107950"/>
          </a:sp3d>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15" name="Textfeld 14"/>
          <p:cNvSpPr txBox="1"/>
          <p:nvPr/>
        </p:nvSpPr>
        <p:spPr>
          <a:xfrm>
            <a:off x="2808667" y="2685346"/>
            <a:ext cx="947375" cy="2132892"/>
          </a:xfrm>
          <a:prstGeom prst="rect">
            <a:avLst/>
          </a:prstGeom>
          <a:noFill/>
          <a:extLst>
            <a:ext uri="{909E8E84-426E-40DD-AFC4-6F175D3DCCD1}">
              <a14:hiddenFill xmlns:a14="http://schemas.microsoft.com/office/drawing/2010/main">
                <a:solidFill>
                  <a:srgbClr val="BBE0E3"/>
                </a:solidFill>
              </a14:hiddenFill>
            </a:ext>
          </a:extLst>
        </p:spPr>
        <p:txBody>
          <a:bodyPr wrap="none" lIns="0" tIns="0" rIns="0" bIns="0" rtlCol="0">
            <a:spAutoFit/>
          </a:bodyPr>
          <a:lstStyle/>
          <a:p>
            <a:pPr>
              <a:lnSpc>
                <a:spcPct val="110000"/>
              </a:lnSpc>
              <a:spcBef>
                <a:spcPts val="0"/>
              </a:spcBef>
            </a:pPr>
            <a:r>
              <a:rPr lang="en-US" sz="12600" dirty="0">
                <a:solidFill>
                  <a:srgbClr val="9BAFBE"/>
                </a:solidFill>
                <a:latin typeface="微软雅黑" panose="020B0503020204020204" pitchFamily="34" charset="-122"/>
                <a:ea typeface="微软雅黑" panose="020B0503020204020204" pitchFamily="34" charset="-122"/>
              </a:rPr>
              <a:t>1</a:t>
            </a:r>
          </a:p>
        </p:txBody>
      </p:sp>
      <p:sp>
        <p:nvSpPr>
          <p:cNvPr id="16" name="Textfeld 15"/>
          <p:cNvSpPr txBox="1"/>
          <p:nvPr/>
        </p:nvSpPr>
        <p:spPr>
          <a:xfrm>
            <a:off x="4139165" y="2142697"/>
            <a:ext cx="849592" cy="1912831"/>
          </a:xfrm>
          <a:prstGeom prst="rect">
            <a:avLst/>
          </a:prstGeom>
          <a:noFill/>
          <a:extLst>
            <a:ext uri="{909E8E84-426E-40DD-AFC4-6F175D3DCCD1}">
              <a14:hiddenFill xmlns:a14="http://schemas.microsoft.com/office/drawing/2010/main">
                <a:solidFill>
                  <a:srgbClr val="BBE0E3"/>
                </a:solidFill>
              </a14:hiddenFill>
            </a:ext>
          </a:extLst>
        </p:spPr>
        <p:txBody>
          <a:bodyPr wrap="none" lIns="0" tIns="0" rIns="0" bIns="0" rtlCol="0">
            <a:spAutoFit/>
          </a:bodyPr>
          <a:lstStyle/>
          <a:p>
            <a:pPr>
              <a:lnSpc>
                <a:spcPct val="110000"/>
              </a:lnSpc>
              <a:spcBef>
                <a:spcPts val="0"/>
              </a:spcBef>
            </a:pPr>
            <a:r>
              <a:rPr lang="en-US" sz="11300" dirty="0">
                <a:solidFill>
                  <a:srgbClr val="9BAFBE"/>
                </a:solidFill>
                <a:latin typeface="微软雅黑" panose="020B0503020204020204" pitchFamily="34" charset="-122"/>
                <a:ea typeface="微软雅黑" panose="020B0503020204020204" pitchFamily="34" charset="-122"/>
              </a:rPr>
              <a:t>2</a:t>
            </a:r>
          </a:p>
        </p:txBody>
      </p:sp>
      <p:sp>
        <p:nvSpPr>
          <p:cNvPr id="17" name="Textfeld 16"/>
          <p:cNvSpPr txBox="1"/>
          <p:nvPr/>
        </p:nvSpPr>
        <p:spPr>
          <a:xfrm>
            <a:off x="5760859" y="1864462"/>
            <a:ext cx="662041" cy="1489639"/>
          </a:xfrm>
          <a:prstGeom prst="rect">
            <a:avLst/>
          </a:prstGeom>
          <a:noFill/>
          <a:extLst>
            <a:ext uri="{909E8E84-426E-40DD-AFC4-6F175D3DCCD1}">
              <a14:hiddenFill xmlns:a14="http://schemas.microsoft.com/office/drawing/2010/main">
                <a:solidFill>
                  <a:srgbClr val="BBE0E3"/>
                </a:solidFill>
              </a14:hiddenFill>
            </a:ext>
          </a:extLst>
        </p:spPr>
        <p:txBody>
          <a:bodyPr wrap="none" lIns="0" tIns="0" rIns="0" bIns="0" rtlCol="0">
            <a:spAutoFit/>
          </a:bodyPr>
          <a:lstStyle/>
          <a:p>
            <a:pPr>
              <a:lnSpc>
                <a:spcPct val="110000"/>
              </a:lnSpc>
              <a:spcBef>
                <a:spcPts val="0"/>
              </a:spcBef>
            </a:pPr>
            <a:r>
              <a:rPr lang="en-US" sz="8800" dirty="0">
                <a:solidFill>
                  <a:srgbClr val="9BAFBE"/>
                </a:solidFill>
                <a:latin typeface="微软雅黑" panose="020B0503020204020204" pitchFamily="34" charset="-122"/>
                <a:ea typeface="微软雅黑" panose="020B0503020204020204" pitchFamily="34" charset="-122"/>
              </a:rPr>
              <a:t>3</a:t>
            </a:r>
          </a:p>
        </p:txBody>
      </p:sp>
      <p:sp>
        <p:nvSpPr>
          <p:cNvPr id="18" name="Freihandform 17"/>
          <p:cNvSpPr/>
          <p:nvPr/>
        </p:nvSpPr>
        <p:spPr bwMode="auto">
          <a:xfrm>
            <a:off x="7933210" y="2268027"/>
            <a:ext cx="1622606" cy="484073"/>
          </a:xfrm>
          <a:custGeom>
            <a:avLst/>
            <a:gdLst>
              <a:gd name="connsiteX0" fmla="*/ 1098507 w 1098507"/>
              <a:gd name="connsiteY0" fmla="*/ 273093 h 441858"/>
              <a:gd name="connsiteX1" fmla="*/ 635170 w 1098507"/>
              <a:gd name="connsiteY1" fmla="*/ 441858 h 441858"/>
              <a:gd name="connsiteX2" fmla="*/ 472542 w 1098507"/>
              <a:gd name="connsiteY2" fmla="*/ 214792 h 441858"/>
              <a:gd name="connsiteX3" fmla="*/ 0 w 1098507"/>
              <a:gd name="connsiteY3" fmla="*/ 107396 h 441858"/>
              <a:gd name="connsiteX4" fmla="*/ 721087 w 1098507"/>
              <a:gd name="connsiteY4" fmla="*/ 0 h 441858"/>
              <a:gd name="connsiteX5" fmla="*/ 1018727 w 1098507"/>
              <a:gd name="connsiteY5" fmla="*/ 82848 h 441858"/>
              <a:gd name="connsiteX6" fmla="*/ 1098507 w 1098507"/>
              <a:gd name="connsiteY6" fmla="*/ 273093 h 441858"/>
              <a:gd name="connsiteX0" fmla="*/ 1098507 w 1098507"/>
              <a:gd name="connsiteY0" fmla="*/ 190245 h 359010"/>
              <a:gd name="connsiteX1" fmla="*/ 635170 w 1098507"/>
              <a:gd name="connsiteY1" fmla="*/ 359010 h 359010"/>
              <a:gd name="connsiteX2" fmla="*/ 472542 w 1098507"/>
              <a:gd name="connsiteY2" fmla="*/ 131944 h 359010"/>
              <a:gd name="connsiteX3" fmla="*/ 0 w 1098507"/>
              <a:gd name="connsiteY3" fmla="*/ 24548 h 359010"/>
              <a:gd name="connsiteX4" fmla="*/ 711882 w 1098507"/>
              <a:gd name="connsiteY4" fmla="*/ 76712 h 359010"/>
              <a:gd name="connsiteX5" fmla="*/ 1018727 w 1098507"/>
              <a:gd name="connsiteY5" fmla="*/ 0 h 359010"/>
              <a:gd name="connsiteX6" fmla="*/ 1098507 w 1098507"/>
              <a:gd name="connsiteY6" fmla="*/ 190245 h 359010"/>
              <a:gd name="connsiteX0" fmla="*/ 1098507 w 1098507"/>
              <a:gd name="connsiteY0" fmla="*/ 273092 h 441857"/>
              <a:gd name="connsiteX1" fmla="*/ 635170 w 1098507"/>
              <a:gd name="connsiteY1" fmla="*/ 441857 h 441857"/>
              <a:gd name="connsiteX2" fmla="*/ 472542 w 1098507"/>
              <a:gd name="connsiteY2" fmla="*/ 214791 h 441857"/>
              <a:gd name="connsiteX3" fmla="*/ 0 w 1098507"/>
              <a:gd name="connsiteY3" fmla="*/ 107395 h 441857"/>
              <a:gd name="connsiteX4" fmla="*/ 724155 w 1098507"/>
              <a:gd name="connsiteY4" fmla="*/ 0 h 441857"/>
              <a:gd name="connsiteX5" fmla="*/ 1018727 w 1098507"/>
              <a:gd name="connsiteY5" fmla="*/ 82847 h 441857"/>
              <a:gd name="connsiteX6" fmla="*/ 1098507 w 1098507"/>
              <a:gd name="connsiteY6" fmla="*/ 273092 h 441857"/>
              <a:gd name="connsiteX0" fmla="*/ 1110230 w 1110230"/>
              <a:gd name="connsiteY0" fmla="*/ 296538 h 441857"/>
              <a:gd name="connsiteX1" fmla="*/ 635170 w 1110230"/>
              <a:gd name="connsiteY1" fmla="*/ 441857 h 441857"/>
              <a:gd name="connsiteX2" fmla="*/ 472542 w 1110230"/>
              <a:gd name="connsiteY2" fmla="*/ 214791 h 441857"/>
              <a:gd name="connsiteX3" fmla="*/ 0 w 1110230"/>
              <a:gd name="connsiteY3" fmla="*/ 107395 h 441857"/>
              <a:gd name="connsiteX4" fmla="*/ 724155 w 1110230"/>
              <a:gd name="connsiteY4" fmla="*/ 0 h 441857"/>
              <a:gd name="connsiteX5" fmla="*/ 1018727 w 1110230"/>
              <a:gd name="connsiteY5" fmla="*/ 82847 h 441857"/>
              <a:gd name="connsiteX6" fmla="*/ 1110230 w 1110230"/>
              <a:gd name="connsiteY6" fmla="*/ 296538 h 44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0230" h="441857">
                <a:moveTo>
                  <a:pt x="1110230" y="296538"/>
                </a:moveTo>
                <a:lnTo>
                  <a:pt x="635170" y="441857"/>
                </a:lnTo>
                <a:lnTo>
                  <a:pt x="472542" y="214791"/>
                </a:lnTo>
                <a:lnTo>
                  <a:pt x="0" y="107395"/>
                </a:lnTo>
                <a:lnTo>
                  <a:pt x="724155" y="0"/>
                </a:lnTo>
                <a:lnTo>
                  <a:pt x="1018727" y="82847"/>
                </a:lnTo>
                <a:lnTo>
                  <a:pt x="1110230" y="296538"/>
                </a:lnTo>
                <a:close/>
              </a:path>
            </a:pathLst>
          </a:custGeom>
          <a:gradFill flip="none" rotWithShape="1">
            <a:gsLst>
              <a:gs pos="0">
                <a:srgbClr val="647887">
                  <a:shade val="30000"/>
                  <a:satMod val="115000"/>
                </a:srgbClr>
              </a:gs>
              <a:gs pos="50000">
                <a:srgbClr val="647887">
                  <a:shade val="67500"/>
                  <a:satMod val="115000"/>
                </a:srgbClr>
              </a:gs>
              <a:gs pos="100000">
                <a:srgbClr val="647887">
                  <a:shade val="100000"/>
                  <a:satMod val="115000"/>
                </a:srgbClr>
              </a:gs>
            </a:gsLst>
            <a:path path="circle">
              <a:fillToRect l="100000" b="100000"/>
            </a:path>
            <a:tileRect t="-100000" r="-100000"/>
          </a:gradFill>
          <a:ln>
            <a:noFill/>
          </a:ln>
          <a:effectLst>
            <a:outerShdw blurRad="190500" dist="63500" dir="42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a:solidFill>
                <a:schemeClr val="tx1"/>
              </a:solidFill>
              <a:latin typeface="微软雅黑" panose="020B0503020204020204" pitchFamily="34" charset="-122"/>
              <a:ea typeface="微软雅黑" panose="020B0503020204020204" pitchFamily="34" charset="-122"/>
            </a:endParaRPr>
          </a:p>
        </p:txBody>
      </p:sp>
      <p:sp>
        <p:nvSpPr>
          <p:cNvPr id="19" name="Freihandform 18"/>
          <p:cNvSpPr/>
          <p:nvPr/>
        </p:nvSpPr>
        <p:spPr bwMode="auto">
          <a:xfrm>
            <a:off x="6438623" y="2433667"/>
            <a:ext cx="2246766" cy="685770"/>
          </a:xfrm>
          <a:custGeom>
            <a:avLst/>
            <a:gdLst>
              <a:gd name="connsiteX0" fmla="*/ 0 w 1537297"/>
              <a:gd name="connsiteY0" fmla="*/ 187175 h 622896"/>
              <a:gd name="connsiteX1" fmla="*/ 785525 w 1537297"/>
              <a:gd name="connsiteY1" fmla="*/ 0 h 622896"/>
              <a:gd name="connsiteX2" fmla="*/ 1356258 w 1537297"/>
              <a:gd name="connsiteY2" fmla="*/ 113532 h 622896"/>
              <a:gd name="connsiteX3" fmla="*/ 1537297 w 1537297"/>
              <a:gd name="connsiteY3" fmla="*/ 346735 h 622896"/>
              <a:gd name="connsiteX4" fmla="*/ 960427 w 1537297"/>
              <a:gd name="connsiteY4" fmla="*/ 622896 h 622896"/>
              <a:gd name="connsiteX5" fmla="*/ 705745 w 1537297"/>
              <a:gd name="connsiteY5" fmla="*/ 306845 h 622896"/>
              <a:gd name="connsiteX6" fmla="*/ 0 w 1537297"/>
              <a:gd name="connsiteY6" fmla="*/ 187175 h 622896"/>
              <a:gd name="connsiteX0" fmla="*/ 0 w 1537297"/>
              <a:gd name="connsiteY0" fmla="*/ 73643 h 509364"/>
              <a:gd name="connsiteX1" fmla="*/ 800867 w 1537297"/>
              <a:gd name="connsiteY1" fmla="*/ 21480 h 509364"/>
              <a:gd name="connsiteX2" fmla="*/ 1356258 w 1537297"/>
              <a:gd name="connsiteY2" fmla="*/ 0 h 509364"/>
              <a:gd name="connsiteX3" fmla="*/ 1537297 w 1537297"/>
              <a:gd name="connsiteY3" fmla="*/ 233203 h 509364"/>
              <a:gd name="connsiteX4" fmla="*/ 960427 w 1537297"/>
              <a:gd name="connsiteY4" fmla="*/ 509364 h 509364"/>
              <a:gd name="connsiteX5" fmla="*/ 705745 w 1537297"/>
              <a:gd name="connsiteY5" fmla="*/ 193313 h 509364"/>
              <a:gd name="connsiteX6" fmla="*/ 0 w 1537297"/>
              <a:gd name="connsiteY6" fmla="*/ 73643 h 509364"/>
              <a:gd name="connsiteX0" fmla="*/ 0 w 1537297"/>
              <a:gd name="connsiteY0" fmla="*/ 190243 h 625964"/>
              <a:gd name="connsiteX1" fmla="*/ 813141 w 1537297"/>
              <a:gd name="connsiteY1" fmla="*/ 0 h 625964"/>
              <a:gd name="connsiteX2" fmla="*/ 1356258 w 1537297"/>
              <a:gd name="connsiteY2" fmla="*/ 116600 h 625964"/>
              <a:gd name="connsiteX3" fmla="*/ 1537297 w 1537297"/>
              <a:gd name="connsiteY3" fmla="*/ 349803 h 625964"/>
              <a:gd name="connsiteX4" fmla="*/ 960427 w 1537297"/>
              <a:gd name="connsiteY4" fmla="*/ 625964 h 625964"/>
              <a:gd name="connsiteX5" fmla="*/ 705745 w 1537297"/>
              <a:gd name="connsiteY5" fmla="*/ 309913 h 625964"/>
              <a:gd name="connsiteX6" fmla="*/ 0 w 1537297"/>
              <a:gd name="connsiteY6" fmla="*/ 190243 h 625964"/>
              <a:gd name="connsiteX0" fmla="*/ 0 w 1537297"/>
              <a:gd name="connsiteY0" fmla="*/ 190243 h 625964"/>
              <a:gd name="connsiteX1" fmla="*/ 813141 w 1537297"/>
              <a:gd name="connsiteY1" fmla="*/ 0 h 625964"/>
              <a:gd name="connsiteX2" fmla="*/ 1356258 w 1537297"/>
              <a:gd name="connsiteY2" fmla="*/ 116600 h 625964"/>
              <a:gd name="connsiteX3" fmla="*/ 1537297 w 1537297"/>
              <a:gd name="connsiteY3" fmla="*/ 349803 h 625964"/>
              <a:gd name="connsiteX4" fmla="*/ 960427 w 1537297"/>
              <a:gd name="connsiteY4" fmla="*/ 625964 h 625964"/>
              <a:gd name="connsiteX5" fmla="*/ 705745 w 1537297"/>
              <a:gd name="connsiteY5" fmla="*/ 309913 h 625964"/>
              <a:gd name="connsiteX6" fmla="*/ 0 w 1537297"/>
              <a:gd name="connsiteY6" fmla="*/ 190243 h 625964"/>
              <a:gd name="connsiteX0" fmla="*/ 0 w 1537297"/>
              <a:gd name="connsiteY0" fmla="*/ 190243 h 625964"/>
              <a:gd name="connsiteX1" fmla="*/ 813141 w 1537297"/>
              <a:gd name="connsiteY1" fmla="*/ 0 h 625964"/>
              <a:gd name="connsiteX2" fmla="*/ 1356258 w 1537297"/>
              <a:gd name="connsiteY2" fmla="*/ 116600 h 625964"/>
              <a:gd name="connsiteX3" fmla="*/ 1537297 w 1537297"/>
              <a:gd name="connsiteY3" fmla="*/ 349803 h 625964"/>
              <a:gd name="connsiteX4" fmla="*/ 960427 w 1537297"/>
              <a:gd name="connsiteY4" fmla="*/ 625964 h 625964"/>
              <a:gd name="connsiteX5" fmla="*/ 705745 w 1537297"/>
              <a:gd name="connsiteY5" fmla="*/ 309913 h 625964"/>
              <a:gd name="connsiteX6" fmla="*/ 0 w 1537297"/>
              <a:gd name="connsiteY6" fmla="*/ 190243 h 6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7297" h="625964">
                <a:moveTo>
                  <a:pt x="0" y="190243"/>
                </a:moveTo>
                <a:lnTo>
                  <a:pt x="813141" y="0"/>
                </a:lnTo>
                <a:lnTo>
                  <a:pt x="1356258" y="116600"/>
                </a:lnTo>
                <a:lnTo>
                  <a:pt x="1537297" y="349803"/>
                </a:lnTo>
                <a:cubicBezTo>
                  <a:pt x="1341810" y="432265"/>
                  <a:pt x="1143126" y="517924"/>
                  <a:pt x="960427" y="625964"/>
                </a:cubicBezTo>
                <a:lnTo>
                  <a:pt x="705745" y="309913"/>
                </a:lnTo>
                <a:lnTo>
                  <a:pt x="0" y="190243"/>
                </a:lnTo>
                <a:close/>
              </a:path>
            </a:pathLst>
          </a:custGeom>
          <a:gradFill flip="none" rotWithShape="1">
            <a:gsLst>
              <a:gs pos="0">
                <a:srgbClr val="647887">
                  <a:shade val="30000"/>
                  <a:satMod val="115000"/>
                </a:srgbClr>
              </a:gs>
              <a:gs pos="50000">
                <a:srgbClr val="647887">
                  <a:shade val="67500"/>
                  <a:satMod val="115000"/>
                </a:srgbClr>
              </a:gs>
              <a:gs pos="100000">
                <a:srgbClr val="647887">
                  <a:shade val="100000"/>
                  <a:satMod val="115000"/>
                </a:srgbClr>
              </a:gs>
            </a:gsLst>
            <a:path path="circle">
              <a:fillToRect l="100000" b="100000"/>
            </a:path>
            <a:tileRect t="-100000" r="-100000"/>
          </a:gradFill>
          <a:ln>
            <a:noFill/>
          </a:ln>
          <a:effectLst>
            <a:outerShdw blurRad="190500" dist="63500" dir="42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20" name="Freihandform 19"/>
          <p:cNvSpPr/>
          <p:nvPr/>
        </p:nvSpPr>
        <p:spPr bwMode="auto">
          <a:xfrm>
            <a:off x="7914715" y="2269880"/>
            <a:ext cx="1626632" cy="463796"/>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478895"/>
              <a:gd name="connsiteY0" fmla="*/ 2873847 h 3227537"/>
              <a:gd name="connsiteX1" fmla="*/ 160498 w 5478895"/>
              <a:gd name="connsiteY1" fmla="*/ 2672237 h 3227537"/>
              <a:gd name="connsiteX2" fmla="*/ 418903 w 5478895"/>
              <a:gd name="connsiteY2" fmla="*/ 2371827 h 3227537"/>
              <a:gd name="connsiteX3" fmla="*/ 914255 w 5478895"/>
              <a:gd name="connsiteY3" fmla="*/ 2223421 h 3227537"/>
              <a:gd name="connsiteX4" fmla="*/ 1020177 w 5478895"/>
              <a:gd name="connsiteY4" fmla="*/ 1819583 h 3227537"/>
              <a:gd name="connsiteX5" fmla="*/ 714335 w 5478895"/>
              <a:gd name="connsiteY5" fmla="*/ 1913113 h 3227537"/>
              <a:gd name="connsiteX6" fmla="*/ 1523207 w 5478895"/>
              <a:gd name="connsiteY6" fmla="*/ 1199395 h 3227537"/>
              <a:gd name="connsiteX7" fmla="*/ 1433591 w 5478895"/>
              <a:gd name="connsiteY7" fmla="*/ 1471142 h 3227537"/>
              <a:gd name="connsiteX8" fmla="*/ 2320564 w 5478895"/>
              <a:gd name="connsiteY8" fmla="*/ 958464 h 3227537"/>
              <a:gd name="connsiteX9" fmla="*/ 1934587 w 5478895"/>
              <a:gd name="connsiteY9" fmla="*/ 939686 h 3227537"/>
              <a:gd name="connsiteX10" fmla="*/ 2724695 w 5478895"/>
              <a:gd name="connsiteY10" fmla="*/ 648948 h 3227537"/>
              <a:gd name="connsiteX11" fmla="*/ 2671161 w 5478895"/>
              <a:gd name="connsiteY11" fmla="*/ 815773 h 3227537"/>
              <a:gd name="connsiteX12" fmla="*/ 3352287 w 5478895"/>
              <a:gd name="connsiteY12" fmla="*/ 521781 h 3227537"/>
              <a:gd name="connsiteX13" fmla="*/ 3086216 w 5478895"/>
              <a:gd name="connsiteY13" fmla="*/ 509932 h 3227537"/>
              <a:gd name="connsiteX14" fmla="*/ 3698561 w 5478895"/>
              <a:gd name="connsiteY14" fmla="*/ 232711 h 3227537"/>
              <a:gd name="connsiteX15" fmla="*/ 3623481 w 5478895"/>
              <a:gd name="connsiteY15" fmla="*/ 395239 h 3227537"/>
              <a:gd name="connsiteX16" fmla="*/ 4344358 w 5478895"/>
              <a:gd name="connsiteY16" fmla="*/ 194615 h 3227537"/>
              <a:gd name="connsiteX17" fmla="*/ 4198661 w 5478895"/>
              <a:gd name="connsiteY17" fmla="*/ 170771 h 3227537"/>
              <a:gd name="connsiteX18" fmla="*/ 4788590 w 5478895"/>
              <a:gd name="connsiteY18" fmla="*/ 54418 h 3227537"/>
              <a:gd name="connsiteX19" fmla="*/ 5066181 w 5478895"/>
              <a:gd name="connsiteY19" fmla="*/ 95353 h 3227537"/>
              <a:gd name="connsiteX20" fmla="*/ 5478894 w 5478895"/>
              <a:gd name="connsiteY20" fmla="*/ 3603 h 3227537"/>
              <a:gd name="connsiteX21" fmla="*/ 1736389 w 5478895"/>
              <a:gd name="connsiteY21" fmla="*/ 3227537 h 3227537"/>
              <a:gd name="connsiteX22" fmla="*/ 212611 w 5478895"/>
              <a:gd name="connsiteY22" fmla="*/ 2873847 h 3227537"/>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21" fmla="*/ 212611 w 5478894"/>
              <a:gd name="connsiteY21" fmla="*/ 2873847 h 2873847"/>
              <a:gd name="connsiteX0" fmla="*/ 212611 w 5478894"/>
              <a:gd name="connsiteY0" fmla="*/ 2873847 h 2963441"/>
              <a:gd name="connsiteX1" fmla="*/ 160498 w 5478894"/>
              <a:gd name="connsiteY1" fmla="*/ 2672237 h 2963441"/>
              <a:gd name="connsiteX2" fmla="*/ 418903 w 5478894"/>
              <a:gd name="connsiteY2" fmla="*/ 2371827 h 2963441"/>
              <a:gd name="connsiteX3" fmla="*/ 914255 w 5478894"/>
              <a:gd name="connsiteY3" fmla="*/ 2223421 h 2963441"/>
              <a:gd name="connsiteX4" fmla="*/ 1020177 w 5478894"/>
              <a:gd name="connsiteY4" fmla="*/ 1819583 h 2963441"/>
              <a:gd name="connsiteX5" fmla="*/ 714335 w 5478894"/>
              <a:gd name="connsiteY5" fmla="*/ 1913113 h 2963441"/>
              <a:gd name="connsiteX6" fmla="*/ 1523207 w 5478894"/>
              <a:gd name="connsiteY6" fmla="*/ 1199395 h 2963441"/>
              <a:gd name="connsiteX7" fmla="*/ 1433591 w 5478894"/>
              <a:gd name="connsiteY7" fmla="*/ 1471142 h 2963441"/>
              <a:gd name="connsiteX8" fmla="*/ 2320564 w 5478894"/>
              <a:gd name="connsiteY8" fmla="*/ 958464 h 2963441"/>
              <a:gd name="connsiteX9" fmla="*/ 1934587 w 5478894"/>
              <a:gd name="connsiteY9" fmla="*/ 939686 h 2963441"/>
              <a:gd name="connsiteX10" fmla="*/ 2724695 w 5478894"/>
              <a:gd name="connsiteY10" fmla="*/ 648948 h 2963441"/>
              <a:gd name="connsiteX11" fmla="*/ 2671161 w 5478894"/>
              <a:gd name="connsiteY11" fmla="*/ 815773 h 2963441"/>
              <a:gd name="connsiteX12" fmla="*/ 3352287 w 5478894"/>
              <a:gd name="connsiteY12" fmla="*/ 521781 h 2963441"/>
              <a:gd name="connsiteX13" fmla="*/ 3086216 w 5478894"/>
              <a:gd name="connsiteY13" fmla="*/ 509932 h 2963441"/>
              <a:gd name="connsiteX14" fmla="*/ 3698561 w 5478894"/>
              <a:gd name="connsiteY14" fmla="*/ 232711 h 2963441"/>
              <a:gd name="connsiteX15" fmla="*/ 3623481 w 5478894"/>
              <a:gd name="connsiteY15" fmla="*/ 395239 h 2963441"/>
              <a:gd name="connsiteX16" fmla="*/ 4344358 w 5478894"/>
              <a:gd name="connsiteY16" fmla="*/ 194615 h 2963441"/>
              <a:gd name="connsiteX17" fmla="*/ 4198661 w 5478894"/>
              <a:gd name="connsiteY17" fmla="*/ 170771 h 2963441"/>
              <a:gd name="connsiteX18" fmla="*/ 4788590 w 5478894"/>
              <a:gd name="connsiteY18" fmla="*/ 54418 h 2963441"/>
              <a:gd name="connsiteX19" fmla="*/ 5066181 w 5478894"/>
              <a:gd name="connsiteY19" fmla="*/ 95353 h 2963441"/>
              <a:gd name="connsiteX20" fmla="*/ 5478894 w 5478894"/>
              <a:gd name="connsiteY20" fmla="*/ 3603 h 2963441"/>
              <a:gd name="connsiteX21" fmla="*/ 315554 w 5478894"/>
              <a:gd name="connsiteY21" fmla="*/ 2963441 h 2963441"/>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160498 w 5478894"/>
              <a:gd name="connsiteY0" fmla="*/ 2672237 h 2700819"/>
              <a:gd name="connsiteX1" fmla="*/ 418903 w 5478894"/>
              <a:gd name="connsiteY1" fmla="*/ 2371827 h 2700819"/>
              <a:gd name="connsiteX2" fmla="*/ 914255 w 5478894"/>
              <a:gd name="connsiteY2" fmla="*/ 2223421 h 2700819"/>
              <a:gd name="connsiteX3" fmla="*/ 1020177 w 5478894"/>
              <a:gd name="connsiteY3" fmla="*/ 1819583 h 2700819"/>
              <a:gd name="connsiteX4" fmla="*/ 714335 w 5478894"/>
              <a:gd name="connsiteY4" fmla="*/ 1913113 h 2700819"/>
              <a:gd name="connsiteX5" fmla="*/ 1523207 w 5478894"/>
              <a:gd name="connsiteY5" fmla="*/ 1199395 h 2700819"/>
              <a:gd name="connsiteX6" fmla="*/ 1433591 w 5478894"/>
              <a:gd name="connsiteY6" fmla="*/ 1471142 h 2700819"/>
              <a:gd name="connsiteX7" fmla="*/ 2320564 w 5478894"/>
              <a:gd name="connsiteY7" fmla="*/ 958464 h 2700819"/>
              <a:gd name="connsiteX8" fmla="*/ 1934587 w 5478894"/>
              <a:gd name="connsiteY8" fmla="*/ 939686 h 2700819"/>
              <a:gd name="connsiteX9" fmla="*/ 2724695 w 5478894"/>
              <a:gd name="connsiteY9" fmla="*/ 648948 h 2700819"/>
              <a:gd name="connsiteX10" fmla="*/ 2671161 w 5478894"/>
              <a:gd name="connsiteY10" fmla="*/ 815773 h 2700819"/>
              <a:gd name="connsiteX11" fmla="*/ 3352287 w 5478894"/>
              <a:gd name="connsiteY11" fmla="*/ 521781 h 2700819"/>
              <a:gd name="connsiteX12" fmla="*/ 3086216 w 5478894"/>
              <a:gd name="connsiteY12" fmla="*/ 509932 h 2700819"/>
              <a:gd name="connsiteX13" fmla="*/ 3698561 w 5478894"/>
              <a:gd name="connsiteY13" fmla="*/ 232711 h 2700819"/>
              <a:gd name="connsiteX14" fmla="*/ 3623481 w 5478894"/>
              <a:gd name="connsiteY14" fmla="*/ 395239 h 2700819"/>
              <a:gd name="connsiteX15" fmla="*/ 4344358 w 5478894"/>
              <a:gd name="connsiteY15" fmla="*/ 194615 h 2700819"/>
              <a:gd name="connsiteX16" fmla="*/ 4198661 w 5478894"/>
              <a:gd name="connsiteY16" fmla="*/ 170771 h 2700819"/>
              <a:gd name="connsiteX17" fmla="*/ 4788590 w 5478894"/>
              <a:gd name="connsiteY17" fmla="*/ 54418 h 2700819"/>
              <a:gd name="connsiteX18" fmla="*/ 5066181 w 5478894"/>
              <a:gd name="connsiteY18" fmla="*/ 95353 h 2700819"/>
              <a:gd name="connsiteX19" fmla="*/ 5478894 w 5478894"/>
              <a:gd name="connsiteY19" fmla="*/ 3603 h 2700819"/>
              <a:gd name="connsiteX0" fmla="*/ 0 w 5059991"/>
              <a:gd name="connsiteY0" fmla="*/ 2371827 h 2464870"/>
              <a:gd name="connsiteX1" fmla="*/ 495352 w 5059991"/>
              <a:gd name="connsiteY1" fmla="*/ 2223421 h 2464870"/>
              <a:gd name="connsiteX2" fmla="*/ 601274 w 5059991"/>
              <a:gd name="connsiteY2" fmla="*/ 1819583 h 2464870"/>
              <a:gd name="connsiteX3" fmla="*/ 295432 w 5059991"/>
              <a:gd name="connsiteY3" fmla="*/ 1913113 h 2464870"/>
              <a:gd name="connsiteX4" fmla="*/ 1104304 w 5059991"/>
              <a:gd name="connsiteY4" fmla="*/ 1199395 h 2464870"/>
              <a:gd name="connsiteX5" fmla="*/ 1014688 w 5059991"/>
              <a:gd name="connsiteY5" fmla="*/ 1471142 h 2464870"/>
              <a:gd name="connsiteX6" fmla="*/ 1901661 w 5059991"/>
              <a:gd name="connsiteY6" fmla="*/ 958464 h 2464870"/>
              <a:gd name="connsiteX7" fmla="*/ 1515684 w 5059991"/>
              <a:gd name="connsiteY7" fmla="*/ 939686 h 2464870"/>
              <a:gd name="connsiteX8" fmla="*/ 2305792 w 5059991"/>
              <a:gd name="connsiteY8" fmla="*/ 648948 h 2464870"/>
              <a:gd name="connsiteX9" fmla="*/ 2252258 w 5059991"/>
              <a:gd name="connsiteY9" fmla="*/ 815773 h 2464870"/>
              <a:gd name="connsiteX10" fmla="*/ 2933384 w 5059991"/>
              <a:gd name="connsiteY10" fmla="*/ 521781 h 2464870"/>
              <a:gd name="connsiteX11" fmla="*/ 2667313 w 5059991"/>
              <a:gd name="connsiteY11" fmla="*/ 509932 h 2464870"/>
              <a:gd name="connsiteX12" fmla="*/ 3279658 w 5059991"/>
              <a:gd name="connsiteY12" fmla="*/ 232711 h 2464870"/>
              <a:gd name="connsiteX13" fmla="*/ 3204578 w 5059991"/>
              <a:gd name="connsiteY13" fmla="*/ 395239 h 2464870"/>
              <a:gd name="connsiteX14" fmla="*/ 3925455 w 5059991"/>
              <a:gd name="connsiteY14" fmla="*/ 194615 h 2464870"/>
              <a:gd name="connsiteX15" fmla="*/ 3779758 w 5059991"/>
              <a:gd name="connsiteY15" fmla="*/ 170771 h 2464870"/>
              <a:gd name="connsiteX16" fmla="*/ 4369687 w 5059991"/>
              <a:gd name="connsiteY16" fmla="*/ 54418 h 2464870"/>
              <a:gd name="connsiteX17" fmla="*/ 4647278 w 5059991"/>
              <a:gd name="connsiteY17" fmla="*/ 95353 h 2464870"/>
              <a:gd name="connsiteX18" fmla="*/ 5059991 w 5059991"/>
              <a:gd name="connsiteY18" fmla="*/ 3603 h 2464870"/>
              <a:gd name="connsiteX0" fmla="*/ 231045 w 4795684"/>
              <a:gd name="connsiteY0" fmla="*/ 2223421 h 2223421"/>
              <a:gd name="connsiteX1" fmla="*/ 336967 w 4795684"/>
              <a:gd name="connsiteY1" fmla="*/ 1819583 h 2223421"/>
              <a:gd name="connsiteX2" fmla="*/ 31125 w 4795684"/>
              <a:gd name="connsiteY2" fmla="*/ 1913113 h 2223421"/>
              <a:gd name="connsiteX3" fmla="*/ 839997 w 4795684"/>
              <a:gd name="connsiteY3" fmla="*/ 1199395 h 2223421"/>
              <a:gd name="connsiteX4" fmla="*/ 750381 w 4795684"/>
              <a:gd name="connsiteY4" fmla="*/ 1471142 h 2223421"/>
              <a:gd name="connsiteX5" fmla="*/ 1637354 w 4795684"/>
              <a:gd name="connsiteY5" fmla="*/ 958464 h 2223421"/>
              <a:gd name="connsiteX6" fmla="*/ 1251377 w 4795684"/>
              <a:gd name="connsiteY6" fmla="*/ 939686 h 2223421"/>
              <a:gd name="connsiteX7" fmla="*/ 2041485 w 4795684"/>
              <a:gd name="connsiteY7" fmla="*/ 648948 h 2223421"/>
              <a:gd name="connsiteX8" fmla="*/ 1987951 w 4795684"/>
              <a:gd name="connsiteY8" fmla="*/ 815773 h 2223421"/>
              <a:gd name="connsiteX9" fmla="*/ 2669077 w 4795684"/>
              <a:gd name="connsiteY9" fmla="*/ 521781 h 2223421"/>
              <a:gd name="connsiteX10" fmla="*/ 2403006 w 4795684"/>
              <a:gd name="connsiteY10" fmla="*/ 509932 h 2223421"/>
              <a:gd name="connsiteX11" fmla="*/ 3015351 w 4795684"/>
              <a:gd name="connsiteY11" fmla="*/ 232711 h 2223421"/>
              <a:gd name="connsiteX12" fmla="*/ 2940271 w 4795684"/>
              <a:gd name="connsiteY12" fmla="*/ 395239 h 2223421"/>
              <a:gd name="connsiteX13" fmla="*/ 3661148 w 4795684"/>
              <a:gd name="connsiteY13" fmla="*/ 194615 h 2223421"/>
              <a:gd name="connsiteX14" fmla="*/ 3515451 w 4795684"/>
              <a:gd name="connsiteY14" fmla="*/ 170771 h 2223421"/>
              <a:gd name="connsiteX15" fmla="*/ 4105380 w 4795684"/>
              <a:gd name="connsiteY15" fmla="*/ 54418 h 2223421"/>
              <a:gd name="connsiteX16" fmla="*/ 4382971 w 4795684"/>
              <a:gd name="connsiteY16" fmla="*/ 95353 h 2223421"/>
              <a:gd name="connsiteX17" fmla="*/ 4795684 w 4795684"/>
              <a:gd name="connsiteY17" fmla="*/ 3603 h 2223421"/>
              <a:gd name="connsiteX0" fmla="*/ 336967 w 4795684"/>
              <a:gd name="connsiteY0" fmla="*/ 1819583 h 1934417"/>
              <a:gd name="connsiteX1" fmla="*/ 31125 w 4795684"/>
              <a:gd name="connsiteY1" fmla="*/ 1913113 h 1934417"/>
              <a:gd name="connsiteX2" fmla="*/ 839997 w 4795684"/>
              <a:gd name="connsiteY2" fmla="*/ 1199395 h 1934417"/>
              <a:gd name="connsiteX3" fmla="*/ 750381 w 4795684"/>
              <a:gd name="connsiteY3" fmla="*/ 1471142 h 1934417"/>
              <a:gd name="connsiteX4" fmla="*/ 1637354 w 4795684"/>
              <a:gd name="connsiteY4" fmla="*/ 958464 h 1934417"/>
              <a:gd name="connsiteX5" fmla="*/ 1251377 w 4795684"/>
              <a:gd name="connsiteY5" fmla="*/ 939686 h 1934417"/>
              <a:gd name="connsiteX6" fmla="*/ 2041485 w 4795684"/>
              <a:gd name="connsiteY6" fmla="*/ 648948 h 1934417"/>
              <a:gd name="connsiteX7" fmla="*/ 1987951 w 4795684"/>
              <a:gd name="connsiteY7" fmla="*/ 815773 h 1934417"/>
              <a:gd name="connsiteX8" fmla="*/ 2669077 w 4795684"/>
              <a:gd name="connsiteY8" fmla="*/ 521781 h 1934417"/>
              <a:gd name="connsiteX9" fmla="*/ 2403006 w 4795684"/>
              <a:gd name="connsiteY9" fmla="*/ 509932 h 1934417"/>
              <a:gd name="connsiteX10" fmla="*/ 3015351 w 4795684"/>
              <a:gd name="connsiteY10" fmla="*/ 232711 h 1934417"/>
              <a:gd name="connsiteX11" fmla="*/ 2940271 w 4795684"/>
              <a:gd name="connsiteY11" fmla="*/ 395239 h 1934417"/>
              <a:gd name="connsiteX12" fmla="*/ 3661148 w 4795684"/>
              <a:gd name="connsiteY12" fmla="*/ 194615 h 1934417"/>
              <a:gd name="connsiteX13" fmla="*/ 3515451 w 4795684"/>
              <a:gd name="connsiteY13" fmla="*/ 170771 h 1934417"/>
              <a:gd name="connsiteX14" fmla="*/ 4105380 w 4795684"/>
              <a:gd name="connsiteY14" fmla="*/ 54418 h 1934417"/>
              <a:gd name="connsiteX15" fmla="*/ 4382971 w 4795684"/>
              <a:gd name="connsiteY15" fmla="*/ 95353 h 1934417"/>
              <a:gd name="connsiteX16" fmla="*/ 4795684 w 4795684"/>
              <a:gd name="connsiteY16" fmla="*/ 3603 h 1934417"/>
              <a:gd name="connsiteX0" fmla="*/ 0 w 4458717"/>
              <a:gd name="connsiteY0" fmla="*/ 1819583 h 1819583"/>
              <a:gd name="connsiteX1" fmla="*/ 503030 w 4458717"/>
              <a:gd name="connsiteY1" fmla="*/ 1199395 h 1819583"/>
              <a:gd name="connsiteX2" fmla="*/ 413414 w 4458717"/>
              <a:gd name="connsiteY2" fmla="*/ 1471142 h 1819583"/>
              <a:gd name="connsiteX3" fmla="*/ 1300387 w 4458717"/>
              <a:gd name="connsiteY3" fmla="*/ 958464 h 1819583"/>
              <a:gd name="connsiteX4" fmla="*/ 914410 w 4458717"/>
              <a:gd name="connsiteY4" fmla="*/ 939686 h 1819583"/>
              <a:gd name="connsiteX5" fmla="*/ 1704518 w 4458717"/>
              <a:gd name="connsiteY5" fmla="*/ 648948 h 1819583"/>
              <a:gd name="connsiteX6" fmla="*/ 1650984 w 4458717"/>
              <a:gd name="connsiteY6" fmla="*/ 815773 h 1819583"/>
              <a:gd name="connsiteX7" fmla="*/ 2332110 w 4458717"/>
              <a:gd name="connsiteY7" fmla="*/ 521781 h 1819583"/>
              <a:gd name="connsiteX8" fmla="*/ 2066039 w 4458717"/>
              <a:gd name="connsiteY8" fmla="*/ 509932 h 1819583"/>
              <a:gd name="connsiteX9" fmla="*/ 2678384 w 4458717"/>
              <a:gd name="connsiteY9" fmla="*/ 232711 h 1819583"/>
              <a:gd name="connsiteX10" fmla="*/ 2603304 w 4458717"/>
              <a:gd name="connsiteY10" fmla="*/ 395239 h 1819583"/>
              <a:gd name="connsiteX11" fmla="*/ 3324181 w 4458717"/>
              <a:gd name="connsiteY11" fmla="*/ 194615 h 1819583"/>
              <a:gd name="connsiteX12" fmla="*/ 3178484 w 4458717"/>
              <a:gd name="connsiteY12" fmla="*/ 170771 h 1819583"/>
              <a:gd name="connsiteX13" fmla="*/ 3768413 w 4458717"/>
              <a:gd name="connsiteY13" fmla="*/ 54418 h 1819583"/>
              <a:gd name="connsiteX14" fmla="*/ 4046004 w 4458717"/>
              <a:gd name="connsiteY14" fmla="*/ 95353 h 1819583"/>
              <a:gd name="connsiteX15" fmla="*/ 4458717 w 4458717"/>
              <a:gd name="connsiteY15" fmla="*/ 3603 h 1819583"/>
              <a:gd name="connsiteX0" fmla="*/ 95891 w 4051578"/>
              <a:gd name="connsiteY0" fmla="*/ 1199395 h 1507567"/>
              <a:gd name="connsiteX1" fmla="*/ 6275 w 4051578"/>
              <a:gd name="connsiteY1" fmla="*/ 1471142 h 1507567"/>
              <a:gd name="connsiteX2" fmla="*/ 893248 w 4051578"/>
              <a:gd name="connsiteY2" fmla="*/ 958464 h 1507567"/>
              <a:gd name="connsiteX3" fmla="*/ 507271 w 4051578"/>
              <a:gd name="connsiteY3" fmla="*/ 939686 h 1507567"/>
              <a:gd name="connsiteX4" fmla="*/ 1297379 w 4051578"/>
              <a:gd name="connsiteY4" fmla="*/ 648948 h 1507567"/>
              <a:gd name="connsiteX5" fmla="*/ 1243845 w 4051578"/>
              <a:gd name="connsiteY5" fmla="*/ 815773 h 1507567"/>
              <a:gd name="connsiteX6" fmla="*/ 1924971 w 4051578"/>
              <a:gd name="connsiteY6" fmla="*/ 521781 h 1507567"/>
              <a:gd name="connsiteX7" fmla="*/ 1658900 w 4051578"/>
              <a:gd name="connsiteY7" fmla="*/ 509932 h 1507567"/>
              <a:gd name="connsiteX8" fmla="*/ 2271245 w 4051578"/>
              <a:gd name="connsiteY8" fmla="*/ 232711 h 1507567"/>
              <a:gd name="connsiteX9" fmla="*/ 2196165 w 4051578"/>
              <a:gd name="connsiteY9" fmla="*/ 395239 h 1507567"/>
              <a:gd name="connsiteX10" fmla="*/ 2917042 w 4051578"/>
              <a:gd name="connsiteY10" fmla="*/ 194615 h 1507567"/>
              <a:gd name="connsiteX11" fmla="*/ 2771345 w 4051578"/>
              <a:gd name="connsiteY11" fmla="*/ 170771 h 1507567"/>
              <a:gd name="connsiteX12" fmla="*/ 3361274 w 4051578"/>
              <a:gd name="connsiteY12" fmla="*/ 54418 h 1507567"/>
              <a:gd name="connsiteX13" fmla="*/ 3638865 w 4051578"/>
              <a:gd name="connsiteY13" fmla="*/ 95353 h 1507567"/>
              <a:gd name="connsiteX14" fmla="*/ 4051578 w 4051578"/>
              <a:gd name="connsiteY14"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1652625 w 4045303"/>
              <a:gd name="connsiteY6" fmla="*/ 509932 h 1507567"/>
              <a:gd name="connsiteX7" fmla="*/ 2264970 w 4045303"/>
              <a:gd name="connsiteY7" fmla="*/ 232711 h 1507567"/>
              <a:gd name="connsiteX8" fmla="*/ 2189890 w 4045303"/>
              <a:gd name="connsiteY8" fmla="*/ 395239 h 1507567"/>
              <a:gd name="connsiteX9" fmla="*/ 2910767 w 4045303"/>
              <a:gd name="connsiteY9" fmla="*/ 194615 h 1507567"/>
              <a:gd name="connsiteX10" fmla="*/ 2765070 w 4045303"/>
              <a:gd name="connsiteY10" fmla="*/ 170771 h 1507567"/>
              <a:gd name="connsiteX11" fmla="*/ 3354999 w 4045303"/>
              <a:gd name="connsiteY11" fmla="*/ 54418 h 1507567"/>
              <a:gd name="connsiteX12" fmla="*/ 3632590 w 4045303"/>
              <a:gd name="connsiteY12" fmla="*/ 95353 h 1507567"/>
              <a:gd name="connsiteX13" fmla="*/ 4045303 w 4045303"/>
              <a:gd name="connsiteY13"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1652625 w 4045303"/>
              <a:gd name="connsiteY6" fmla="*/ 509932 h 1507567"/>
              <a:gd name="connsiteX7" fmla="*/ 2264970 w 4045303"/>
              <a:gd name="connsiteY7" fmla="*/ 232711 h 1507567"/>
              <a:gd name="connsiteX8" fmla="*/ 2730601 w 4045303"/>
              <a:gd name="connsiteY8" fmla="*/ 313791 h 1507567"/>
              <a:gd name="connsiteX9" fmla="*/ 2910767 w 4045303"/>
              <a:gd name="connsiteY9" fmla="*/ 194615 h 1507567"/>
              <a:gd name="connsiteX10" fmla="*/ 2765070 w 4045303"/>
              <a:gd name="connsiteY10" fmla="*/ 170771 h 1507567"/>
              <a:gd name="connsiteX11" fmla="*/ 3354999 w 4045303"/>
              <a:gd name="connsiteY11" fmla="*/ 54418 h 1507567"/>
              <a:gd name="connsiteX12" fmla="*/ 3632590 w 4045303"/>
              <a:gd name="connsiteY12" fmla="*/ 95353 h 1507567"/>
              <a:gd name="connsiteX13" fmla="*/ 4045303 w 4045303"/>
              <a:gd name="connsiteY13"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1652625 w 4045303"/>
              <a:gd name="connsiteY6" fmla="*/ 509932 h 1507567"/>
              <a:gd name="connsiteX7" fmla="*/ 2566521 w 4045303"/>
              <a:gd name="connsiteY7" fmla="*/ 106012 h 1507567"/>
              <a:gd name="connsiteX8" fmla="*/ 2730601 w 4045303"/>
              <a:gd name="connsiteY8" fmla="*/ 313791 h 1507567"/>
              <a:gd name="connsiteX9" fmla="*/ 2910767 w 4045303"/>
              <a:gd name="connsiteY9" fmla="*/ 194615 h 1507567"/>
              <a:gd name="connsiteX10" fmla="*/ 2765070 w 4045303"/>
              <a:gd name="connsiteY10" fmla="*/ 170771 h 1507567"/>
              <a:gd name="connsiteX11" fmla="*/ 3354999 w 4045303"/>
              <a:gd name="connsiteY11" fmla="*/ 54418 h 1507567"/>
              <a:gd name="connsiteX12" fmla="*/ 3632590 w 4045303"/>
              <a:gd name="connsiteY12" fmla="*/ 95353 h 1507567"/>
              <a:gd name="connsiteX13" fmla="*/ 4045303 w 4045303"/>
              <a:gd name="connsiteY13"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1725413 w 4045303"/>
              <a:gd name="connsiteY6" fmla="*/ 365134 h 1507567"/>
              <a:gd name="connsiteX7" fmla="*/ 2566521 w 4045303"/>
              <a:gd name="connsiteY7" fmla="*/ 106012 h 1507567"/>
              <a:gd name="connsiteX8" fmla="*/ 2730601 w 4045303"/>
              <a:gd name="connsiteY8" fmla="*/ 313791 h 1507567"/>
              <a:gd name="connsiteX9" fmla="*/ 2910767 w 4045303"/>
              <a:gd name="connsiteY9" fmla="*/ 194615 h 1507567"/>
              <a:gd name="connsiteX10" fmla="*/ 2765070 w 4045303"/>
              <a:gd name="connsiteY10" fmla="*/ 170771 h 1507567"/>
              <a:gd name="connsiteX11" fmla="*/ 3354999 w 4045303"/>
              <a:gd name="connsiteY11" fmla="*/ 54418 h 1507567"/>
              <a:gd name="connsiteX12" fmla="*/ 3632590 w 4045303"/>
              <a:gd name="connsiteY12" fmla="*/ 95353 h 1507567"/>
              <a:gd name="connsiteX13" fmla="*/ 4045303 w 4045303"/>
              <a:gd name="connsiteY13"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2566521 w 4045303"/>
              <a:gd name="connsiteY6" fmla="*/ 106012 h 1507567"/>
              <a:gd name="connsiteX7" fmla="*/ 2730601 w 4045303"/>
              <a:gd name="connsiteY7" fmla="*/ 313791 h 1507567"/>
              <a:gd name="connsiteX8" fmla="*/ 2910767 w 4045303"/>
              <a:gd name="connsiteY8" fmla="*/ 194615 h 1507567"/>
              <a:gd name="connsiteX9" fmla="*/ 2765070 w 4045303"/>
              <a:gd name="connsiteY9" fmla="*/ 170771 h 1507567"/>
              <a:gd name="connsiteX10" fmla="*/ 3354999 w 4045303"/>
              <a:gd name="connsiteY10" fmla="*/ 54418 h 1507567"/>
              <a:gd name="connsiteX11" fmla="*/ 3632590 w 4045303"/>
              <a:gd name="connsiteY11" fmla="*/ 95353 h 1507567"/>
              <a:gd name="connsiteX12" fmla="*/ 4045303 w 4045303"/>
              <a:gd name="connsiteY12" fmla="*/ 3603 h 1507567"/>
              <a:gd name="connsiteX0" fmla="*/ 0 w 4045303"/>
              <a:gd name="connsiteY0" fmla="*/ 1538356 h 1574781"/>
              <a:gd name="connsiteX1" fmla="*/ 886973 w 4045303"/>
              <a:gd name="connsiteY1" fmla="*/ 1025678 h 1574781"/>
              <a:gd name="connsiteX2" fmla="*/ 500996 w 4045303"/>
              <a:gd name="connsiteY2" fmla="*/ 1006900 h 1574781"/>
              <a:gd name="connsiteX3" fmla="*/ 1291104 w 4045303"/>
              <a:gd name="connsiteY3" fmla="*/ 716162 h 1574781"/>
              <a:gd name="connsiteX4" fmla="*/ 1237570 w 4045303"/>
              <a:gd name="connsiteY4" fmla="*/ 882987 h 1574781"/>
              <a:gd name="connsiteX5" fmla="*/ 1877102 w 4045303"/>
              <a:gd name="connsiteY5" fmla="*/ 27902 h 1574781"/>
              <a:gd name="connsiteX6" fmla="*/ 2566521 w 4045303"/>
              <a:gd name="connsiteY6" fmla="*/ 173226 h 1574781"/>
              <a:gd name="connsiteX7" fmla="*/ 2730601 w 4045303"/>
              <a:gd name="connsiteY7" fmla="*/ 381005 h 1574781"/>
              <a:gd name="connsiteX8" fmla="*/ 2910767 w 4045303"/>
              <a:gd name="connsiteY8" fmla="*/ 261829 h 1574781"/>
              <a:gd name="connsiteX9" fmla="*/ 2765070 w 4045303"/>
              <a:gd name="connsiteY9" fmla="*/ 237985 h 1574781"/>
              <a:gd name="connsiteX10" fmla="*/ 3354999 w 4045303"/>
              <a:gd name="connsiteY10" fmla="*/ 121632 h 1574781"/>
              <a:gd name="connsiteX11" fmla="*/ 3632590 w 4045303"/>
              <a:gd name="connsiteY11" fmla="*/ 162567 h 1574781"/>
              <a:gd name="connsiteX12" fmla="*/ 4045303 w 4045303"/>
              <a:gd name="connsiteY12" fmla="*/ 70817 h 1574781"/>
              <a:gd name="connsiteX0" fmla="*/ 0 w 4045303"/>
              <a:gd name="connsiteY0" fmla="*/ 1628100 h 1664525"/>
              <a:gd name="connsiteX1" fmla="*/ 886973 w 4045303"/>
              <a:gd name="connsiteY1" fmla="*/ 1115422 h 1664525"/>
              <a:gd name="connsiteX2" fmla="*/ 500996 w 4045303"/>
              <a:gd name="connsiteY2" fmla="*/ 1096644 h 1664525"/>
              <a:gd name="connsiteX3" fmla="*/ 1291104 w 4045303"/>
              <a:gd name="connsiteY3" fmla="*/ 805906 h 1664525"/>
              <a:gd name="connsiteX4" fmla="*/ 2922094 w 4045303"/>
              <a:gd name="connsiteY4" fmla="*/ 4394 h 1664525"/>
              <a:gd name="connsiteX5" fmla="*/ 1877102 w 4045303"/>
              <a:gd name="connsiteY5" fmla="*/ 117646 h 1664525"/>
              <a:gd name="connsiteX6" fmla="*/ 2566521 w 4045303"/>
              <a:gd name="connsiteY6" fmla="*/ 262970 h 1664525"/>
              <a:gd name="connsiteX7" fmla="*/ 2730601 w 4045303"/>
              <a:gd name="connsiteY7" fmla="*/ 470749 h 1664525"/>
              <a:gd name="connsiteX8" fmla="*/ 2910767 w 4045303"/>
              <a:gd name="connsiteY8" fmla="*/ 351573 h 1664525"/>
              <a:gd name="connsiteX9" fmla="*/ 2765070 w 4045303"/>
              <a:gd name="connsiteY9" fmla="*/ 327729 h 1664525"/>
              <a:gd name="connsiteX10" fmla="*/ 3354999 w 4045303"/>
              <a:gd name="connsiteY10" fmla="*/ 211376 h 1664525"/>
              <a:gd name="connsiteX11" fmla="*/ 3632590 w 4045303"/>
              <a:gd name="connsiteY11" fmla="*/ 252311 h 1664525"/>
              <a:gd name="connsiteX12" fmla="*/ 4045303 w 4045303"/>
              <a:gd name="connsiteY12" fmla="*/ 160561 h 1664525"/>
              <a:gd name="connsiteX0" fmla="*/ 0 w 4045303"/>
              <a:gd name="connsiteY0" fmla="*/ 1623706 h 1660131"/>
              <a:gd name="connsiteX1" fmla="*/ 886973 w 4045303"/>
              <a:gd name="connsiteY1" fmla="*/ 1111028 h 1660131"/>
              <a:gd name="connsiteX2" fmla="*/ 500996 w 4045303"/>
              <a:gd name="connsiteY2" fmla="*/ 1092250 h 1660131"/>
              <a:gd name="connsiteX3" fmla="*/ 2922094 w 4045303"/>
              <a:gd name="connsiteY3" fmla="*/ 0 h 1660131"/>
              <a:gd name="connsiteX4" fmla="*/ 1877102 w 4045303"/>
              <a:gd name="connsiteY4" fmla="*/ 113252 h 1660131"/>
              <a:gd name="connsiteX5" fmla="*/ 2566521 w 4045303"/>
              <a:gd name="connsiteY5" fmla="*/ 258576 h 1660131"/>
              <a:gd name="connsiteX6" fmla="*/ 2730601 w 4045303"/>
              <a:gd name="connsiteY6" fmla="*/ 466355 h 1660131"/>
              <a:gd name="connsiteX7" fmla="*/ 2910767 w 4045303"/>
              <a:gd name="connsiteY7" fmla="*/ 347179 h 1660131"/>
              <a:gd name="connsiteX8" fmla="*/ 2765070 w 4045303"/>
              <a:gd name="connsiteY8" fmla="*/ 323335 h 1660131"/>
              <a:gd name="connsiteX9" fmla="*/ 3354999 w 4045303"/>
              <a:gd name="connsiteY9" fmla="*/ 206982 h 1660131"/>
              <a:gd name="connsiteX10" fmla="*/ 3632590 w 4045303"/>
              <a:gd name="connsiteY10" fmla="*/ 247917 h 1660131"/>
              <a:gd name="connsiteX11" fmla="*/ 4045303 w 4045303"/>
              <a:gd name="connsiteY11" fmla="*/ 156167 h 1660131"/>
              <a:gd name="connsiteX0" fmla="*/ 0 w 4045303"/>
              <a:gd name="connsiteY0" fmla="*/ 1623706 h 1660131"/>
              <a:gd name="connsiteX1" fmla="*/ 886973 w 4045303"/>
              <a:gd name="connsiteY1" fmla="*/ 1111028 h 1660131"/>
              <a:gd name="connsiteX2" fmla="*/ 2922094 w 4045303"/>
              <a:gd name="connsiteY2" fmla="*/ 0 h 1660131"/>
              <a:gd name="connsiteX3" fmla="*/ 1877102 w 4045303"/>
              <a:gd name="connsiteY3" fmla="*/ 113252 h 1660131"/>
              <a:gd name="connsiteX4" fmla="*/ 2566521 w 4045303"/>
              <a:gd name="connsiteY4" fmla="*/ 258576 h 1660131"/>
              <a:gd name="connsiteX5" fmla="*/ 2730601 w 4045303"/>
              <a:gd name="connsiteY5" fmla="*/ 466355 h 1660131"/>
              <a:gd name="connsiteX6" fmla="*/ 2910767 w 4045303"/>
              <a:gd name="connsiteY6" fmla="*/ 347179 h 1660131"/>
              <a:gd name="connsiteX7" fmla="*/ 2765070 w 4045303"/>
              <a:gd name="connsiteY7" fmla="*/ 323335 h 1660131"/>
              <a:gd name="connsiteX8" fmla="*/ 3354999 w 4045303"/>
              <a:gd name="connsiteY8" fmla="*/ 206982 h 1660131"/>
              <a:gd name="connsiteX9" fmla="*/ 3632590 w 4045303"/>
              <a:gd name="connsiteY9" fmla="*/ 247917 h 1660131"/>
              <a:gd name="connsiteX10" fmla="*/ 4045303 w 4045303"/>
              <a:gd name="connsiteY10" fmla="*/ 156167 h 1660131"/>
              <a:gd name="connsiteX0" fmla="*/ 0 w 4045303"/>
              <a:gd name="connsiteY0" fmla="*/ 1623706 h 1623706"/>
              <a:gd name="connsiteX1" fmla="*/ 2922094 w 4045303"/>
              <a:gd name="connsiteY1" fmla="*/ 0 h 1623706"/>
              <a:gd name="connsiteX2" fmla="*/ 1877102 w 4045303"/>
              <a:gd name="connsiteY2" fmla="*/ 113252 h 1623706"/>
              <a:gd name="connsiteX3" fmla="*/ 2566521 w 4045303"/>
              <a:gd name="connsiteY3" fmla="*/ 258576 h 1623706"/>
              <a:gd name="connsiteX4" fmla="*/ 2730601 w 4045303"/>
              <a:gd name="connsiteY4" fmla="*/ 466355 h 1623706"/>
              <a:gd name="connsiteX5" fmla="*/ 2910767 w 4045303"/>
              <a:gd name="connsiteY5" fmla="*/ 347179 h 1623706"/>
              <a:gd name="connsiteX6" fmla="*/ 2765070 w 4045303"/>
              <a:gd name="connsiteY6" fmla="*/ 323335 h 1623706"/>
              <a:gd name="connsiteX7" fmla="*/ 3354999 w 4045303"/>
              <a:gd name="connsiteY7" fmla="*/ 206982 h 1623706"/>
              <a:gd name="connsiteX8" fmla="*/ 3632590 w 4045303"/>
              <a:gd name="connsiteY8" fmla="*/ 247917 h 1623706"/>
              <a:gd name="connsiteX9" fmla="*/ 4045303 w 4045303"/>
              <a:gd name="connsiteY9" fmla="*/ 156167 h 1623706"/>
              <a:gd name="connsiteX0" fmla="*/ 1044992 w 2168201"/>
              <a:gd name="connsiteY0" fmla="*/ 0 h 492120"/>
              <a:gd name="connsiteX1" fmla="*/ 0 w 2168201"/>
              <a:gd name="connsiteY1" fmla="*/ 113252 h 492120"/>
              <a:gd name="connsiteX2" fmla="*/ 689419 w 2168201"/>
              <a:gd name="connsiteY2" fmla="*/ 258576 h 492120"/>
              <a:gd name="connsiteX3" fmla="*/ 853499 w 2168201"/>
              <a:gd name="connsiteY3" fmla="*/ 466355 h 492120"/>
              <a:gd name="connsiteX4" fmla="*/ 1033665 w 2168201"/>
              <a:gd name="connsiteY4" fmla="*/ 347179 h 492120"/>
              <a:gd name="connsiteX5" fmla="*/ 887968 w 2168201"/>
              <a:gd name="connsiteY5" fmla="*/ 323335 h 492120"/>
              <a:gd name="connsiteX6" fmla="*/ 1477897 w 2168201"/>
              <a:gd name="connsiteY6" fmla="*/ 206982 h 492120"/>
              <a:gd name="connsiteX7" fmla="*/ 1755488 w 2168201"/>
              <a:gd name="connsiteY7" fmla="*/ 247917 h 492120"/>
              <a:gd name="connsiteX8" fmla="*/ 2168201 w 2168201"/>
              <a:gd name="connsiteY8" fmla="*/ 156167 h 492120"/>
              <a:gd name="connsiteX0" fmla="*/ 1044992 w 2168201"/>
              <a:gd name="connsiteY0" fmla="*/ 0 h 492120"/>
              <a:gd name="connsiteX1" fmla="*/ 0 w 2168201"/>
              <a:gd name="connsiteY1" fmla="*/ 113252 h 492120"/>
              <a:gd name="connsiteX2" fmla="*/ 689419 w 2168201"/>
              <a:gd name="connsiteY2" fmla="*/ 258576 h 492120"/>
              <a:gd name="connsiteX3" fmla="*/ 853499 w 2168201"/>
              <a:gd name="connsiteY3" fmla="*/ 466355 h 492120"/>
              <a:gd name="connsiteX4" fmla="*/ 1033665 w 2168201"/>
              <a:gd name="connsiteY4" fmla="*/ 347179 h 492120"/>
              <a:gd name="connsiteX5" fmla="*/ 887968 w 2168201"/>
              <a:gd name="connsiteY5" fmla="*/ 323335 h 492120"/>
              <a:gd name="connsiteX6" fmla="*/ 1477897 w 2168201"/>
              <a:gd name="connsiteY6" fmla="*/ 206982 h 492120"/>
              <a:gd name="connsiteX7" fmla="*/ 1609912 w 2168201"/>
              <a:gd name="connsiteY7" fmla="*/ 266017 h 492120"/>
              <a:gd name="connsiteX8" fmla="*/ 2168201 w 2168201"/>
              <a:gd name="connsiteY8" fmla="*/ 156167 h 492120"/>
              <a:gd name="connsiteX0" fmla="*/ 1044992 w 1609912"/>
              <a:gd name="connsiteY0" fmla="*/ 0 h 492120"/>
              <a:gd name="connsiteX1" fmla="*/ 0 w 1609912"/>
              <a:gd name="connsiteY1" fmla="*/ 113252 h 492120"/>
              <a:gd name="connsiteX2" fmla="*/ 689419 w 1609912"/>
              <a:gd name="connsiteY2" fmla="*/ 258576 h 492120"/>
              <a:gd name="connsiteX3" fmla="*/ 853499 w 1609912"/>
              <a:gd name="connsiteY3" fmla="*/ 466355 h 492120"/>
              <a:gd name="connsiteX4" fmla="*/ 1033665 w 1609912"/>
              <a:gd name="connsiteY4" fmla="*/ 347179 h 492120"/>
              <a:gd name="connsiteX5" fmla="*/ 887968 w 1609912"/>
              <a:gd name="connsiteY5" fmla="*/ 323335 h 492120"/>
              <a:gd name="connsiteX6" fmla="*/ 1477897 w 1609912"/>
              <a:gd name="connsiteY6" fmla="*/ 206982 h 492120"/>
              <a:gd name="connsiteX7" fmla="*/ 1609912 w 1609912"/>
              <a:gd name="connsiteY7" fmla="*/ 266017 h 492120"/>
              <a:gd name="connsiteX8" fmla="*/ 1544304 w 1609912"/>
              <a:gd name="connsiteY8" fmla="*/ 74717 h 492120"/>
              <a:gd name="connsiteX0" fmla="*/ 1044992 w 1609912"/>
              <a:gd name="connsiteY0" fmla="*/ 0 h 487499"/>
              <a:gd name="connsiteX1" fmla="*/ 0 w 1609912"/>
              <a:gd name="connsiteY1" fmla="*/ 113252 h 487499"/>
              <a:gd name="connsiteX2" fmla="*/ 689419 w 1609912"/>
              <a:gd name="connsiteY2" fmla="*/ 258576 h 487499"/>
              <a:gd name="connsiteX3" fmla="*/ 853499 w 1609912"/>
              <a:gd name="connsiteY3" fmla="*/ 466355 h 487499"/>
              <a:gd name="connsiteX4" fmla="*/ 1033665 w 1609912"/>
              <a:gd name="connsiteY4" fmla="*/ 347179 h 487499"/>
              <a:gd name="connsiteX5" fmla="*/ 887968 w 1609912"/>
              <a:gd name="connsiteY5" fmla="*/ 323335 h 487499"/>
              <a:gd name="connsiteX6" fmla="*/ 1477897 w 1609912"/>
              <a:gd name="connsiteY6" fmla="*/ 206982 h 487499"/>
              <a:gd name="connsiteX7" fmla="*/ 1609912 w 1609912"/>
              <a:gd name="connsiteY7" fmla="*/ 266017 h 487499"/>
              <a:gd name="connsiteX8" fmla="*/ 1544304 w 1609912"/>
              <a:gd name="connsiteY8" fmla="*/ 74717 h 487499"/>
              <a:gd name="connsiteX0" fmla="*/ 1044992 w 1609912"/>
              <a:gd name="connsiteY0" fmla="*/ 0 h 466355"/>
              <a:gd name="connsiteX1" fmla="*/ 0 w 1609912"/>
              <a:gd name="connsiteY1" fmla="*/ 113252 h 466355"/>
              <a:gd name="connsiteX2" fmla="*/ 689419 w 1609912"/>
              <a:gd name="connsiteY2" fmla="*/ 258576 h 466355"/>
              <a:gd name="connsiteX3" fmla="*/ 853499 w 1609912"/>
              <a:gd name="connsiteY3" fmla="*/ 466355 h 466355"/>
              <a:gd name="connsiteX4" fmla="*/ 1033665 w 1609912"/>
              <a:gd name="connsiteY4" fmla="*/ 347179 h 466355"/>
              <a:gd name="connsiteX5" fmla="*/ 887968 w 1609912"/>
              <a:gd name="connsiteY5" fmla="*/ 323335 h 466355"/>
              <a:gd name="connsiteX6" fmla="*/ 1477897 w 1609912"/>
              <a:gd name="connsiteY6" fmla="*/ 206982 h 466355"/>
              <a:gd name="connsiteX7" fmla="*/ 1609912 w 1609912"/>
              <a:gd name="connsiteY7" fmla="*/ 266017 h 466355"/>
              <a:gd name="connsiteX8" fmla="*/ 1544304 w 1609912"/>
              <a:gd name="connsiteY8" fmla="*/ 74717 h 466355"/>
              <a:gd name="connsiteX0" fmla="*/ 1044992 w 1609912"/>
              <a:gd name="connsiteY0" fmla="*/ 0 h 492578"/>
              <a:gd name="connsiteX1" fmla="*/ 0 w 1609912"/>
              <a:gd name="connsiteY1" fmla="*/ 113252 h 492578"/>
              <a:gd name="connsiteX2" fmla="*/ 689419 w 1609912"/>
              <a:gd name="connsiteY2" fmla="*/ 258576 h 492578"/>
              <a:gd name="connsiteX3" fmla="*/ 863543 w 1609912"/>
              <a:gd name="connsiteY3" fmla="*/ 492578 h 492578"/>
              <a:gd name="connsiteX4" fmla="*/ 1033665 w 1609912"/>
              <a:gd name="connsiteY4" fmla="*/ 347179 h 492578"/>
              <a:gd name="connsiteX5" fmla="*/ 887968 w 1609912"/>
              <a:gd name="connsiteY5" fmla="*/ 323335 h 492578"/>
              <a:gd name="connsiteX6" fmla="*/ 1477897 w 1609912"/>
              <a:gd name="connsiteY6" fmla="*/ 206982 h 492578"/>
              <a:gd name="connsiteX7" fmla="*/ 1609912 w 1609912"/>
              <a:gd name="connsiteY7" fmla="*/ 266017 h 492578"/>
              <a:gd name="connsiteX8" fmla="*/ 1544304 w 1609912"/>
              <a:gd name="connsiteY8" fmla="*/ 74717 h 492578"/>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44304 w 1609912"/>
              <a:gd name="connsiteY8" fmla="*/ 74717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04132 w 1609912"/>
              <a:gd name="connsiteY8" fmla="*/ 79088 h 483837"/>
              <a:gd name="connsiteX0" fmla="*/ 1044992 w 1638856"/>
              <a:gd name="connsiteY0" fmla="*/ 0 h 483837"/>
              <a:gd name="connsiteX1" fmla="*/ 0 w 1638856"/>
              <a:gd name="connsiteY1" fmla="*/ 113252 h 483837"/>
              <a:gd name="connsiteX2" fmla="*/ 689419 w 1638856"/>
              <a:gd name="connsiteY2" fmla="*/ 258576 h 483837"/>
              <a:gd name="connsiteX3" fmla="*/ 868564 w 1638856"/>
              <a:gd name="connsiteY3" fmla="*/ 483837 h 483837"/>
              <a:gd name="connsiteX4" fmla="*/ 1033665 w 1638856"/>
              <a:gd name="connsiteY4" fmla="*/ 347179 h 483837"/>
              <a:gd name="connsiteX5" fmla="*/ 887968 w 1638856"/>
              <a:gd name="connsiteY5" fmla="*/ 323335 h 483837"/>
              <a:gd name="connsiteX6" fmla="*/ 1477897 w 1638856"/>
              <a:gd name="connsiteY6" fmla="*/ 206982 h 483837"/>
              <a:gd name="connsiteX7" fmla="*/ 1609912 w 1638856"/>
              <a:gd name="connsiteY7" fmla="*/ 266017 h 483837"/>
              <a:gd name="connsiteX8" fmla="*/ 1638856 w 1638856"/>
              <a:gd name="connsiteY8" fmla="*/ 58043 h 483837"/>
              <a:gd name="connsiteX0" fmla="*/ 1044992 w 1609912"/>
              <a:gd name="connsiteY0" fmla="*/ 0 h 483837"/>
              <a:gd name="connsiteX1" fmla="*/ 0 w 1609912"/>
              <a:gd name="connsiteY1" fmla="*/ 113252 h 483837"/>
              <a:gd name="connsiteX2" fmla="*/ 689419 w 1609912"/>
              <a:gd name="connsiteY2" fmla="*/ 258576 h 483837"/>
              <a:gd name="connsiteX3" fmla="*/ 868564 w 1609912"/>
              <a:gd name="connsiteY3" fmla="*/ 483837 h 483837"/>
              <a:gd name="connsiteX4" fmla="*/ 1033665 w 1609912"/>
              <a:gd name="connsiteY4" fmla="*/ 347179 h 483837"/>
              <a:gd name="connsiteX5" fmla="*/ 887968 w 1609912"/>
              <a:gd name="connsiteY5" fmla="*/ 323335 h 483837"/>
              <a:gd name="connsiteX6" fmla="*/ 1477897 w 1609912"/>
              <a:gd name="connsiteY6" fmla="*/ 206982 h 483837"/>
              <a:gd name="connsiteX7" fmla="*/ 1609912 w 1609912"/>
              <a:gd name="connsiteY7" fmla="*/ 266017 h 483837"/>
              <a:gd name="connsiteX8" fmla="*/ 1511041 w 1609912"/>
              <a:gd name="connsiteY8" fmla="*/ 82095 h 483837"/>
              <a:gd name="connsiteX0" fmla="*/ 1044992 w 1547732"/>
              <a:gd name="connsiteY0" fmla="*/ 0 h 483837"/>
              <a:gd name="connsiteX1" fmla="*/ 0 w 1547732"/>
              <a:gd name="connsiteY1" fmla="*/ 113252 h 483837"/>
              <a:gd name="connsiteX2" fmla="*/ 689419 w 1547732"/>
              <a:gd name="connsiteY2" fmla="*/ 258576 h 483837"/>
              <a:gd name="connsiteX3" fmla="*/ 868564 w 1547732"/>
              <a:gd name="connsiteY3" fmla="*/ 483837 h 483837"/>
              <a:gd name="connsiteX4" fmla="*/ 1033665 w 1547732"/>
              <a:gd name="connsiteY4" fmla="*/ 347179 h 483837"/>
              <a:gd name="connsiteX5" fmla="*/ 887968 w 1547732"/>
              <a:gd name="connsiteY5" fmla="*/ 323335 h 483837"/>
              <a:gd name="connsiteX6" fmla="*/ 1477897 w 1547732"/>
              <a:gd name="connsiteY6" fmla="*/ 206982 h 483837"/>
              <a:gd name="connsiteX7" fmla="*/ 1547732 w 1547732"/>
              <a:gd name="connsiteY7" fmla="*/ 263011 h 483837"/>
              <a:gd name="connsiteX8" fmla="*/ 1511041 w 1547732"/>
              <a:gd name="connsiteY8" fmla="*/ 82095 h 483837"/>
              <a:gd name="connsiteX0" fmla="*/ 1044992 w 1603003"/>
              <a:gd name="connsiteY0" fmla="*/ 0 h 483837"/>
              <a:gd name="connsiteX1" fmla="*/ 0 w 1603003"/>
              <a:gd name="connsiteY1" fmla="*/ 113252 h 483837"/>
              <a:gd name="connsiteX2" fmla="*/ 689419 w 1603003"/>
              <a:gd name="connsiteY2" fmla="*/ 258576 h 483837"/>
              <a:gd name="connsiteX3" fmla="*/ 868564 w 1603003"/>
              <a:gd name="connsiteY3" fmla="*/ 483837 h 483837"/>
              <a:gd name="connsiteX4" fmla="*/ 1033665 w 1603003"/>
              <a:gd name="connsiteY4" fmla="*/ 347179 h 483837"/>
              <a:gd name="connsiteX5" fmla="*/ 887968 w 1603003"/>
              <a:gd name="connsiteY5" fmla="*/ 323335 h 483837"/>
              <a:gd name="connsiteX6" fmla="*/ 1477897 w 1603003"/>
              <a:gd name="connsiteY6" fmla="*/ 206982 h 483837"/>
              <a:gd name="connsiteX7" fmla="*/ 1603003 w 1603003"/>
              <a:gd name="connsiteY7" fmla="*/ 272031 h 483837"/>
              <a:gd name="connsiteX8" fmla="*/ 1511041 w 1603003"/>
              <a:gd name="connsiteY8" fmla="*/ 82095 h 483837"/>
              <a:gd name="connsiteX0" fmla="*/ 1044992 w 1603003"/>
              <a:gd name="connsiteY0" fmla="*/ 0 h 483837"/>
              <a:gd name="connsiteX1" fmla="*/ 0 w 1603003"/>
              <a:gd name="connsiteY1" fmla="*/ 113252 h 483837"/>
              <a:gd name="connsiteX2" fmla="*/ 689419 w 1603003"/>
              <a:gd name="connsiteY2" fmla="*/ 258576 h 483837"/>
              <a:gd name="connsiteX3" fmla="*/ 868564 w 1603003"/>
              <a:gd name="connsiteY3" fmla="*/ 483837 h 483837"/>
              <a:gd name="connsiteX4" fmla="*/ 1033665 w 1603003"/>
              <a:gd name="connsiteY4" fmla="*/ 347179 h 483837"/>
              <a:gd name="connsiteX5" fmla="*/ 887968 w 1603003"/>
              <a:gd name="connsiteY5" fmla="*/ 323335 h 483837"/>
              <a:gd name="connsiteX6" fmla="*/ 1477897 w 1603003"/>
              <a:gd name="connsiteY6" fmla="*/ 206982 h 483837"/>
              <a:gd name="connsiteX7" fmla="*/ 1603003 w 1603003"/>
              <a:gd name="connsiteY7" fmla="*/ 272031 h 483837"/>
              <a:gd name="connsiteX8" fmla="*/ 1511041 w 1603003"/>
              <a:gd name="connsiteY8" fmla="*/ 82095 h 483837"/>
              <a:gd name="connsiteX0" fmla="*/ 1044992 w 1603003"/>
              <a:gd name="connsiteY0" fmla="*/ 0 h 483837"/>
              <a:gd name="connsiteX1" fmla="*/ 0 w 1603003"/>
              <a:gd name="connsiteY1" fmla="*/ 113252 h 483837"/>
              <a:gd name="connsiteX2" fmla="*/ 689419 w 1603003"/>
              <a:gd name="connsiteY2" fmla="*/ 258576 h 483837"/>
              <a:gd name="connsiteX3" fmla="*/ 868564 w 1603003"/>
              <a:gd name="connsiteY3" fmla="*/ 483837 h 483837"/>
              <a:gd name="connsiteX4" fmla="*/ 1033665 w 1603003"/>
              <a:gd name="connsiteY4" fmla="*/ 347179 h 483837"/>
              <a:gd name="connsiteX5" fmla="*/ 877605 w 1603003"/>
              <a:gd name="connsiteY5" fmla="*/ 320329 h 483837"/>
              <a:gd name="connsiteX6" fmla="*/ 1477897 w 1603003"/>
              <a:gd name="connsiteY6" fmla="*/ 206982 h 483837"/>
              <a:gd name="connsiteX7" fmla="*/ 1603003 w 1603003"/>
              <a:gd name="connsiteY7" fmla="*/ 272031 h 483837"/>
              <a:gd name="connsiteX8" fmla="*/ 1511041 w 1603003"/>
              <a:gd name="connsiteY8" fmla="*/ 82095 h 483837"/>
              <a:gd name="connsiteX0" fmla="*/ 1044992 w 1603003"/>
              <a:gd name="connsiteY0" fmla="*/ 0 h 483837"/>
              <a:gd name="connsiteX1" fmla="*/ 0 w 1603003"/>
              <a:gd name="connsiteY1" fmla="*/ 113252 h 483837"/>
              <a:gd name="connsiteX2" fmla="*/ 689419 w 1603003"/>
              <a:gd name="connsiteY2" fmla="*/ 258576 h 483837"/>
              <a:gd name="connsiteX3" fmla="*/ 868564 w 1603003"/>
              <a:gd name="connsiteY3" fmla="*/ 483837 h 483837"/>
              <a:gd name="connsiteX4" fmla="*/ 1023300 w 1603003"/>
              <a:gd name="connsiteY4" fmla="*/ 335153 h 483837"/>
              <a:gd name="connsiteX5" fmla="*/ 877605 w 1603003"/>
              <a:gd name="connsiteY5" fmla="*/ 320329 h 483837"/>
              <a:gd name="connsiteX6" fmla="*/ 1477897 w 1603003"/>
              <a:gd name="connsiteY6" fmla="*/ 206982 h 483837"/>
              <a:gd name="connsiteX7" fmla="*/ 1603003 w 1603003"/>
              <a:gd name="connsiteY7" fmla="*/ 272031 h 483837"/>
              <a:gd name="connsiteX8" fmla="*/ 1511041 w 1603003"/>
              <a:gd name="connsiteY8" fmla="*/ 82095 h 483837"/>
              <a:gd name="connsiteX0" fmla="*/ 1044992 w 1603003"/>
              <a:gd name="connsiteY0" fmla="*/ 0 h 483837"/>
              <a:gd name="connsiteX1" fmla="*/ 0 w 1603003"/>
              <a:gd name="connsiteY1" fmla="*/ 113252 h 483837"/>
              <a:gd name="connsiteX2" fmla="*/ 689419 w 1603003"/>
              <a:gd name="connsiteY2" fmla="*/ 258576 h 483837"/>
              <a:gd name="connsiteX3" fmla="*/ 868564 w 1603003"/>
              <a:gd name="connsiteY3" fmla="*/ 483837 h 483837"/>
              <a:gd name="connsiteX4" fmla="*/ 1030209 w 1603003"/>
              <a:gd name="connsiteY4" fmla="*/ 347179 h 483837"/>
              <a:gd name="connsiteX5" fmla="*/ 877605 w 1603003"/>
              <a:gd name="connsiteY5" fmla="*/ 320329 h 483837"/>
              <a:gd name="connsiteX6" fmla="*/ 1477897 w 1603003"/>
              <a:gd name="connsiteY6" fmla="*/ 206982 h 483837"/>
              <a:gd name="connsiteX7" fmla="*/ 1603003 w 1603003"/>
              <a:gd name="connsiteY7" fmla="*/ 272031 h 483837"/>
              <a:gd name="connsiteX8" fmla="*/ 1511041 w 1603003"/>
              <a:gd name="connsiteY8" fmla="*/ 82095 h 483837"/>
              <a:gd name="connsiteX0" fmla="*/ 1076082 w 1603003"/>
              <a:gd name="connsiteY0" fmla="*/ 0 h 498869"/>
              <a:gd name="connsiteX1" fmla="*/ 0 w 1603003"/>
              <a:gd name="connsiteY1" fmla="*/ 128284 h 498869"/>
              <a:gd name="connsiteX2" fmla="*/ 689419 w 1603003"/>
              <a:gd name="connsiteY2" fmla="*/ 273608 h 498869"/>
              <a:gd name="connsiteX3" fmla="*/ 868564 w 1603003"/>
              <a:gd name="connsiteY3" fmla="*/ 498869 h 498869"/>
              <a:gd name="connsiteX4" fmla="*/ 1030209 w 1603003"/>
              <a:gd name="connsiteY4" fmla="*/ 362211 h 498869"/>
              <a:gd name="connsiteX5" fmla="*/ 877605 w 1603003"/>
              <a:gd name="connsiteY5" fmla="*/ 335361 h 498869"/>
              <a:gd name="connsiteX6" fmla="*/ 1477897 w 1603003"/>
              <a:gd name="connsiteY6" fmla="*/ 222014 h 498869"/>
              <a:gd name="connsiteX7" fmla="*/ 1603003 w 1603003"/>
              <a:gd name="connsiteY7" fmla="*/ 287063 h 498869"/>
              <a:gd name="connsiteX8" fmla="*/ 1511041 w 1603003"/>
              <a:gd name="connsiteY8" fmla="*/ 97127 h 498869"/>
              <a:gd name="connsiteX0" fmla="*/ 1076082 w 1603003"/>
              <a:gd name="connsiteY0" fmla="*/ 0 h 498869"/>
              <a:gd name="connsiteX1" fmla="*/ 0 w 1603003"/>
              <a:gd name="connsiteY1" fmla="*/ 128284 h 498869"/>
              <a:gd name="connsiteX2" fmla="*/ 689419 w 1603003"/>
              <a:gd name="connsiteY2" fmla="*/ 273608 h 498869"/>
              <a:gd name="connsiteX3" fmla="*/ 868564 w 1603003"/>
              <a:gd name="connsiteY3" fmla="*/ 498869 h 498869"/>
              <a:gd name="connsiteX4" fmla="*/ 1030209 w 1603003"/>
              <a:gd name="connsiteY4" fmla="*/ 362211 h 498869"/>
              <a:gd name="connsiteX5" fmla="*/ 877605 w 1603003"/>
              <a:gd name="connsiteY5" fmla="*/ 335361 h 498869"/>
              <a:gd name="connsiteX6" fmla="*/ 1477897 w 1603003"/>
              <a:gd name="connsiteY6" fmla="*/ 222014 h 498869"/>
              <a:gd name="connsiteX7" fmla="*/ 1603003 w 1603003"/>
              <a:gd name="connsiteY7" fmla="*/ 287063 h 498869"/>
              <a:gd name="connsiteX8" fmla="*/ 1511041 w 1603003"/>
              <a:gd name="connsiteY8" fmla="*/ 97127 h 498869"/>
              <a:gd name="connsiteX9" fmla="*/ 1076082 w 1603003"/>
              <a:gd name="connsiteY9" fmla="*/ 0 h 498869"/>
              <a:gd name="connsiteX0" fmla="*/ 1076082 w 1634093"/>
              <a:gd name="connsiteY0" fmla="*/ 0 h 498869"/>
              <a:gd name="connsiteX1" fmla="*/ 0 w 1634093"/>
              <a:gd name="connsiteY1" fmla="*/ 128284 h 498869"/>
              <a:gd name="connsiteX2" fmla="*/ 689419 w 1634093"/>
              <a:gd name="connsiteY2" fmla="*/ 273608 h 498869"/>
              <a:gd name="connsiteX3" fmla="*/ 868564 w 1634093"/>
              <a:gd name="connsiteY3" fmla="*/ 498869 h 498869"/>
              <a:gd name="connsiteX4" fmla="*/ 1030209 w 1634093"/>
              <a:gd name="connsiteY4" fmla="*/ 362211 h 498869"/>
              <a:gd name="connsiteX5" fmla="*/ 877605 w 1634093"/>
              <a:gd name="connsiteY5" fmla="*/ 335361 h 498869"/>
              <a:gd name="connsiteX6" fmla="*/ 1477897 w 1634093"/>
              <a:gd name="connsiteY6" fmla="*/ 222014 h 498869"/>
              <a:gd name="connsiteX7" fmla="*/ 1634093 w 1634093"/>
              <a:gd name="connsiteY7" fmla="*/ 335167 h 498869"/>
              <a:gd name="connsiteX8" fmla="*/ 1511041 w 1634093"/>
              <a:gd name="connsiteY8" fmla="*/ 97127 h 498869"/>
              <a:gd name="connsiteX9" fmla="*/ 1076082 w 1634093"/>
              <a:gd name="connsiteY9" fmla="*/ 0 h 498869"/>
              <a:gd name="connsiteX0" fmla="*/ 1076082 w 1634093"/>
              <a:gd name="connsiteY0" fmla="*/ 0 h 498869"/>
              <a:gd name="connsiteX1" fmla="*/ 0 w 1634093"/>
              <a:gd name="connsiteY1" fmla="*/ 128284 h 498869"/>
              <a:gd name="connsiteX2" fmla="*/ 689419 w 1634093"/>
              <a:gd name="connsiteY2" fmla="*/ 273608 h 498869"/>
              <a:gd name="connsiteX3" fmla="*/ 868564 w 1634093"/>
              <a:gd name="connsiteY3" fmla="*/ 498869 h 498869"/>
              <a:gd name="connsiteX4" fmla="*/ 1030209 w 1634093"/>
              <a:gd name="connsiteY4" fmla="*/ 362211 h 498869"/>
              <a:gd name="connsiteX5" fmla="*/ 877605 w 1634093"/>
              <a:gd name="connsiteY5" fmla="*/ 335361 h 498869"/>
              <a:gd name="connsiteX6" fmla="*/ 1488261 w 1634093"/>
              <a:gd name="connsiteY6" fmla="*/ 306196 h 498869"/>
              <a:gd name="connsiteX7" fmla="*/ 1634093 w 1634093"/>
              <a:gd name="connsiteY7" fmla="*/ 335167 h 498869"/>
              <a:gd name="connsiteX8" fmla="*/ 1511041 w 1634093"/>
              <a:gd name="connsiteY8" fmla="*/ 97127 h 498869"/>
              <a:gd name="connsiteX9" fmla="*/ 1076082 w 1634093"/>
              <a:gd name="connsiteY9" fmla="*/ 0 h 498869"/>
              <a:gd name="connsiteX0" fmla="*/ 1076082 w 1634093"/>
              <a:gd name="connsiteY0" fmla="*/ 0 h 498869"/>
              <a:gd name="connsiteX1" fmla="*/ 0 w 1634093"/>
              <a:gd name="connsiteY1" fmla="*/ 128284 h 498869"/>
              <a:gd name="connsiteX2" fmla="*/ 689419 w 1634093"/>
              <a:gd name="connsiteY2" fmla="*/ 273608 h 498869"/>
              <a:gd name="connsiteX3" fmla="*/ 868564 w 1634093"/>
              <a:gd name="connsiteY3" fmla="*/ 498869 h 498869"/>
              <a:gd name="connsiteX4" fmla="*/ 1040572 w 1634093"/>
              <a:gd name="connsiteY4" fmla="*/ 374237 h 498869"/>
              <a:gd name="connsiteX5" fmla="*/ 877605 w 1634093"/>
              <a:gd name="connsiteY5" fmla="*/ 335361 h 498869"/>
              <a:gd name="connsiteX6" fmla="*/ 1488261 w 1634093"/>
              <a:gd name="connsiteY6" fmla="*/ 306196 h 498869"/>
              <a:gd name="connsiteX7" fmla="*/ 1634093 w 1634093"/>
              <a:gd name="connsiteY7" fmla="*/ 335167 h 498869"/>
              <a:gd name="connsiteX8" fmla="*/ 1511041 w 1634093"/>
              <a:gd name="connsiteY8" fmla="*/ 97127 h 498869"/>
              <a:gd name="connsiteX9" fmla="*/ 1076082 w 1634093"/>
              <a:gd name="connsiteY9" fmla="*/ 0 h 498869"/>
              <a:gd name="connsiteX0" fmla="*/ 1076082 w 1634093"/>
              <a:gd name="connsiteY0" fmla="*/ 0 h 540961"/>
              <a:gd name="connsiteX1" fmla="*/ 0 w 1634093"/>
              <a:gd name="connsiteY1" fmla="*/ 128284 h 540961"/>
              <a:gd name="connsiteX2" fmla="*/ 689419 w 1634093"/>
              <a:gd name="connsiteY2" fmla="*/ 273608 h 540961"/>
              <a:gd name="connsiteX3" fmla="*/ 910017 w 1634093"/>
              <a:gd name="connsiteY3" fmla="*/ 540961 h 540961"/>
              <a:gd name="connsiteX4" fmla="*/ 1040572 w 1634093"/>
              <a:gd name="connsiteY4" fmla="*/ 374237 h 540961"/>
              <a:gd name="connsiteX5" fmla="*/ 877605 w 1634093"/>
              <a:gd name="connsiteY5" fmla="*/ 335361 h 540961"/>
              <a:gd name="connsiteX6" fmla="*/ 1488261 w 1634093"/>
              <a:gd name="connsiteY6" fmla="*/ 306196 h 540961"/>
              <a:gd name="connsiteX7" fmla="*/ 1634093 w 1634093"/>
              <a:gd name="connsiteY7" fmla="*/ 335167 h 540961"/>
              <a:gd name="connsiteX8" fmla="*/ 1511041 w 1634093"/>
              <a:gd name="connsiteY8" fmla="*/ 97127 h 540961"/>
              <a:gd name="connsiteX9" fmla="*/ 1076082 w 1634093"/>
              <a:gd name="connsiteY9" fmla="*/ 0 h 540961"/>
              <a:gd name="connsiteX0" fmla="*/ 1076082 w 1634093"/>
              <a:gd name="connsiteY0" fmla="*/ 0 h 540961"/>
              <a:gd name="connsiteX1" fmla="*/ 0 w 1634093"/>
              <a:gd name="connsiteY1" fmla="*/ 128284 h 540961"/>
              <a:gd name="connsiteX2" fmla="*/ 689419 w 1634093"/>
              <a:gd name="connsiteY2" fmla="*/ 273608 h 540961"/>
              <a:gd name="connsiteX3" fmla="*/ 910017 w 1634093"/>
              <a:gd name="connsiteY3" fmla="*/ 540961 h 540961"/>
              <a:gd name="connsiteX4" fmla="*/ 1078572 w 1634093"/>
              <a:gd name="connsiteY4" fmla="*/ 404303 h 540961"/>
              <a:gd name="connsiteX5" fmla="*/ 877605 w 1634093"/>
              <a:gd name="connsiteY5" fmla="*/ 335361 h 540961"/>
              <a:gd name="connsiteX6" fmla="*/ 1488261 w 1634093"/>
              <a:gd name="connsiteY6" fmla="*/ 306196 h 540961"/>
              <a:gd name="connsiteX7" fmla="*/ 1634093 w 1634093"/>
              <a:gd name="connsiteY7" fmla="*/ 335167 h 540961"/>
              <a:gd name="connsiteX8" fmla="*/ 1511041 w 1634093"/>
              <a:gd name="connsiteY8" fmla="*/ 97127 h 540961"/>
              <a:gd name="connsiteX9" fmla="*/ 1076082 w 1634093"/>
              <a:gd name="connsiteY9" fmla="*/ 0 h 540961"/>
              <a:gd name="connsiteX0" fmla="*/ 1076082 w 1634093"/>
              <a:gd name="connsiteY0" fmla="*/ 0 h 540961"/>
              <a:gd name="connsiteX1" fmla="*/ 0 w 1634093"/>
              <a:gd name="connsiteY1" fmla="*/ 128284 h 540961"/>
              <a:gd name="connsiteX2" fmla="*/ 689419 w 1634093"/>
              <a:gd name="connsiteY2" fmla="*/ 273608 h 540961"/>
              <a:gd name="connsiteX3" fmla="*/ 910017 w 1634093"/>
              <a:gd name="connsiteY3" fmla="*/ 540961 h 540961"/>
              <a:gd name="connsiteX4" fmla="*/ 1078572 w 1634093"/>
              <a:gd name="connsiteY4" fmla="*/ 404303 h 540961"/>
              <a:gd name="connsiteX5" fmla="*/ 922513 w 1634093"/>
              <a:gd name="connsiteY5" fmla="*/ 392484 h 540961"/>
              <a:gd name="connsiteX6" fmla="*/ 1488261 w 1634093"/>
              <a:gd name="connsiteY6" fmla="*/ 306196 h 540961"/>
              <a:gd name="connsiteX7" fmla="*/ 1634093 w 1634093"/>
              <a:gd name="connsiteY7" fmla="*/ 335167 h 540961"/>
              <a:gd name="connsiteX8" fmla="*/ 1511041 w 1634093"/>
              <a:gd name="connsiteY8" fmla="*/ 97127 h 540961"/>
              <a:gd name="connsiteX9" fmla="*/ 1076082 w 1634093"/>
              <a:gd name="connsiteY9" fmla="*/ 0 h 54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4093" h="540961">
                <a:moveTo>
                  <a:pt x="1076082" y="0"/>
                </a:moveTo>
                <a:cubicBezTo>
                  <a:pt x="793700" y="25373"/>
                  <a:pt x="399776" y="88656"/>
                  <a:pt x="0" y="128284"/>
                </a:cubicBezTo>
                <a:lnTo>
                  <a:pt x="689419" y="273608"/>
                </a:lnTo>
                <a:cubicBezTo>
                  <a:pt x="824170" y="440213"/>
                  <a:pt x="821128" y="404984"/>
                  <a:pt x="910017" y="540961"/>
                </a:cubicBezTo>
                <a:cubicBezTo>
                  <a:pt x="1054934" y="496752"/>
                  <a:pt x="1172732" y="421490"/>
                  <a:pt x="1078572" y="404303"/>
                </a:cubicBezTo>
                <a:cubicBezTo>
                  <a:pt x="1023157" y="395383"/>
                  <a:pt x="957124" y="426880"/>
                  <a:pt x="922513" y="392484"/>
                </a:cubicBezTo>
                <a:cubicBezTo>
                  <a:pt x="872812" y="334676"/>
                  <a:pt x="1662341" y="153454"/>
                  <a:pt x="1488261" y="306196"/>
                </a:cubicBezTo>
                <a:cubicBezTo>
                  <a:pt x="1406902" y="393107"/>
                  <a:pt x="1357530" y="373296"/>
                  <a:pt x="1634093" y="335167"/>
                </a:cubicBezTo>
                <a:lnTo>
                  <a:pt x="1511041" y="97127"/>
                </a:lnTo>
                <a:lnTo>
                  <a:pt x="1076082" y="0"/>
                </a:lnTo>
                <a:close/>
              </a:path>
            </a:pathLst>
          </a:custGeom>
          <a:solidFill>
            <a:srgbClr val="505A64">
              <a:alpha val="54000"/>
            </a:srgbClr>
          </a:solidFill>
          <a:ln>
            <a:noFill/>
          </a:ln>
          <a:effectLst>
            <a:outerShdw blurRad="279400" dist="38100" dir="2700000" algn="tl" rotWithShape="0">
              <a:prstClr val="black">
                <a:alpha val="40000"/>
              </a:prstClr>
            </a:outerShdw>
          </a:effectLst>
          <a:scene3d>
            <a:camera prst="orthographicFront"/>
            <a:lightRig rig="freezing" dir="t"/>
          </a:scene3d>
          <a:sp3d prstMaterial="translucentPowder">
            <a:bevelT w="50800" h="133350"/>
            <a:bevelB w="25400" h="107950"/>
          </a:sp3d>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21" name="Textfeld 20"/>
          <p:cNvSpPr txBox="1"/>
          <p:nvPr/>
        </p:nvSpPr>
        <p:spPr>
          <a:xfrm>
            <a:off x="8522641" y="1847808"/>
            <a:ext cx="338234" cy="761747"/>
          </a:xfrm>
          <a:prstGeom prst="rect">
            <a:avLst/>
          </a:prstGeom>
          <a:noFill/>
          <a:extLst>
            <a:ext uri="{909E8E84-426E-40DD-AFC4-6F175D3DCCD1}">
              <a14:hiddenFill xmlns:a14="http://schemas.microsoft.com/office/drawing/2010/main">
                <a:solidFill>
                  <a:srgbClr val="BBE0E3"/>
                </a:solidFill>
              </a14:hiddenFill>
            </a:ext>
          </a:extLst>
        </p:spPr>
        <p:txBody>
          <a:bodyPr wrap="none" lIns="0" tIns="0" rIns="0" bIns="0" rtlCol="0">
            <a:spAutoFit/>
          </a:bodyPr>
          <a:lstStyle/>
          <a:p>
            <a:pPr>
              <a:lnSpc>
                <a:spcPct val="110000"/>
              </a:lnSpc>
              <a:spcBef>
                <a:spcPts val="0"/>
              </a:spcBef>
            </a:pPr>
            <a:r>
              <a:rPr lang="en-US" sz="4500" dirty="0">
                <a:solidFill>
                  <a:srgbClr val="9BAFBE"/>
                </a:solidFill>
                <a:latin typeface="微软雅黑" panose="020B0503020204020204" pitchFamily="34" charset="-122"/>
                <a:ea typeface="微软雅黑" panose="020B0503020204020204" pitchFamily="34" charset="-122"/>
              </a:rPr>
              <a:t>5</a:t>
            </a:r>
          </a:p>
        </p:txBody>
      </p:sp>
      <p:sp>
        <p:nvSpPr>
          <p:cNvPr id="22" name="Freihandform 21"/>
          <p:cNvSpPr/>
          <p:nvPr/>
        </p:nvSpPr>
        <p:spPr bwMode="auto">
          <a:xfrm rot="21360000">
            <a:off x="9394212" y="1978376"/>
            <a:ext cx="1811244" cy="1215108"/>
          </a:xfrm>
          <a:custGeom>
            <a:avLst/>
            <a:gdLst>
              <a:gd name="connsiteX0" fmla="*/ 0 w 1653898"/>
              <a:gd name="connsiteY0" fmla="*/ 0 h 395831"/>
              <a:gd name="connsiteX1" fmla="*/ 1371600 w 1653898"/>
              <a:gd name="connsiteY1" fmla="*/ 64438 h 395831"/>
              <a:gd name="connsiteX2" fmla="*/ 1653898 w 1653898"/>
              <a:gd name="connsiteY2" fmla="*/ 395831 h 395831"/>
              <a:gd name="connsiteX3" fmla="*/ 0 w 1653898"/>
              <a:gd name="connsiteY3" fmla="*/ 0 h 395831"/>
              <a:gd name="connsiteX0" fmla="*/ 0 w 1462421"/>
              <a:gd name="connsiteY0" fmla="*/ 0 h 825677"/>
              <a:gd name="connsiteX1" fmla="*/ 1371600 w 1462421"/>
              <a:gd name="connsiteY1" fmla="*/ 64438 h 825677"/>
              <a:gd name="connsiteX2" fmla="*/ 1462421 w 1462421"/>
              <a:gd name="connsiteY2" fmla="*/ 825677 h 825677"/>
              <a:gd name="connsiteX3" fmla="*/ 0 w 1462421"/>
              <a:gd name="connsiteY3" fmla="*/ 0 h 825677"/>
              <a:gd name="connsiteX0" fmla="*/ 0 w 1462421"/>
              <a:gd name="connsiteY0" fmla="*/ 0 h 825677"/>
              <a:gd name="connsiteX1" fmla="*/ 1262185 w 1462421"/>
              <a:gd name="connsiteY1" fmla="*/ 259823 h 825677"/>
              <a:gd name="connsiteX2" fmla="*/ 1462421 w 1462421"/>
              <a:gd name="connsiteY2" fmla="*/ 825677 h 825677"/>
              <a:gd name="connsiteX3" fmla="*/ 0 w 1462421"/>
              <a:gd name="connsiteY3" fmla="*/ 0 h 825677"/>
              <a:gd name="connsiteX0" fmla="*/ 0 w 1462421"/>
              <a:gd name="connsiteY0" fmla="*/ 0 h 825677"/>
              <a:gd name="connsiteX1" fmla="*/ 1359877 w 1462421"/>
              <a:gd name="connsiteY1" fmla="*/ 291084 h 825677"/>
              <a:gd name="connsiteX2" fmla="*/ 1462421 w 1462421"/>
              <a:gd name="connsiteY2" fmla="*/ 825677 h 825677"/>
              <a:gd name="connsiteX3" fmla="*/ 0 w 1462421"/>
              <a:gd name="connsiteY3" fmla="*/ 0 h 825677"/>
              <a:gd name="connsiteX0" fmla="*/ 0 w 1353006"/>
              <a:gd name="connsiteY0" fmla="*/ 0 h 896015"/>
              <a:gd name="connsiteX1" fmla="*/ 1250462 w 1353006"/>
              <a:gd name="connsiteY1" fmla="*/ 361422 h 896015"/>
              <a:gd name="connsiteX2" fmla="*/ 1353006 w 1353006"/>
              <a:gd name="connsiteY2" fmla="*/ 896015 h 896015"/>
              <a:gd name="connsiteX3" fmla="*/ 0 w 1353006"/>
              <a:gd name="connsiteY3" fmla="*/ 0 h 896015"/>
              <a:gd name="connsiteX0" fmla="*/ 0 w 1312002"/>
              <a:gd name="connsiteY0" fmla="*/ 0 h 1076435"/>
              <a:gd name="connsiteX1" fmla="*/ 1250462 w 1312002"/>
              <a:gd name="connsiteY1" fmla="*/ 361422 h 1076435"/>
              <a:gd name="connsiteX2" fmla="*/ 1312002 w 1312002"/>
              <a:gd name="connsiteY2" fmla="*/ 1076435 h 1076435"/>
              <a:gd name="connsiteX3" fmla="*/ 0 w 1312002"/>
              <a:gd name="connsiteY3" fmla="*/ 0 h 1076435"/>
              <a:gd name="connsiteX0" fmla="*/ 0 w 877354"/>
              <a:gd name="connsiteY0" fmla="*/ 0 h 908316"/>
              <a:gd name="connsiteX1" fmla="*/ 815814 w 877354"/>
              <a:gd name="connsiteY1" fmla="*/ 193303 h 908316"/>
              <a:gd name="connsiteX2" fmla="*/ 877354 w 877354"/>
              <a:gd name="connsiteY2" fmla="*/ 908316 h 908316"/>
              <a:gd name="connsiteX3" fmla="*/ 0 w 877354"/>
              <a:gd name="connsiteY3" fmla="*/ 0 h 908316"/>
              <a:gd name="connsiteX0" fmla="*/ 0 w 1201289"/>
              <a:gd name="connsiteY0" fmla="*/ 0 h 1064133"/>
              <a:gd name="connsiteX1" fmla="*/ 1139749 w 1201289"/>
              <a:gd name="connsiteY1" fmla="*/ 349120 h 1064133"/>
              <a:gd name="connsiteX2" fmla="*/ 1201289 w 1201289"/>
              <a:gd name="connsiteY2" fmla="*/ 1064133 h 1064133"/>
              <a:gd name="connsiteX3" fmla="*/ 0 w 1201289"/>
              <a:gd name="connsiteY3" fmla="*/ 0 h 1064133"/>
              <a:gd name="connsiteX0" fmla="*/ 0 w 1201289"/>
              <a:gd name="connsiteY0" fmla="*/ 0 h 1064133"/>
              <a:gd name="connsiteX1" fmla="*/ 878006 w 1201289"/>
              <a:gd name="connsiteY1" fmla="*/ 349120 h 1064133"/>
              <a:gd name="connsiteX2" fmla="*/ 1201289 w 1201289"/>
              <a:gd name="connsiteY2" fmla="*/ 1064133 h 1064133"/>
              <a:gd name="connsiteX3" fmla="*/ 0 w 1201289"/>
              <a:gd name="connsiteY3" fmla="*/ 0 h 1064133"/>
              <a:gd name="connsiteX0" fmla="*/ 0 w 1201289"/>
              <a:gd name="connsiteY0" fmla="*/ 0 h 1064133"/>
              <a:gd name="connsiteX1" fmla="*/ 752234 w 1201289"/>
              <a:gd name="connsiteY1" fmla="*/ 400108 h 1064133"/>
              <a:gd name="connsiteX2" fmla="*/ 1201289 w 1201289"/>
              <a:gd name="connsiteY2" fmla="*/ 1064133 h 1064133"/>
              <a:gd name="connsiteX3" fmla="*/ 0 w 1201289"/>
              <a:gd name="connsiteY3" fmla="*/ 0 h 1064133"/>
              <a:gd name="connsiteX0" fmla="*/ 0 w 1201289"/>
              <a:gd name="connsiteY0" fmla="*/ 0 h 1064133"/>
              <a:gd name="connsiteX1" fmla="*/ 847413 w 1201289"/>
              <a:gd name="connsiteY1" fmla="*/ 345720 h 1064133"/>
              <a:gd name="connsiteX2" fmla="*/ 1201289 w 1201289"/>
              <a:gd name="connsiteY2" fmla="*/ 1064133 h 1064133"/>
              <a:gd name="connsiteX3" fmla="*/ 0 w 1201289"/>
              <a:gd name="connsiteY3" fmla="*/ 0 h 1064133"/>
              <a:gd name="connsiteX0" fmla="*/ 0 w 868162"/>
              <a:gd name="connsiteY0" fmla="*/ 0 h 737804"/>
              <a:gd name="connsiteX1" fmla="*/ 847413 w 868162"/>
              <a:gd name="connsiteY1" fmla="*/ 345720 h 737804"/>
              <a:gd name="connsiteX2" fmla="*/ 868162 w 868162"/>
              <a:gd name="connsiteY2" fmla="*/ 737804 h 737804"/>
              <a:gd name="connsiteX3" fmla="*/ 0 w 868162"/>
              <a:gd name="connsiteY3" fmla="*/ 0 h 737804"/>
              <a:gd name="connsiteX0" fmla="*/ 0 w 1112908"/>
              <a:gd name="connsiteY0" fmla="*/ 0 h 992748"/>
              <a:gd name="connsiteX1" fmla="*/ 847413 w 1112908"/>
              <a:gd name="connsiteY1" fmla="*/ 345720 h 992748"/>
              <a:gd name="connsiteX2" fmla="*/ 1112908 w 1112908"/>
              <a:gd name="connsiteY2" fmla="*/ 992748 h 992748"/>
              <a:gd name="connsiteX3" fmla="*/ 0 w 1112908"/>
              <a:gd name="connsiteY3" fmla="*/ 0 h 992748"/>
              <a:gd name="connsiteX0" fmla="*/ 0 w 1112908"/>
              <a:gd name="connsiteY0" fmla="*/ 0 h 992748"/>
              <a:gd name="connsiteX1" fmla="*/ 679382 w 1112908"/>
              <a:gd name="connsiteY1" fmla="*/ 201135 h 992748"/>
              <a:gd name="connsiteX2" fmla="*/ 1112908 w 1112908"/>
              <a:gd name="connsiteY2" fmla="*/ 992748 h 992748"/>
              <a:gd name="connsiteX3" fmla="*/ 0 w 1112908"/>
              <a:gd name="connsiteY3" fmla="*/ 0 h 992748"/>
              <a:gd name="connsiteX0" fmla="*/ 0 w 706508"/>
              <a:gd name="connsiteY0" fmla="*/ 0 h 519917"/>
              <a:gd name="connsiteX1" fmla="*/ 679382 w 706508"/>
              <a:gd name="connsiteY1" fmla="*/ 201135 h 519917"/>
              <a:gd name="connsiteX2" fmla="*/ 706508 w 706508"/>
              <a:gd name="connsiteY2" fmla="*/ 519917 h 519917"/>
              <a:gd name="connsiteX3" fmla="*/ 0 w 706508"/>
              <a:gd name="connsiteY3" fmla="*/ 0 h 519917"/>
              <a:gd name="connsiteX0" fmla="*/ 0 w 733862"/>
              <a:gd name="connsiteY0" fmla="*/ 0 h 672317"/>
              <a:gd name="connsiteX1" fmla="*/ 679382 w 733862"/>
              <a:gd name="connsiteY1" fmla="*/ 201135 h 672317"/>
              <a:gd name="connsiteX2" fmla="*/ 733862 w 733862"/>
              <a:gd name="connsiteY2" fmla="*/ 672317 h 672317"/>
              <a:gd name="connsiteX3" fmla="*/ 0 w 733862"/>
              <a:gd name="connsiteY3" fmla="*/ 0 h 672317"/>
              <a:gd name="connsiteX0" fmla="*/ 0 w 811353"/>
              <a:gd name="connsiteY0" fmla="*/ 0 h 594826"/>
              <a:gd name="connsiteX1" fmla="*/ 756873 w 811353"/>
              <a:gd name="connsiteY1" fmla="*/ 123644 h 594826"/>
              <a:gd name="connsiteX2" fmla="*/ 811353 w 811353"/>
              <a:gd name="connsiteY2" fmla="*/ 594826 h 594826"/>
              <a:gd name="connsiteX3" fmla="*/ 0 w 811353"/>
              <a:gd name="connsiteY3" fmla="*/ 0 h 594826"/>
              <a:gd name="connsiteX0" fmla="*/ 0 w 966336"/>
              <a:gd name="connsiteY0" fmla="*/ 0 h 734310"/>
              <a:gd name="connsiteX1" fmla="*/ 756873 w 966336"/>
              <a:gd name="connsiteY1" fmla="*/ 123644 h 734310"/>
              <a:gd name="connsiteX2" fmla="*/ 966336 w 966336"/>
              <a:gd name="connsiteY2" fmla="*/ 734310 h 734310"/>
              <a:gd name="connsiteX3" fmla="*/ 0 w 966336"/>
              <a:gd name="connsiteY3" fmla="*/ 0 h 734310"/>
              <a:gd name="connsiteX0" fmla="*/ 0 w 1035842"/>
              <a:gd name="connsiteY0" fmla="*/ 0 h 734310"/>
              <a:gd name="connsiteX1" fmla="*/ 1035842 w 1035842"/>
              <a:gd name="connsiteY1" fmla="*/ 340620 h 734310"/>
              <a:gd name="connsiteX2" fmla="*/ 966336 w 1035842"/>
              <a:gd name="connsiteY2" fmla="*/ 734310 h 734310"/>
              <a:gd name="connsiteX3" fmla="*/ 0 w 1035842"/>
              <a:gd name="connsiteY3" fmla="*/ 0 h 734310"/>
              <a:gd name="connsiteX0" fmla="*/ 0 w 1035842"/>
              <a:gd name="connsiteY0" fmla="*/ 0 h 734310"/>
              <a:gd name="connsiteX1" fmla="*/ 1035842 w 1035842"/>
              <a:gd name="connsiteY1" fmla="*/ 340620 h 734310"/>
              <a:gd name="connsiteX2" fmla="*/ 857848 w 1035842"/>
              <a:gd name="connsiteY2" fmla="*/ 734310 h 734310"/>
              <a:gd name="connsiteX3" fmla="*/ 0 w 1035842"/>
              <a:gd name="connsiteY3" fmla="*/ 0 h 734310"/>
              <a:gd name="connsiteX0" fmla="*/ 0 w 994161"/>
              <a:gd name="connsiteY0" fmla="*/ 0 h 734310"/>
              <a:gd name="connsiteX1" fmla="*/ 994161 w 994161"/>
              <a:gd name="connsiteY1" fmla="*/ 302332 h 734310"/>
              <a:gd name="connsiteX2" fmla="*/ 857848 w 994161"/>
              <a:gd name="connsiteY2" fmla="*/ 734310 h 734310"/>
              <a:gd name="connsiteX3" fmla="*/ 0 w 994161"/>
              <a:gd name="connsiteY3" fmla="*/ 0 h 734310"/>
              <a:gd name="connsiteX0" fmla="*/ 0 w 994161"/>
              <a:gd name="connsiteY0" fmla="*/ 0 h 825042"/>
              <a:gd name="connsiteX1" fmla="*/ 994161 w 994161"/>
              <a:gd name="connsiteY1" fmla="*/ 302332 h 825042"/>
              <a:gd name="connsiteX2" fmla="*/ 938938 w 994161"/>
              <a:gd name="connsiteY2" fmla="*/ 825042 h 825042"/>
              <a:gd name="connsiteX3" fmla="*/ 0 w 994161"/>
              <a:gd name="connsiteY3" fmla="*/ 0 h 825042"/>
              <a:gd name="connsiteX0" fmla="*/ 0 w 938938"/>
              <a:gd name="connsiteY0" fmla="*/ 0 h 825042"/>
              <a:gd name="connsiteX1" fmla="*/ 925133 w 938938"/>
              <a:gd name="connsiteY1" fmla="*/ 196188 h 825042"/>
              <a:gd name="connsiteX2" fmla="*/ 938938 w 938938"/>
              <a:gd name="connsiteY2" fmla="*/ 825042 h 825042"/>
              <a:gd name="connsiteX3" fmla="*/ 0 w 938938"/>
              <a:gd name="connsiteY3" fmla="*/ 0 h 825042"/>
              <a:gd name="connsiteX0" fmla="*/ 0 w 938938"/>
              <a:gd name="connsiteY0" fmla="*/ 0 h 825042"/>
              <a:gd name="connsiteX1" fmla="*/ 808794 w 938938"/>
              <a:gd name="connsiteY1" fmla="*/ 238863 h 825042"/>
              <a:gd name="connsiteX2" fmla="*/ 938938 w 938938"/>
              <a:gd name="connsiteY2" fmla="*/ 825042 h 825042"/>
              <a:gd name="connsiteX3" fmla="*/ 0 w 938938"/>
              <a:gd name="connsiteY3" fmla="*/ 0 h 825042"/>
              <a:gd name="connsiteX0" fmla="*/ 0 w 1000070"/>
              <a:gd name="connsiteY0" fmla="*/ 0 h 888911"/>
              <a:gd name="connsiteX1" fmla="*/ 869926 w 1000070"/>
              <a:gd name="connsiteY1" fmla="*/ 302732 h 888911"/>
              <a:gd name="connsiteX2" fmla="*/ 1000070 w 1000070"/>
              <a:gd name="connsiteY2" fmla="*/ 888911 h 888911"/>
              <a:gd name="connsiteX3" fmla="*/ 0 w 1000070"/>
              <a:gd name="connsiteY3" fmla="*/ 0 h 888911"/>
            </a:gdLst>
            <a:ahLst/>
            <a:cxnLst>
              <a:cxn ang="0">
                <a:pos x="connsiteX0" y="connsiteY0"/>
              </a:cxn>
              <a:cxn ang="0">
                <a:pos x="connsiteX1" y="connsiteY1"/>
              </a:cxn>
              <a:cxn ang="0">
                <a:pos x="connsiteX2" y="connsiteY2"/>
              </a:cxn>
              <a:cxn ang="0">
                <a:pos x="connsiteX3" y="connsiteY3"/>
              </a:cxn>
            </a:cxnLst>
            <a:rect l="l" t="t" r="r" b="b"/>
            <a:pathLst>
              <a:path w="1000070" h="888911">
                <a:moveTo>
                  <a:pt x="0" y="0"/>
                </a:moveTo>
                <a:lnTo>
                  <a:pt x="869926" y="302732"/>
                </a:lnTo>
                <a:lnTo>
                  <a:pt x="1000070" y="888911"/>
                </a:lnTo>
                <a:lnTo>
                  <a:pt x="0" y="0"/>
                </a:lnTo>
                <a:close/>
              </a:path>
            </a:pathLst>
          </a:custGeom>
          <a:gradFill flip="none" rotWithShape="1">
            <a:gsLst>
              <a:gs pos="0">
                <a:srgbClr val="647887">
                  <a:shade val="30000"/>
                  <a:satMod val="115000"/>
                </a:srgbClr>
              </a:gs>
              <a:gs pos="80000">
                <a:schemeClr val="accent2">
                  <a:lumMod val="75000"/>
                </a:schemeClr>
              </a:gs>
              <a:gs pos="100000">
                <a:srgbClr val="647887">
                  <a:shade val="100000"/>
                  <a:satMod val="115000"/>
                </a:srgbClr>
              </a:gs>
            </a:gsLst>
            <a:path path="circle">
              <a:fillToRect l="100000" b="100000"/>
            </a:path>
            <a:tileRect t="-100000" r="-100000"/>
          </a:gradFill>
          <a:ln>
            <a:noFill/>
          </a:ln>
          <a:effectLst>
            <a:outerShdw blurRad="190500" dist="50800" dir="5400000" algn="ctr" rotWithShape="0">
              <a:srgbClr val="000000">
                <a:alpha val="76000"/>
              </a:srgbClr>
            </a:outerShdw>
          </a:effectLs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a:solidFill>
                <a:schemeClr val="tx1"/>
              </a:solidFill>
              <a:latin typeface="微软雅黑" panose="020B0503020204020204" pitchFamily="34" charset="-122"/>
              <a:ea typeface="微软雅黑" panose="020B0503020204020204" pitchFamily="34" charset="-122"/>
            </a:endParaRPr>
          </a:p>
        </p:txBody>
      </p:sp>
      <p:sp>
        <p:nvSpPr>
          <p:cNvPr id="23" name="Freihandform 22"/>
          <p:cNvSpPr/>
          <p:nvPr/>
        </p:nvSpPr>
        <p:spPr bwMode="auto">
          <a:xfrm>
            <a:off x="6420951" y="2431207"/>
            <a:ext cx="2226550" cy="620068"/>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478895"/>
              <a:gd name="connsiteY0" fmla="*/ 2873847 h 3227537"/>
              <a:gd name="connsiteX1" fmla="*/ 160498 w 5478895"/>
              <a:gd name="connsiteY1" fmla="*/ 2672237 h 3227537"/>
              <a:gd name="connsiteX2" fmla="*/ 418903 w 5478895"/>
              <a:gd name="connsiteY2" fmla="*/ 2371827 h 3227537"/>
              <a:gd name="connsiteX3" fmla="*/ 914255 w 5478895"/>
              <a:gd name="connsiteY3" fmla="*/ 2223421 h 3227537"/>
              <a:gd name="connsiteX4" fmla="*/ 1020177 w 5478895"/>
              <a:gd name="connsiteY4" fmla="*/ 1819583 h 3227537"/>
              <a:gd name="connsiteX5" fmla="*/ 714335 w 5478895"/>
              <a:gd name="connsiteY5" fmla="*/ 1913113 h 3227537"/>
              <a:gd name="connsiteX6" fmla="*/ 1523207 w 5478895"/>
              <a:gd name="connsiteY6" fmla="*/ 1199395 h 3227537"/>
              <a:gd name="connsiteX7" fmla="*/ 1433591 w 5478895"/>
              <a:gd name="connsiteY7" fmla="*/ 1471142 h 3227537"/>
              <a:gd name="connsiteX8" fmla="*/ 2320564 w 5478895"/>
              <a:gd name="connsiteY8" fmla="*/ 958464 h 3227537"/>
              <a:gd name="connsiteX9" fmla="*/ 1934587 w 5478895"/>
              <a:gd name="connsiteY9" fmla="*/ 939686 h 3227537"/>
              <a:gd name="connsiteX10" fmla="*/ 2724695 w 5478895"/>
              <a:gd name="connsiteY10" fmla="*/ 648948 h 3227537"/>
              <a:gd name="connsiteX11" fmla="*/ 2671161 w 5478895"/>
              <a:gd name="connsiteY11" fmla="*/ 815773 h 3227537"/>
              <a:gd name="connsiteX12" fmla="*/ 3352287 w 5478895"/>
              <a:gd name="connsiteY12" fmla="*/ 521781 h 3227537"/>
              <a:gd name="connsiteX13" fmla="*/ 3086216 w 5478895"/>
              <a:gd name="connsiteY13" fmla="*/ 509932 h 3227537"/>
              <a:gd name="connsiteX14" fmla="*/ 3698561 w 5478895"/>
              <a:gd name="connsiteY14" fmla="*/ 232711 h 3227537"/>
              <a:gd name="connsiteX15" fmla="*/ 3623481 w 5478895"/>
              <a:gd name="connsiteY15" fmla="*/ 395239 h 3227537"/>
              <a:gd name="connsiteX16" fmla="*/ 4344358 w 5478895"/>
              <a:gd name="connsiteY16" fmla="*/ 194615 h 3227537"/>
              <a:gd name="connsiteX17" fmla="*/ 4198661 w 5478895"/>
              <a:gd name="connsiteY17" fmla="*/ 170771 h 3227537"/>
              <a:gd name="connsiteX18" fmla="*/ 4788590 w 5478895"/>
              <a:gd name="connsiteY18" fmla="*/ 54418 h 3227537"/>
              <a:gd name="connsiteX19" fmla="*/ 5066181 w 5478895"/>
              <a:gd name="connsiteY19" fmla="*/ 95353 h 3227537"/>
              <a:gd name="connsiteX20" fmla="*/ 5478894 w 5478895"/>
              <a:gd name="connsiteY20" fmla="*/ 3603 h 3227537"/>
              <a:gd name="connsiteX21" fmla="*/ 1736389 w 5478895"/>
              <a:gd name="connsiteY21" fmla="*/ 3227537 h 3227537"/>
              <a:gd name="connsiteX22" fmla="*/ 212611 w 5478895"/>
              <a:gd name="connsiteY22" fmla="*/ 2873847 h 3227537"/>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21" fmla="*/ 212611 w 5478894"/>
              <a:gd name="connsiteY21" fmla="*/ 2873847 h 2873847"/>
              <a:gd name="connsiteX0" fmla="*/ 212611 w 5478894"/>
              <a:gd name="connsiteY0" fmla="*/ 2873847 h 2963441"/>
              <a:gd name="connsiteX1" fmla="*/ 160498 w 5478894"/>
              <a:gd name="connsiteY1" fmla="*/ 2672237 h 2963441"/>
              <a:gd name="connsiteX2" fmla="*/ 418903 w 5478894"/>
              <a:gd name="connsiteY2" fmla="*/ 2371827 h 2963441"/>
              <a:gd name="connsiteX3" fmla="*/ 914255 w 5478894"/>
              <a:gd name="connsiteY3" fmla="*/ 2223421 h 2963441"/>
              <a:gd name="connsiteX4" fmla="*/ 1020177 w 5478894"/>
              <a:gd name="connsiteY4" fmla="*/ 1819583 h 2963441"/>
              <a:gd name="connsiteX5" fmla="*/ 714335 w 5478894"/>
              <a:gd name="connsiteY5" fmla="*/ 1913113 h 2963441"/>
              <a:gd name="connsiteX6" fmla="*/ 1523207 w 5478894"/>
              <a:gd name="connsiteY6" fmla="*/ 1199395 h 2963441"/>
              <a:gd name="connsiteX7" fmla="*/ 1433591 w 5478894"/>
              <a:gd name="connsiteY7" fmla="*/ 1471142 h 2963441"/>
              <a:gd name="connsiteX8" fmla="*/ 2320564 w 5478894"/>
              <a:gd name="connsiteY8" fmla="*/ 958464 h 2963441"/>
              <a:gd name="connsiteX9" fmla="*/ 1934587 w 5478894"/>
              <a:gd name="connsiteY9" fmla="*/ 939686 h 2963441"/>
              <a:gd name="connsiteX10" fmla="*/ 2724695 w 5478894"/>
              <a:gd name="connsiteY10" fmla="*/ 648948 h 2963441"/>
              <a:gd name="connsiteX11" fmla="*/ 2671161 w 5478894"/>
              <a:gd name="connsiteY11" fmla="*/ 815773 h 2963441"/>
              <a:gd name="connsiteX12" fmla="*/ 3352287 w 5478894"/>
              <a:gd name="connsiteY12" fmla="*/ 521781 h 2963441"/>
              <a:gd name="connsiteX13" fmla="*/ 3086216 w 5478894"/>
              <a:gd name="connsiteY13" fmla="*/ 509932 h 2963441"/>
              <a:gd name="connsiteX14" fmla="*/ 3698561 w 5478894"/>
              <a:gd name="connsiteY14" fmla="*/ 232711 h 2963441"/>
              <a:gd name="connsiteX15" fmla="*/ 3623481 w 5478894"/>
              <a:gd name="connsiteY15" fmla="*/ 395239 h 2963441"/>
              <a:gd name="connsiteX16" fmla="*/ 4344358 w 5478894"/>
              <a:gd name="connsiteY16" fmla="*/ 194615 h 2963441"/>
              <a:gd name="connsiteX17" fmla="*/ 4198661 w 5478894"/>
              <a:gd name="connsiteY17" fmla="*/ 170771 h 2963441"/>
              <a:gd name="connsiteX18" fmla="*/ 4788590 w 5478894"/>
              <a:gd name="connsiteY18" fmla="*/ 54418 h 2963441"/>
              <a:gd name="connsiteX19" fmla="*/ 5066181 w 5478894"/>
              <a:gd name="connsiteY19" fmla="*/ 95353 h 2963441"/>
              <a:gd name="connsiteX20" fmla="*/ 5478894 w 5478894"/>
              <a:gd name="connsiteY20" fmla="*/ 3603 h 2963441"/>
              <a:gd name="connsiteX21" fmla="*/ 315554 w 5478894"/>
              <a:gd name="connsiteY21" fmla="*/ 2963441 h 2963441"/>
              <a:gd name="connsiteX0" fmla="*/ 212611 w 5478894"/>
              <a:gd name="connsiteY0" fmla="*/ 2873847 h 2873847"/>
              <a:gd name="connsiteX1" fmla="*/ 160498 w 5478894"/>
              <a:gd name="connsiteY1" fmla="*/ 2672237 h 2873847"/>
              <a:gd name="connsiteX2" fmla="*/ 418903 w 5478894"/>
              <a:gd name="connsiteY2" fmla="*/ 2371827 h 2873847"/>
              <a:gd name="connsiteX3" fmla="*/ 914255 w 5478894"/>
              <a:gd name="connsiteY3" fmla="*/ 2223421 h 2873847"/>
              <a:gd name="connsiteX4" fmla="*/ 1020177 w 5478894"/>
              <a:gd name="connsiteY4" fmla="*/ 1819583 h 2873847"/>
              <a:gd name="connsiteX5" fmla="*/ 714335 w 5478894"/>
              <a:gd name="connsiteY5" fmla="*/ 1913113 h 2873847"/>
              <a:gd name="connsiteX6" fmla="*/ 1523207 w 5478894"/>
              <a:gd name="connsiteY6" fmla="*/ 1199395 h 2873847"/>
              <a:gd name="connsiteX7" fmla="*/ 1433591 w 5478894"/>
              <a:gd name="connsiteY7" fmla="*/ 1471142 h 2873847"/>
              <a:gd name="connsiteX8" fmla="*/ 2320564 w 5478894"/>
              <a:gd name="connsiteY8" fmla="*/ 958464 h 2873847"/>
              <a:gd name="connsiteX9" fmla="*/ 1934587 w 5478894"/>
              <a:gd name="connsiteY9" fmla="*/ 939686 h 2873847"/>
              <a:gd name="connsiteX10" fmla="*/ 2724695 w 5478894"/>
              <a:gd name="connsiteY10" fmla="*/ 648948 h 2873847"/>
              <a:gd name="connsiteX11" fmla="*/ 2671161 w 5478894"/>
              <a:gd name="connsiteY11" fmla="*/ 815773 h 2873847"/>
              <a:gd name="connsiteX12" fmla="*/ 3352287 w 5478894"/>
              <a:gd name="connsiteY12" fmla="*/ 521781 h 2873847"/>
              <a:gd name="connsiteX13" fmla="*/ 3086216 w 5478894"/>
              <a:gd name="connsiteY13" fmla="*/ 509932 h 2873847"/>
              <a:gd name="connsiteX14" fmla="*/ 3698561 w 5478894"/>
              <a:gd name="connsiteY14" fmla="*/ 232711 h 2873847"/>
              <a:gd name="connsiteX15" fmla="*/ 3623481 w 5478894"/>
              <a:gd name="connsiteY15" fmla="*/ 395239 h 2873847"/>
              <a:gd name="connsiteX16" fmla="*/ 4344358 w 5478894"/>
              <a:gd name="connsiteY16" fmla="*/ 194615 h 2873847"/>
              <a:gd name="connsiteX17" fmla="*/ 4198661 w 5478894"/>
              <a:gd name="connsiteY17" fmla="*/ 170771 h 2873847"/>
              <a:gd name="connsiteX18" fmla="*/ 4788590 w 5478894"/>
              <a:gd name="connsiteY18" fmla="*/ 54418 h 2873847"/>
              <a:gd name="connsiteX19" fmla="*/ 5066181 w 5478894"/>
              <a:gd name="connsiteY19" fmla="*/ 95353 h 2873847"/>
              <a:gd name="connsiteX20" fmla="*/ 5478894 w 5478894"/>
              <a:gd name="connsiteY20" fmla="*/ 3603 h 2873847"/>
              <a:gd name="connsiteX0" fmla="*/ 160498 w 5478894"/>
              <a:gd name="connsiteY0" fmla="*/ 2672237 h 2700819"/>
              <a:gd name="connsiteX1" fmla="*/ 418903 w 5478894"/>
              <a:gd name="connsiteY1" fmla="*/ 2371827 h 2700819"/>
              <a:gd name="connsiteX2" fmla="*/ 914255 w 5478894"/>
              <a:gd name="connsiteY2" fmla="*/ 2223421 h 2700819"/>
              <a:gd name="connsiteX3" fmla="*/ 1020177 w 5478894"/>
              <a:gd name="connsiteY3" fmla="*/ 1819583 h 2700819"/>
              <a:gd name="connsiteX4" fmla="*/ 714335 w 5478894"/>
              <a:gd name="connsiteY4" fmla="*/ 1913113 h 2700819"/>
              <a:gd name="connsiteX5" fmla="*/ 1523207 w 5478894"/>
              <a:gd name="connsiteY5" fmla="*/ 1199395 h 2700819"/>
              <a:gd name="connsiteX6" fmla="*/ 1433591 w 5478894"/>
              <a:gd name="connsiteY6" fmla="*/ 1471142 h 2700819"/>
              <a:gd name="connsiteX7" fmla="*/ 2320564 w 5478894"/>
              <a:gd name="connsiteY7" fmla="*/ 958464 h 2700819"/>
              <a:gd name="connsiteX8" fmla="*/ 1934587 w 5478894"/>
              <a:gd name="connsiteY8" fmla="*/ 939686 h 2700819"/>
              <a:gd name="connsiteX9" fmla="*/ 2724695 w 5478894"/>
              <a:gd name="connsiteY9" fmla="*/ 648948 h 2700819"/>
              <a:gd name="connsiteX10" fmla="*/ 2671161 w 5478894"/>
              <a:gd name="connsiteY10" fmla="*/ 815773 h 2700819"/>
              <a:gd name="connsiteX11" fmla="*/ 3352287 w 5478894"/>
              <a:gd name="connsiteY11" fmla="*/ 521781 h 2700819"/>
              <a:gd name="connsiteX12" fmla="*/ 3086216 w 5478894"/>
              <a:gd name="connsiteY12" fmla="*/ 509932 h 2700819"/>
              <a:gd name="connsiteX13" fmla="*/ 3698561 w 5478894"/>
              <a:gd name="connsiteY13" fmla="*/ 232711 h 2700819"/>
              <a:gd name="connsiteX14" fmla="*/ 3623481 w 5478894"/>
              <a:gd name="connsiteY14" fmla="*/ 395239 h 2700819"/>
              <a:gd name="connsiteX15" fmla="*/ 4344358 w 5478894"/>
              <a:gd name="connsiteY15" fmla="*/ 194615 h 2700819"/>
              <a:gd name="connsiteX16" fmla="*/ 4198661 w 5478894"/>
              <a:gd name="connsiteY16" fmla="*/ 170771 h 2700819"/>
              <a:gd name="connsiteX17" fmla="*/ 4788590 w 5478894"/>
              <a:gd name="connsiteY17" fmla="*/ 54418 h 2700819"/>
              <a:gd name="connsiteX18" fmla="*/ 5066181 w 5478894"/>
              <a:gd name="connsiteY18" fmla="*/ 95353 h 2700819"/>
              <a:gd name="connsiteX19" fmla="*/ 5478894 w 5478894"/>
              <a:gd name="connsiteY19" fmla="*/ 3603 h 2700819"/>
              <a:gd name="connsiteX0" fmla="*/ 0 w 5059991"/>
              <a:gd name="connsiteY0" fmla="*/ 2371827 h 2464870"/>
              <a:gd name="connsiteX1" fmla="*/ 495352 w 5059991"/>
              <a:gd name="connsiteY1" fmla="*/ 2223421 h 2464870"/>
              <a:gd name="connsiteX2" fmla="*/ 601274 w 5059991"/>
              <a:gd name="connsiteY2" fmla="*/ 1819583 h 2464870"/>
              <a:gd name="connsiteX3" fmla="*/ 295432 w 5059991"/>
              <a:gd name="connsiteY3" fmla="*/ 1913113 h 2464870"/>
              <a:gd name="connsiteX4" fmla="*/ 1104304 w 5059991"/>
              <a:gd name="connsiteY4" fmla="*/ 1199395 h 2464870"/>
              <a:gd name="connsiteX5" fmla="*/ 1014688 w 5059991"/>
              <a:gd name="connsiteY5" fmla="*/ 1471142 h 2464870"/>
              <a:gd name="connsiteX6" fmla="*/ 1901661 w 5059991"/>
              <a:gd name="connsiteY6" fmla="*/ 958464 h 2464870"/>
              <a:gd name="connsiteX7" fmla="*/ 1515684 w 5059991"/>
              <a:gd name="connsiteY7" fmla="*/ 939686 h 2464870"/>
              <a:gd name="connsiteX8" fmla="*/ 2305792 w 5059991"/>
              <a:gd name="connsiteY8" fmla="*/ 648948 h 2464870"/>
              <a:gd name="connsiteX9" fmla="*/ 2252258 w 5059991"/>
              <a:gd name="connsiteY9" fmla="*/ 815773 h 2464870"/>
              <a:gd name="connsiteX10" fmla="*/ 2933384 w 5059991"/>
              <a:gd name="connsiteY10" fmla="*/ 521781 h 2464870"/>
              <a:gd name="connsiteX11" fmla="*/ 2667313 w 5059991"/>
              <a:gd name="connsiteY11" fmla="*/ 509932 h 2464870"/>
              <a:gd name="connsiteX12" fmla="*/ 3279658 w 5059991"/>
              <a:gd name="connsiteY12" fmla="*/ 232711 h 2464870"/>
              <a:gd name="connsiteX13" fmla="*/ 3204578 w 5059991"/>
              <a:gd name="connsiteY13" fmla="*/ 395239 h 2464870"/>
              <a:gd name="connsiteX14" fmla="*/ 3925455 w 5059991"/>
              <a:gd name="connsiteY14" fmla="*/ 194615 h 2464870"/>
              <a:gd name="connsiteX15" fmla="*/ 3779758 w 5059991"/>
              <a:gd name="connsiteY15" fmla="*/ 170771 h 2464870"/>
              <a:gd name="connsiteX16" fmla="*/ 4369687 w 5059991"/>
              <a:gd name="connsiteY16" fmla="*/ 54418 h 2464870"/>
              <a:gd name="connsiteX17" fmla="*/ 4647278 w 5059991"/>
              <a:gd name="connsiteY17" fmla="*/ 95353 h 2464870"/>
              <a:gd name="connsiteX18" fmla="*/ 5059991 w 5059991"/>
              <a:gd name="connsiteY18" fmla="*/ 3603 h 2464870"/>
              <a:gd name="connsiteX0" fmla="*/ 231045 w 4795684"/>
              <a:gd name="connsiteY0" fmla="*/ 2223421 h 2223421"/>
              <a:gd name="connsiteX1" fmla="*/ 336967 w 4795684"/>
              <a:gd name="connsiteY1" fmla="*/ 1819583 h 2223421"/>
              <a:gd name="connsiteX2" fmla="*/ 31125 w 4795684"/>
              <a:gd name="connsiteY2" fmla="*/ 1913113 h 2223421"/>
              <a:gd name="connsiteX3" fmla="*/ 839997 w 4795684"/>
              <a:gd name="connsiteY3" fmla="*/ 1199395 h 2223421"/>
              <a:gd name="connsiteX4" fmla="*/ 750381 w 4795684"/>
              <a:gd name="connsiteY4" fmla="*/ 1471142 h 2223421"/>
              <a:gd name="connsiteX5" fmla="*/ 1637354 w 4795684"/>
              <a:gd name="connsiteY5" fmla="*/ 958464 h 2223421"/>
              <a:gd name="connsiteX6" fmla="*/ 1251377 w 4795684"/>
              <a:gd name="connsiteY6" fmla="*/ 939686 h 2223421"/>
              <a:gd name="connsiteX7" fmla="*/ 2041485 w 4795684"/>
              <a:gd name="connsiteY7" fmla="*/ 648948 h 2223421"/>
              <a:gd name="connsiteX8" fmla="*/ 1987951 w 4795684"/>
              <a:gd name="connsiteY8" fmla="*/ 815773 h 2223421"/>
              <a:gd name="connsiteX9" fmla="*/ 2669077 w 4795684"/>
              <a:gd name="connsiteY9" fmla="*/ 521781 h 2223421"/>
              <a:gd name="connsiteX10" fmla="*/ 2403006 w 4795684"/>
              <a:gd name="connsiteY10" fmla="*/ 509932 h 2223421"/>
              <a:gd name="connsiteX11" fmla="*/ 3015351 w 4795684"/>
              <a:gd name="connsiteY11" fmla="*/ 232711 h 2223421"/>
              <a:gd name="connsiteX12" fmla="*/ 2940271 w 4795684"/>
              <a:gd name="connsiteY12" fmla="*/ 395239 h 2223421"/>
              <a:gd name="connsiteX13" fmla="*/ 3661148 w 4795684"/>
              <a:gd name="connsiteY13" fmla="*/ 194615 h 2223421"/>
              <a:gd name="connsiteX14" fmla="*/ 3515451 w 4795684"/>
              <a:gd name="connsiteY14" fmla="*/ 170771 h 2223421"/>
              <a:gd name="connsiteX15" fmla="*/ 4105380 w 4795684"/>
              <a:gd name="connsiteY15" fmla="*/ 54418 h 2223421"/>
              <a:gd name="connsiteX16" fmla="*/ 4382971 w 4795684"/>
              <a:gd name="connsiteY16" fmla="*/ 95353 h 2223421"/>
              <a:gd name="connsiteX17" fmla="*/ 4795684 w 4795684"/>
              <a:gd name="connsiteY17" fmla="*/ 3603 h 2223421"/>
              <a:gd name="connsiteX0" fmla="*/ 336967 w 4795684"/>
              <a:gd name="connsiteY0" fmla="*/ 1819583 h 1934417"/>
              <a:gd name="connsiteX1" fmla="*/ 31125 w 4795684"/>
              <a:gd name="connsiteY1" fmla="*/ 1913113 h 1934417"/>
              <a:gd name="connsiteX2" fmla="*/ 839997 w 4795684"/>
              <a:gd name="connsiteY2" fmla="*/ 1199395 h 1934417"/>
              <a:gd name="connsiteX3" fmla="*/ 750381 w 4795684"/>
              <a:gd name="connsiteY3" fmla="*/ 1471142 h 1934417"/>
              <a:gd name="connsiteX4" fmla="*/ 1637354 w 4795684"/>
              <a:gd name="connsiteY4" fmla="*/ 958464 h 1934417"/>
              <a:gd name="connsiteX5" fmla="*/ 1251377 w 4795684"/>
              <a:gd name="connsiteY5" fmla="*/ 939686 h 1934417"/>
              <a:gd name="connsiteX6" fmla="*/ 2041485 w 4795684"/>
              <a:gd name="connsiteY6" fmla="*/ 648948 h 1934417"/>
              <a:gd name="connsiteX7" fmla="*/ 1987951 w 4795684"/>
              <a:gd name="connsiteY7" fmla="*/ 815773 h 1934417"/>
              <a:gd name="connsiteX8" fmla="*/ 2669077 w 4795684"/>
              <a:gd name="connsiteY8" fmla="*/ 521781 h 1934417"/>
              <a:gd name="connsiteX9" fmla="*/ 2403006 w 4795684"/>
              <a:gd name="connsiteY9" fmla="*/ 509932 h 1934417"/>
              <a:gd name="connsiteX10" fmla="*/ 3015351 w 4795684"/>
              <a:gd name="connsiteY10" fmla="*/ 232711 h 1934417"/>
              <a:gd name="connsiteX11" fmla="*/ 2940271 w 4795684"/>
              <a:gd name="connsiteY11" fmla="*/ 395239 h 1934417"/>
              <a:gd name="connsiteX12" fmla="*/ 3661148 w 4795684"/>
              <a:gd name="connsiteY12" fmla="*/ 194615 h 1934417"/>
              <a:gd name="connsiteX13" fmla="*/ 3515451 w 4795684"/>
              <a:gd name="connsiteY13" fmla="*/ 170771 h 1934417"/>
              <a:gd name="connsiteX14" fmla="*/ 4105380 w 4795684"/>
              <a:gd name="connsiteY14" fmla="*/ 54418 h 1934417"/>
              <a:gd name="connsiteX15" fmla="*/ 4382971 w 4795684"/>
              <a:gd name="connsiteY15" fmla="*/ 95353 h 1934417"/>
              <a:gd name="connsiteX16" fmla="*/ 4795684 w 4795684"/>
              <a:gd name="connsiteY16" fmla="*/ 3603 h 1934417"/>
              <a:gd name="connsiteX0" fmla="*/ 31125 w 4795684"/>
              <a:gd name="connsiteY0" fmla="*/ 1913113 h 1913113"/>
              <a:gd name="connsiteX1" fmla="*/ 839997 w 4795684"/>
              <a:gd name="connsiteY1" fmla="*/ 1199395 h 1913113"/>
              <a:gd name="connsiteX2" fmla="*/ 750381 w 4795684"/>
              <a:gd name="connsiteY2" fmla="*/ 1471142 h 1913113"/>
              <a:gd name="connsiteX3" fmla="*/ 1637354 w 4795684"/>
              <a:gd name="connsiteY3" fmla="*/ 958464 h 1913113"/>
              <a:gd name="connsiteX4" fmla="*/ 1251377 w 4795684"/>
              <a:gd name="connsiteY4" fmla="*/ 939686 h 1913113"/>
              <a:gd name="connsiteX5" fmla="*/ 2041485 w 4795684"/>
              <a:gd name="connsiteY5" fmla="*/ 648948 h 1913113"/>
              <a:gd name="connsiteX6" fmla="*/ 1987951 w 4795684"/>
              <a:gd name="connsiteY6" fmla="*/ 815773 h 1913113"/>
              <a:gd name="connsiteX7" fmla="*/ 2669077 w 4795684"/>
              <a:gd name="connsiteY7" fmla="*/ 521781 h 1913113"/>
              <a:gd name="connsiteX8" fmla="*/ 2403006 w 4795684"/>
              <a:gd name="connsiteY8" fmla="*/ 509932 h 1913113"/>
              <a:gd name="connsiteX9" fmla="*/ 3015351 w 4795684"/>
              <a:gd name="connsiteY9" fmla="*/ 232711 h 1913113"/>
              <a:gd name="connsiteX10" fmla="*/ 2940271 w 4795684"/>
              <a:gd name="connsiteY10" fmla="*/ 395239 h 1913113"/>
              <a:gd name="connsiteX11" fmla="*/ 3661148 w 4795684"/>
              <a:gd name="connsiteY11" fmla="*/ 194615 h 1913113"/>
              <a:gd name="connsiteX12" fmla="*/ 3515451 w 4795684"/>
              <a:gd name="connsiteY12" fmla="*/ 170771 h 1913113"/>
              <a:gd name="connsiteX13" fmla="*/ 4105380 w 4795684"/>
              <a:gd name="connsiteY13" fmla="*/ 54418 h 1913113"/>
              <a:gd name="connsiteX14" fmla="*/ 4382971 w 4795684"/>
              <a:gd name="connsiteY14" fmla="*/ 95353 h 1913113"/>
              <a:gd name="connsiteX15" fmla="*/ 4795684 w 4795684"/>
              <a:gd name="connsiteY15" fmla="*/ 3603 h 1913113"/>
              <a:gd name="connsiteX0" fmla="*/ 95891 w 4051578"/>
              <a:gd name="connsiteY0" fmla="*/ 1199395 h 1507567"/>
              <a:gd name="connsiteX1" fmla="*/ 6275 w 4051578"/>
              <a:gd name="connsiteY1" fmla="*/ 1471142 h 1507567"/>
              <a:gd name="connsiteX2" fmla="*/ 893248 w 4051578"/>
              <a:gd name="connsiteY2" fmla="*/ 958464 h 1507567"/>
              <a:gd name="connsiteX3" fmla="*/ 507271 w 4051578"/>
              <a:gd name="connsiteY3" fmla="*/ 939686 h 1507567"/>
              <a:gd name="connsiteX4" fmla="*/ 1297379 w 4051578"/>
              <a:gd name="connsiteY4" fmla="*/ 648948 h 1507567"/>
              <a:gd name="connsiteX5" fmla="*/ 1243845 w 4051578"/>
              <a:gd name="connsiteY5" fmla="*/ 815773 h 1507567"/>
              <a:gd name="connsiteX6" fmla="*/ 1924971 w 4051578"/>
              <a:gd name="connsiteY6" fmla="*/ 521781 h 1507567"/>
              <a:gd name="connsiteX7" fmla="*/ 1658900 w 4051578"/>
              <a:gd name="connsiteY7" fmla="*/ 509932 h 1507567"/>
              <a:gd name="connsiteX8" fmla="*/ 2271245 w 4051578"/>
              <a:gd name="connsiteY8" fmla="*/ 232711 h 1507567"/>
              <a:gd name="connsiteX9" fmla="*/ 2196165 w 4051578"/>
              <a:gd name="connsiteY9" fmla="*/ 395239 h 1507567"/>
              <a:gd name="connsiteX10" fmla="*/ 2917042 w 4051578"/>
              <a:gd name="connsiteY10" fmla="*/ 194615 h 1507567"/>
              <a:gd name="connsiteX11" fmla="*/ 2771345 w 4051578"/>
              <a:gd name="connsiteY11" fmla="*/ 170771 h 1507567"/>
              <a:gd name="connsiteX12" fmla="*/ 3361274 w 4051578"/>
              <a:gd name="connsiteY12" fmla="*/ 54418 h 1507567"/>
              <a:gd name="connsiteX13" fmla="*/ 3638865 w 4051578"/>
              <a:gd name="connsiteY13" fmla="*/ 95353 h 1507567"/>
              <a:gd name="connsiteX14" fmla="*/ 4051578 w 4051578"/>
              <a:gd name="connsiteY14" fmla="*/ 3603 h 1507567"/>
              <a:gd name="connsiteX0" fmla="*/ 0 w 4045303"/>
              <a:gd name="connsiteY0" fmla="*/ 1471142 h 1507567"/>
              <a:gd name="connsiteX1" fmla="*/ 886973 w 4045303"/>
              <a:gd name="connsiteY1" fmla="*/ 958464 h 1507567"/>
              <a:gd name="connsiteX2" fmla="*/ 500996 w 4045303"/>
              <a:gd name="connsiteY2" fmla="*/ 939686 h 1507567"/>
              <a:gd name="connsiteX3" fmla="*/ 1291104 w 4045303"/>
              <a:gd name="connsiteY3" fmla="*/ 648948 h 1507567"/>
              <a:gd name="connsiteX4" fmla="*/ 1237570 w 4045303"/>
              <a:gd name="connsiteY4" fmla="*/ 815773 h 1507567"/>
              <a:gd name="connsiteX5" fmla="*/ 1918696 w 4045303"/>
              <a:gd name="connsiteY5" fmla="*/ 521781 h 1507567"/>
              <a:gd name="connsiteX6" fmla="*/ 1652625 w 4045303"/>
              <a:gd name="connsiteY6" fmla="*/ 509932 h 1507567"/>
              <a:gd name="connsiteX7" fmla="*/ 2264970 w 4045303"/>
              <a:gd name="connsiteY7" fmla="*/ 232711 h 1507567"/>
              <a:gd name="connsiteX8" fmla="*/ 2189890 w 4045303"/>
              <a:gd name="connsiteY8" fmla="*/ 395239 h 1507567"/>
              <a:gd name="connsiteX9" fmla="*/ 2910767 w 4045303"/>
              <a:gd name="connsiteY9" fmla="*/ 194615 h 1507567"/>
              <a:gd name="connsiteX10" fmla="*/ 2765070 w 4045303"/>
              <a:gd name="connsiteY10" fmla="*/ 170771 h 1507567"/>
              <a:gd name="connsiteX11" fmla="*/ 3354999 w 4045303"/>
              <a:gd name="connsiteY11" fmla="*/ 54418 h 1507567"/>
              <a:gd name="connsiteX12" fmla="*/ 3632590 w 4045303"/>
              <a:gd name="connsiteY12" fmla="*/ 95353 h 1507567"/>
              <a:gd name="connsiteX13" fmla="*/ 4045303 w 4045303"/>
              <a:gd name="connsiteY13" fmla="*/ 3603 h 1507567"/>
              <a:gd name="connsiteX0" fmla="*/ 395415 w 3553745"/>
              <a:gd name="connsiteY0" fmla="*/ 958464 h 958464"/>
              <a:gd name="connsiteX1" fmla="*/ 9438 w 3553745"/>
              <a:gd name="connsiteY1" fmla="*/ 939686 h 958464"/>
              <a:gd name="connsiteX2" fmla="*/ 799546 w 3553745"/>
              <a:gd name="connsiteY2" fmla="*/ 648948 h 958464"/>
              <a:gd name="connsiteX3" fmla="*/ 746012 w 3553745"/>
              <a:gd name="connsiteY3" fmla="*/ 815773 h 958464"/>
              <a:gd name="connsiteX4" fmla="*/ 1427138 w 3553745"/>
              <a:gd name="connsiteY4" fmla="*/ 521781 h 958464"/>
              <a:gd name="connsiteX5" fmla="*/ 1161067 w 3553745"/>
              <a:gd name="connsiteY5" fmla="*/ 509932 h 958464"/>
              <a:gd name="connsiteX6" fmla="*/ 1773412 w 3553745"/>
              <a:gd name="connsiteY6" fmla="*/ 232711 h 958464"/>
              <a:gd name="connsiteX7" fmla="*/ 1698332 w 3553745"/>
              <a:gd name="connsiteY7" fmla="*/ 395239 h 958464"/>
              <a:gd name="connsiteX8" fmla="*/ 2419209 w 3553745"/>
              <a:gd name="connsiteY8" fmla="*/ 194615 h 958464"/>
              <a:gd name="connsiteX9" fmla="*/ 2273512 w 3553745"/>
              <a:gd name="connsiteY9" fmla="*/ 170771 h 958464"/>
              <a:gd name="connsiteX10" fmla="*/ 2863441 w 3553745"/>
              <a:gd name="connsiteY10" fmla="*/ 54418 h 958464"/>
              <a:gd name="connsiteX11" fmla="*/ 3141032 w 3553745"/>
              <a:gd name="connsiteY11" fmla="*/ 95353 h 958464"/>
              <a:gd name="connsiteX12" fmla="*/ 3553745 w 3553745"/>
              <a:gd name="connsiteY12" fmla="*/ 3603 h 958464"/>
              <a:gd name="connsiteX0" fmla="*/ 395415 w 3553745"/>
              <a:gd name="connsiteY0" fmla="*/ 958464 h 958464"/>
              <a:gd name="connsiteX1" fmla="*/ 9438 w 3553745"/>
              <a:gd name="connsiteY1" fmla="*/ 939686 h 958464"/>
              <a:gd name="connsiteX2" fmla="*/ 799546 w 3553745"/>
              <a:gd name="connsiteY2" fmla="*/ 648948 h 958464"/>
              <a:gd name="connsiteX3" fmla="*/ 1260727 w 3553745"/>
              <a:gd name="connsiteY3" fmla="*/ 731779 h 958464"/>
              <a:gd name="connsiteX4" fmla="*/ 1427138 w 3553745"/>
              <a:gd name="connsiteY4" fmla="*/ 521781 h 958464"/>
              <a:gd name="connsiteX5" fmla="*/ 1161067 w 3553745"/>
              <a:gd name="connsiteY5" fmla="*/ 509932 h 958464"/>
              <a:gd name="connsiteX6" fmla="*/ 1773412 w 3553745"/>
              <a:gd name="connsiteY6" fmla="*/ 232711 h 958464"/>
              <a:gd name="connsiteX7" fmla="*/ 1698332 w 3553745"/>
              <a:gd name="connsiteY7" fmla="*/ 395239 h 958464"/>
              <a:gd name="connsiteX8" fmla="*/ 2419209 w 3553745"/>
              <a:gd name="connsiteY8" fmla="*/ 194615 h 958464"/>
              <a:gd name="connsiteX9" fmla="*/ 2273512 w 3553745"/>
              <a:gd name="connsiteY9" fmla="*/ 170771 h 958464"/>
              <a:gd name="connsiteX10" fmla="*/ 2863441 w 3553745"/>
              <a:gd name="connsiteY10" fmla="*/ 54418 h 958464"/>
              <a:gd name="connsiteX11" fmla="*/ 3141032 w 3553745"/>
              <a:gd name="connsiteY11" fmla="*/ 95353 h 958464"/>
              <a:gd name="connsiteX12" fmla="*/ 3553745 w 3553745"/>
              <a:gd name="connsiteY12" fmla="*/ 3603 h 958464"/>
              <a:gd name="connsiteX0" fmla="*/ 393634 w 3551964"/>
              <a:gd name="connsiteY0" fmla="*/ 958464 h 958464"/>
              <a:gd name="connsiteX1" fmla="*/ 7657 w 3551964"/>
              <a:gd name="connsiteY1" fmla="*/ 939686 h 958464"/>
              <a:gd name="connsiteX2" fmla="*/ 1012230 w 3551964"/>
              <a:gd name="connsiteY2" fmla="*/ 443629 h 958464"/>
              <a:gd name="connsiteX3" fmla="*/ 1258946 w 3551964"/>
              <a:gd name="connsiteY3" fmla="*/ 731779 h 958464"/>
              <a:gd name="connsiteX4" fmla="*/ 1425357 w 3551964"/>
              <a:gd name="connsiteY4" fmla="*/ 521781 h 958464"/>
              <a:gd name="connsiteX5" fmla="*/ 1159286 w 3551964"/>
              <a:gd name="connsiteY5" fmla="*/ 509932 h 958464"/>
              <a:gd name="connsiteX6" fmla="*/ 1771631 w 3551964"/>
              <a:gd name="connsiteY6" fmla="*/ 232711 h 958464"/>
              <a:gd name="connsiteX7" fmla="*/ 1696551 w 3551964"/>
              <a:gd name="connsiteY7" fmla="*/ 395239 h 958464"/>
              <a:gd name="connsiteX8" fmla="*/ 2417428 w 3551964"/>
              <a:gd name="connsiteY8" fmla="*/ 194615 h 958464"/>
              <a:gd name="connsiteX9" fmla="*/ 2271731 w 3551964"/>
              <a:gd name="connsiteY9" fmla="*/ 170771 h 958464"/>
              <a:gd name="connsiteX10" fmla="*/ 2861660 w 3551964"/>
              <a:gd name="connsiteY10" fmla="*/ 54418 h 958464"/>
              <a:gd name="connsiteX11" fmla="*/ 3139251 w 3551964"/>
              <a:gd name="connsiteY11" fmla="*/ 95353 h 958464"/>
              <a:gd name="connsiteX12" fmla="*/ 3551964 w 3551964"/>
              <a:gd name="connsiteY12" fmla="*/ 3603 h 958464"/>
              <a:gd name="connsiteX0" fmla="*/ 478882 w 3637212"/>
              <a:gd name="connsiteY0" fmla="*/ 958464 h 958464"/>
              <a:gd name="connsiteX1" fmla="*/ 7119 w 3637212"/>
              <a:gd name="connsiteY1" fmla="*/ 267733 h 958464"/>
              <a:gd name="connsiteX2" fmla="*/ 1097478 w 3637212"/>
              <a:gd name="connsiteY2" fmla="*/ 443629 h 958464"/>
              <a:gd name="connsiteX3" fmla="*/ 1344194 w 3637212"/>
              <a:gd name="connsiteY3" fmla="*/ 731779 h 958464"/>
              <a:gd name="connsiteX4" fmla="*/ 1510605 w 3637212"/>
              <a:gd name="connsiteY4" fmla="*/ 521781 h 958464"/>
              <a:gd name="connsiteX5" fmla="*/ 1244534 w 3637212"/>
              <a:gd name="connsiteY5" fmla="*/ 509932 h 958464"/>
              <a:gd name="connsiteX6" fmla="*/ 1856879 w 3637212"/>
              <a:gd name="connsiteY6" fmla="*/ 232711 h 958464"/>
              <a:gd name="connsiteX7" fmla="*/ 1781799 w 3637212"/>
              <a:gd name="connsiteY7" fmla="*/ 395239 h 958464"/>
              <a:gd name="connsiteX8" fmla="*/ 2502676 w 3637212"/>
              <a:gd name="connsiteY8" fmla="*/ 194615 h 958464"/>
              <a:gd name="connsiteX9" fmla="*/ 2356979 w 3637212"/>
              <a:gd name="connsiteY9" fmla="*/ 170771 h 958464"/>
              <a:gd name="connsiteX10" fmla="*/ 2946908 w 3637212"/>
              <a:gd name="connsiteY10" fmla="*/ 54418 h 958464"/>
              <a:gd name="connsiteX11" fmla="*/ 3224499 w 3637212"/>
              <a:gd name="connsiteY11" fmla="*/ 95353 h 958464"/>
              <a:gd name="connsiteX12" fmla="*/ 3637212 w 3637212"/>
              <a:gd name="connsiteY12" fmla="*/ 3603 h 958464"/>
              <a:gd name="connsiteX0" fmla="*/ 7119 w 3637212"/>
              <a:gd name="connsiteY0" fmla="*/ 267733 h 847183"/>
              <a:gd name="connsiteX1" fmla="*/ 1097478 w 3637212"/>
              <a:gd name="connsiteY1" fmla="*/ 443629 h 847183"/>
              <a:gd name="connsiteX2" fmla="*/ 1344194 w 3637212"/>
              <a:gd name="connsiteY2" fmla="*/ 731779 h 847183"/>
              <a:gd name="connsiteX3" fmla="*/ 1510605 w 3637212"/>
              <a:gd name="connsiteY3" fmla="*/ 521781 h 847183"/>
              <a:gd name="connsiteX4" fmla="*/ 1244534 w 3637212"/>
              <a:gd name="connsiteY4" fmla="*/ 509932 h 847183"/>
              <a:gd name="connsiteX5" fmla="*/ 1856879 w 3637212"/>
              <a:gd name="connsiteY5" fmla="*/ 232711 h 847183"/>
              <a:gd name="connsiteX6" fmla="*/ 1781799 w 3637212"/>
              <a:gd name="connsiteY6" fmla="*/ 395239 h 847183"/>
              <a:gd name="connsiteX7" fmla="*/ 2502676 w 3637212"/>
              <a:gd name="connsiteY7" fmla="*/ 194615 h 847183"/>
              <a:gd name="connsiteX8" fmla="*/ 2356979 w 3637212"/>
              <a:gd name="connsiteY8" fmla="*/ 170771 h 847183"/>
              <a:gd name="connsiteX9" fmla="*/ 2946908 w 3637212"/>
              <a:gd name="connsiteY9" fmla="*/ 54418 h 847183"/>
              <a:gd name="connsiteX10" fmla="*/ 3224499 w 3637212"/>
              <a:gd name="connsiteY10" fmla="*/ 95353 h 847183"/>
              <a:gd name="connsiteX11" fmla="*/ 3637212 w 3637212"/>
              <a:gd name="connsiteY11" fmla="*/ 3603 h 847183"/>
              <a:gd name="connsiteX0" fmla="*/ 7119 w 3637212"/>
              <a:gd name="connsiteY0" fmla="*/ 267733 h 847183"/>
              <a:gd name="connsiteX1" fmla="*/ 1097478 w 3637212"/>
              <a:gd name="connsiteY1" fmla="*/ 443629 h 847183"/>
              <a:gd name="connsiteX2" fmla="*/ 1344194 w 3637212"/>
              <a:gd name="connsiteY2" fmla="*/ 731779 h 847183"/>
              <a:gd name="connsiteX3" fmla="*/ 1510605 w 3637212"/>
              <a:gd name="connsiteY3" fmla="*/ 521781 h 847183"/>
              <a:gd name="connsiteX4" fmla="*/ 1244534 w 3637212"/>
              <a:gd name="connsiteY4" fmla="*/ 509932 h 847183"/>
              <a:gd name="connsiteX5" fmla="*/ 1856879 w 3637212"/>
              <a:gd name="connsiteY5" fmla="*/ 232711 h 847183"/>
              <a:gd name="connsiteX6" fmla="*/ 1781799 w 3637212"/>
              <a:gd name="connsiteY6" fmla="*/ 395239 h 847183"/>
              <a:gd name="connsiteX7" fmla="*/ 2202426 w 3637212"/>
              <a:gd name="connsiteY7" fmla="*/ 371935 h 847183"/>
              <a:gd name="connsiteX8" fmla="*/ 2356979 w 3637212"/>
              <a:gd name="connsiteY8" fmla="*/ 170771 h 847183"/>
              <a:gd name="connsiteX9" fmla="*/ 2946908 w 3637212"/>
              <a:gd name="connsiteY9" fmla="*/ 54418 h 847183"/>
              <a:gd name="connsiteX10" fmla="*/ 3224499 w 3637212"/>
              <a:gd name="connsiteY10" fmla="*/ 95353 h 847183"/>
              <a:gd name="connsiteX11" fmla="*/ 3637212 w 3637212"/>
              <a:gd name="connsiteY11" fmla="*/ 3603 h 847183"/>
              <a:gd name="connsiteX0" fmla="*/ 7119 w 3637212"/>
              <a:gd name="connsiteY0" fmla="*/ 267733 h 847183"/>
              <a:gd name="connsiteX1" fmla="*/ 1097478 w 3637212"/>
              <a:gd name="connsiteY1" fmla="*/ 443629 h 847183"/>
              <a:gd name="connsiteX2" fmla="*/ 1344194 w 3637212"/>
              <a:gd name="connsiteY2" fmla="*/ 731779 h 847183"/>
              <a:gd name="connsiteX3" fmla="*/ 1510605 w 3637212"/>
              <a:gd name="connsiteY3" fmla="*/ 521781 h 847183"/>
              <a:gd name="connsiteX4" fmla="*/ 1244534 w 3637212"/>
              <a:gd name="connsiteY4" fmla="*/ 509932 h 847183"/>
              <a:gd name="connsiteX5" fmla="*/ 1856879 w 3637212"/>
              <a:gd name="connsiteY5" fmla="*/ 232711 h 847183"/>
              <a:gd name="connsiteX6" fmla="*/ 1781799 w 3637212"/>
              <a:gd name="connsiteY6" fmla="*/ 395239 h 847183"/>
              <a:gd name="connsiteX7" fmla="*/ 2202426 w 3637212"/>
              <a:gd name="connsiteY7" fmla="*/ 371935 h 847183"/>
              <a:gd name="connsiteX8" fmla="*/ 2024558 w 3637212"/>
              <a:gd name="connsiteY8" fmla="*/ 170771 h 847183"/>
              <a:gd name="connsiteX9" fmla="*/ 2946908 w 3637212"/>
              <a:gd name="connsiteY9" fmla="*/ 54418 h 847183"/>
              <a:gd name="connsiteX10" fmla="*/ 3224499 w 3637212"/>
              <a:gd name="connsiteY10" fmla="*/ 95353 h 847183"/>
              <a:gd name="connsiteX11" fmla="*/ 3637212 w 3637212"/>
              <a:gd name="connsiteY11" fmla="*/ 3603 h 847183"/>
              <a:gd name="connsiteX0" fmla="*/ 7119 w 3637212"/>
              <a:gd name="connsiteY0" fmla="*/ 299547 h 878997"/>
              <a:gd name="connsiteX1" fmla="*/ 1097478 w 3637212"/>
              <a:gd name="connsiteY1" fmla="*/ 475443 h 878997"/>
              <a:gd name="connsiteX2" fmla="*/ 1344194 w 3637212"/>
              <a:gd name="connsiteY2" fmla="*/ 763593 h 878997"/>
              <a:gd name="connsiteX3" fmla="*/ 1510605 w 3637212"/>
              <a:gd name="connsiteY3" fmla="*/ 553595 h 878997"/>
              <a:gd name="connsiteX4" fmla="*/ 1244534 w 3637212"/>
              <a:gd name="connsiteY4" fmla="*/ 541746 h 878997"/>
              <a:gd name="connsiteX5" fmla="*/ 1856879 w 3637212"/>
              <a:gd name="connsiteY5" fmla="*/ 264525 h 878997"/>
              <a:gd name="connsiteX6" fmla="*/ 1781799 w 3637212"/>
              <a:gd name="connsiteY6" fmla="*/ 427053 h 878997"/>
              <a:gd name="connsiteX7" fmla="*/ 2202426 w 3637212"/>
              <a:gd name="connsiteY7" fmla="*/ 403749 h 878997"/>
              <a:gd name="connsiteX8" fmla="*/ 2024558 w 3637212"/>
              <a:gd name="connsiteY8" fmla="*/ 202585 h 878997"/>
              <a:gd name="connsiteX9" fmla="*/ 1252635 w 3637212"/>
              <a:gd name="connsiteY9" fmla="*/ 48901 h 878997"/>
              <a:gd name="connsiteX10" fmla="*/ 3224499 w 3637212"/>
              <a:gd name="connsiteY10" fmla="*/ 127167 h 878997"/>
              <a:gd name="connsiteX11" fmla="*/ 3637212 w 3637212"/>
              <a:gd name="connsiteY11" fmla="*/ 35417 h 878997"/>
              <a:gd name="connsiteX0" fmla="*/ 7119 w 3637212"/>
              <a:gd name="connsiteY0" fmla="*/ 299547 h 878997"/>
              <a:gd name="connsiteX1" fmla="*/ 1097478 w 3637212"/>
              <a:gd name="connsiteY1" fmla="*/ 475443 h 878997"/>
              <a:gd name="connsiteX2" fmla="*/ 1344194 w 3637212"/>
              <a:gd name="connsiteY2" fmla="*/ 763593 h 878997"/>
              <a:gd name="connsiteX3" fmla="*/ 1510605 w 3637212"/>
              <a:gd name="connsiteY3" fmla="*/ 553595 h 878997"/>
              <a:gd name="connsiteX4" fmla="*/ 1244534 w 3637212"/>
              <a:gd name="connsiteY4" fmla="*/ 541746 h 878997"/>
              <a:gd name="connsiteX5" fmla="*/ 1856879 w 3637212"/>
              <a:gd name="connsiteY5" fmla="*/ 264525 h 878997"/>
              <a:gd name="connsiteX6" fmla="*/ 1781799 w 3637212"/>
              <a:gd name="connsiteY6" fmla="*/ 427053 h 878997"/>
              <a:gd name="connsiteX7" fmla="*/ 2202426 w 3637212"/>
              <a:gd name="connsiteY7" fmla="*/ 403749 h 878997"/>
              <a:gd name="connsiteX8" fmla="*/ 2024558 w 3637212"/>
              <a:gd name="connsiteY8" fmla="*/ 202585 h 878997"/>
              <a:gd name="connsiteX9" fmla="*/ 1252635 w 3637212"/>
              <a:gd name="connsiteY9" fmla="*/ 48901 h 878997"/>
              <a:gd name="connsiteX10" fmla="*/ 3637212 w 3637212"/>
              <a:gd name="connsiteY10" fmla="*/ 35417 h 878997"/>
              <a:gd name="connsiteX0" fmla="*/ 7119 w 2272466"/>
              <a:gd name="connsiteY0" fmla="*/ 299547 h 878997"/>
              <a:gd name="connsiteX1" fmla="*/ 1097478 w 2272466"/>
              <a:gd name="connsiteY1" fmla="*/ 475443 h 878997"/>
              <a:gd name="connsiteX2" fmla="*/ 1344194 w 2272466"/>
              <a:gd name="connsiteY2" fmla="*/ 763593 h 878997"/>
              <a:gd name="connsiteX3" fmla="*/ 1510605 w 2272466"/>
              <a:gd name="connsiteY3" fmla="*/ 553595 h 878997"/>
              <a:gd name="connsiteX4" fmla="*/ 1244534 w 2272466"/>
              <a:gd name="connsiteY4" fmla="*/ 541746 h 878997"/>
              <a:gd name="connsiteX5" fmla="*/ 1856879 w 2272466"/>
              <a:gd name="connsiteY5" fmla="*/ 264525 h 878997"/>
              <a:gd name="connsiteX6" fmla="*/ 1781799 w 2272466"/>
              <a:gd name="connsiteY6" fmla="*/ 427053 h 878997"/>
              <a:gd name="connsiteX7" fmla="*/ 2202426 w 2272466"/>
              <a:gd name="connsiteY7" fmla="*/ 403749 h 878997"/>
              <a:gd name="connsiteX8" fmla="*/ 2024558 w 2272466"/>
              <a:gd name="connsiteY8" fmla="*/ 202585 h 878997"/>
              <a:gd name="connsiteX9" fmla="*/ 1252635 w 2272466"/>
              <a:gd name="connsiteY9" fmla="*/ 48901 h 878997"/>
              <a:gd name="connsiteX0" fmla="*/ 7119 w 2272466"/>
              <a:gd name="connsiteY0" fmla="*/ 299547 h 763593"/>
              <a:gd name="connsiteX1" fmla="*/ 1097478 w 2272466"/>
              <a:gd name="connsiteY1" fmla="*/ 475443 h 763593"/>
              <a:gd name="connsiteX2" fmla="*/ 1344194 w 2272466"/>
              <a:gd name="connsiteY2" fmla="*/ 763593 h 763593"/>
              <a:gd name="connsiteX3" fmla="*/ 1510605 w 2272466"/>
              <a:gd name="connsiteY3" fmla="*/ 553595 h 763593"/>
              <a:gd name="connsiteX4" fmla="*/ 1244534 w 2272466"/>
              <a:gd name="connsiteY4" fmla="*/ 541746 h 763593"/>
              <a:gd name="connsiteX5" fmla="*/ 1856879 w 2272466"/>
              <a:gd name="connsiteY5" fmla="*/ 264525 h 763593"/>
              <a:gd name="connsiteX6" fmla="*/ 1781799 w 2272466"/>
              <a:gd name="connsiteY6" fmla="*/ 427053 h 763593"/>
              <a:gd name="connsiteX7" fmla="*/ 2202426 w 2272466"/>
              <a:gd name="connsiteY7" fmla="*/ 403749 h 763593"/>
              <a:gd name="connsiteX8" fmla="*/ 2024558 w 2272466"/>
              <a:gd name="connsiteY8" fmla="*/ 202585 h 763593"/>
              <a:gd name="connsiteX9" fmla="*/ 1252635 w 2272466"/>
              <a:gd name="connsiteY9" fmla="*/ 48901 h 763593"/>
              <a:gd name="connsiteX0" fmla="*/ 7119 w 2272466"/>
              <a:gd name="connsiteY0" fmla="*/ 299547 h 763593"/>
              <a:gd name="connsiteX1" fmla="*/ 1097478 w 2272466"/>
              <a:gd name="connsiteY1" fmla="*/ 475443 h 763593"/>
              <a:gd name="connsiteX2" fmla="*/ 1344194 w 2272466"/>
              <a:gd name="connsiteY2" fmla="*/ 763593 h 763593"/>
              <a:gd name="connsiteX3" fmla="*/ 1510605 w 2272466"/>
              <a:gd name="connsiteY3" fmla="*/ 553595 h 763593"/>
              <a:gd name="connsiteX4" fmla="*/ 1244534 w 2272466"/>
              <a:gd name="connsiteY4" fmla="*/ 541746 h 763593"/>
              <a:gd name="connsiteX5" fmla="*/ 1856879 w 2272466"/>
              <a:gd name="connsiteY5" fmla="*/ 264525 h 763593"/>
              <a:gd name="connsiteX6" fmla="*/ 1781799 w 2272466"/>
              <a:gd name="connsiteY6" fmla="*/ 427053 h 763593"/>
              <a:gd name="connsiteX7" fmla="*/ 2202426 w 2272466"/>
              <a:gd name="connsiteY7" fmla="*/ 403749 h 763593"/>
              <a:gd name="connsiteX8" fmla="*/ 2024558 w 2272466"/>
              <a:gd name="connsiteY8" fmla="*/ 202585 h 763593"/>
              <a:gd name="connsiteX9" fmla="*/ 1252635 w 2272466"/>
              <a:gd name="connsiteY9" fmla="*/ 48901 h 763593"/>
              <a:gd name="connsiteX0" fmla="*/ 7119 w 2272466"/>
              <a:gd name="connsiteY0" fmla="*/ 299547 h 763593"/>
              <a:gd name="connsiteX1" fmla="*/ 1097478 w 2272466"/>
              <a:gd name="connsiteY1" fmla="*/ 475443 h 763593"/>
              <a:gd name="connsiteX2" fmla="*/ 1344194 w 2272466"/>
              <a:gd name="connsiteY2" fmla="*/ 763593 h 763593"/>
              <a:gd name="connsiteX3" fmla="*/ 1510605 w 2272466"/>
              <a:gd name="connsiteY3" fmla="*/ 553595 h 763593"/>
              <a:gd name="connsiteX4" fmla="*/ 1244534 w 2272466"/>
              <a:gd name="connsiteY4" fmla="*/ 541746 h 763593"/>
              <a:gd name="connsiteX5" fmla="*/ 1856879 w 2272466"/>
              <a:gd name="connsiteY5" fmla="*/ 264525 h 763593"/>
              <a:gd name="connsiteX6" fmla="*/ 1781799 w 2272466"/>
              <a:gd name="connsiteY6" fmla="*/ 427053 h 763593"/>
              <a:gd name="connsiteX7" fmla="*/ 2202426 w 2272466"/>
              <a:gd name="connsiteY7" fmla="*/ 403749 h 763593"/>
              <a:gd name="connsiteX8" fmla="*/ 2024558 w 2272466"/>
              <a:gd name="connsiteY8" fmla="*/ 202585 h 763593"/>
              <a:gd name="connsiteX9" fmla="*/ 1252635 w 2272466"/>
              <a:gd name="connsiteY9" fmla="*/ 48901 h 763593"/>
              <a:gd name="connsiteX0" fmla="*/ 7754 w 2273101"/>
              <a:gd name="connsiteY0" fmla="*/ 299547 h 763593"/>
              <a:gd name="connsiteX1" fmla="*/ 997975 w 2273101"/>
              <a:gd name="connsiteY1" fmla="*/ 475443 h 763593"/>
              <a:gd name="connsiteX2" fmla="*/ 1344829 w 2273101"/>
              <a:gd name="connsiteY2" fmla="*/ 763593 h 763593"/>
              <a:gd name="connsiteX3" fmla="*/ 1511240 w 2273101"/>
              <a:gd name="connsiteY3" fmla="*/ 553595 h 763593"/>
              <a:gd name="connsiteX4" fmla="*/ 1245169 w 2273101"/>
              <a:gd name="connsiteY4" fmla="*/ 541746 h 763593"/>
              <a:gd name="connsiteX5" fmla="*/ 1857514 w 2273101"/>
              <a:gd name="connsiteY5" fmla="*/ 264525 h 763593"/>
              <a:gd name="connsiteX6" fmla="*/ 1782434 w 2273101"/>
              <a:gd name="connsiteY6" fmla="*/ 427053 h 763593"/>
              <a:gd name="connsiteX7" fmla="*/ 2203061 w 2273101"/>
              <a:gd name="connsiteY7" fmla="*/ 403749 h 763593"/>
              <a:gd name="connsiteX8" fmla="*/ 2025193 w 2273101"/>
              <a:gd name="connsiteY8" fmla="*/ 202585 h 763593"/>
              <a:gd name="connsiteX9" fmla="*/ 1253270 w 2273101"/>
              <a:gd name="connsiteY9" fmla="*/ 48901 h 763593"/>
              <a:gd name="connsiteX0" fmla="*/ 7754 w 2273101"/>
              <a:gd name="connsiteY0" fmla="*/ 299547 h 763593"/>
              <a:gd name="connsiteX1" fmla="*/ 997975 w 2273101"/>
              <a:gd name="connsiteY1" fmla="*/ 475443 h 763593"/>
              <a:gd name="connsiteX2" fmla="*/ 1344829 w 2273101"/>
              <a:gd name="connsiteY2" fmla="*/ 763593 h 763593"/>
              <a:gd name="connsiteX3" fmla="*/ 1511240 w 2273101"/>
              <a:gd name="connsiteY3" fmla="*/ 553595 h 763593"/>
              <a:gd name="connsiteX4" fmla="*/ 1245169 w 2273101"/>
              <a:gd name="connsiteY4" fmla="*/ 541746 h 763593"/>
              <a:gd name="connsiteX5" fmla="*/ 1857514 w 2273101"/>
              <a:gd name="connsiteY5" fmla="*/ 264525 h 763593"/>
              <a:gd name="connsiteX6" fmla="*/ 1782434 w 2273101"/>
              <a:gd name="connsiteY6" fmla="*/ 427053 h 763593"/>
              <a:gd name="connsiteX7" fmla="*/ 2203061 w 2273101"/>
              <a:gd name="connsiteY7" fmla="*/ 403749 h 763593"/>
              <a:gd name="connsiteX8" fmla="*/ 2025193 w 2273101"/>
              <a:gd name="connsiteY8" fmla="*/ 202585 h 763593"/>
              <a:gd name="connsiteX9" fmla="*/ 1253270 w 2273101"/>
              <a:gd name="connsiteY9" fmla="*/ 48901 h 763593"/>
              <a:gd name="connsiteX0" fmla="*/ 7312 w 2272659"/>
              <a:gd name="connsiteY0" fmla="*/ 299547 h 763593"/>
              <a:gd name="connsiteX1" fmla="*/ 1065628 w 2272659"/>
              <a:gd name="connsiteY1" fmla="*/ 461499 h 763593"/>
              <a:gd name="connsiteX2" fmla="*/ 1344387 w 2272659"/>
              <a:gd name="connsiteY2" fmla="*/ 763593 h 763593"/>
              <a:gd name="connsiteX3" fmla="*/ 1510798 w 2272659"/>
              <a:gd name="connsiteY3" fmla="*/ 553595 h 763593"/>
              <a:gd name="connsiteX4" fmla="*/ 1244727 w 2272659"/>
              <a:gd name="connsiteY4" fmla="*/ 541746 h 763593"/>
              <a:gd name="connsiteX5" fmla="*/ 1857072 w 2272659"/>
              <a:gd name="connsiteY5" fmla="*/ 264525 h 763593"/>
              <a:gd name="connsiteX6" fmla="*/ 1781992 w 2272659"/>
              <a:gd name="connsiteY6" fmla="*/ 427053 h 763593"/>
              <a:gd name="connsiteX7" fmla="*/ 2202619 w 2272659"/>
              <a:gd name="connsiteY7" fmla="*/ 403749 h 763593"/>
              <a:gd name="connsiteX8" fmla="*/ 2024751 w 2272659"/>
              <a:gd name="connsiteY8" fmla="*/ 202585 h 763593"/>
              <a:gd name="connsiteX9" fmla="*/ 1252828 w 2272659"/>
              <a:gd name="connsiteY9" fmla="*/ 48901 h 763593"/>
              <a:gd name="connsiteX0" fmla="*/ 7311 w 2272658"/>
              <a:gd name="connsiteY0" fmla="*/ 299547 h 763593"/>
              <a:gd name="connsiteX1" fmla="*/ 1065627 w 2272658"/>
              <a:gd name="connsiteY1" fmla="*/ 461499 h 763593"/>
              <a:gd name="connsiteX2" fmla="*/ 1344386 w 2272658"/>
              <a:gd name="connsiteY2" fmla="*/ 763593 h 763593"/>
              <a:gd name="connsiteX3" fmla="*/ 1510797 w 2272658"/>
              <a:gd name="connsiteY3" fmla="*/ 553595 h 763593"/>
              <a:gd name="connsiteX4" fmla="*/ 1244726 w 2272658"/>
              <a:gd name="connsiteY4" fmla="*/ 541746 h 763593"/>
              <a:gd name="connsiteX5" fmla="*/ 1857071 w 2272658"/>
              <a:gd name="connsiteY5" fmla="*/ 264525 h 763593"/>
              <a:gd name="connsiteX6" fmla="*/ 1781991 w 2272658"/>
              <a:gd name="connsiteY6" fmla="*/ 427053 h 763593"/>
              <a:gd name="connsiteX7" fmla="*/ 2202618 w 2272658"/>
              <a:gd name="connsiteY7" fmla="*/ 403749 h 763593"/>
              <a:gd name="connsiteX8" fmla="*/ 2024750 w 2272658"/>
              <a:gd name="connsiteY8" fmla="*/ 202585 h 763593"/>
              <a:gd name="connsiteX9" fmla="*/ 1252827 w 2272658"/>
              <a:gd name="connsiteY9" fmla="*/ 48901 h 763593"/>
              <a:gd name="connsiteX0" fmla="*/ 11098 w 2276445"/>
              <a:gd name="connsiteY0" fmla="*/ 299547 h 763593"/>
              <a:gd name="connsiteX1" fmla="*/ 1069414 w 2276445"/>
              <a:gd name="connsiteY1" fmla="*/ 461499 h 763593"/>
              <a:gd name="connsiteX2" fmla="*/ 1348173 w 2276445"/>
              <a:gd name="connsiteY2" fmla="*/ 763593 h 763593"/>
              <a:gd name="connsiteX3" fmla="*/ 1514584 w 2276445"/>
              <a:gd name="connsiteY3" fmla="*/ 553595 h 763593"/>
              <a:gd name="connsiteX4" fmla="*/ 1248513 w 2276445"/>
              <a:gd name="connsiteY4" fmla="*/ 541746 h 763593"/>
              <a:gd name="connsiteX5" fmla="*/ 1860858 w 2276445"/>
              <a:gd name="connsiteY5" fmla="*/ 264525 h 763593"/>
              <a:gd name="connsiteX6" fmla="*/ 1785778 w 2276445"/>
              <a:gd name="connsiteY6" fmla="*/ 427053 h 763593"/>
              <a:gd name="connsiteX7" fmla="*/ 2206405 w 2276445"/>
              <a:gd name="connsiteY7" fmla="*/ 403749 h 763593"/>
              <a:gd name="connsiteX8" fmla="*/ 2028537 w 2276445"/>
              <a:gd name="connsiteY8" fmla="*/ 202585 h 763593"/>
              <a:gd name="connsiteX9" fmla="*/ 1256614 w 2276445"/>
              <a:gd name="connsiteY9" fmla="*/ 48901 h 763593"/>
              <a:gd name="connsiteX0" fmla="*/ 0 w 2265347"/>
              <a:gd name="connsiteY0" fmla="*/ 299547 h 763593"/>
              <a:gd name="connsiteX1" fmla="*/ 1058316 w 2265347"/>
              <a:gd name="connsiteY1" fmla="*/ 461499 h 763593"/>
              <a:gd name="connsiteX2" fmla="*/ 1337075 w 2265347"/>
              <a:gd name="connsiteY2" fmla="*/ 763593 h 763593"/>
              <a:gd name="connsiteX3" fmla="*/ 1503486 w 2265347"/>
              <a:gd name="connsiteY3" fmla="*/ 553595 h 763593"/>
              <a:gd name="connsiteX4" fmla="*/ 1237415 w 2265347"/>
              <a:gd name="connsiteY4" fmla="*/ 541746 h 763593"/>
              <a:gd name="connsiteX5" fmla="*/ 1849760 w 2265347"/>
              <a:gd name="connsiteY5" fmla="*/ 264525 h 763593"/>
              <a:gd name="connsiteX6" fmla="*/ 1774680 w 2265347"/>
              <a:gd name="connsiteY6" fmla="*/ 427053 h 763593"/>
              <a:gd name="connsiteX7" fmla="*/ 2195307 w 2265347"/>
              <a:gd name="connsiteY7" fmla="*/ 403749 h 763593"/>
              <a:gd name="connsiteX8" fmla="*/ 2017439 w 2265347"/>
              <a:gd name="connsiteY8" fmla="*/ 202585 h 763593"/>
              <a:gd name="connsiteX9" fmla="*/ 1245516 w 2265347"/>
              <a:gd name="connsiteY9" fmla="*/ 48901 h 763593"/>
              <a:gd name="connsiteX0" fmla="*/ 0 w 2195306"/>
              <a:gd name="connsiteY0" fmla="*/ 299547 h 763593"/>
              <a:gd name="connsiteX1" fmla="*/ 1058316 w 2195306"/>
              <a:gd name="connsiteY1" fmla="*/ 461499 h 763593"/>
              <a:gd name="connsiteX2" fmla="*/ 1337075 w 2195306"/>
              <a:gd name="connsiteY2" fmla="*/ 763593 h 763593"/>
              <a:gd name="connsiteX3" fmla="*/ 1503486 w 2195306"/>
              <a:gd name="connsiteY3" fmla="*/ 553595 h 763593"/>
              <a:gd name="connsiteX4" fmla="*/ 1237415 w 2195306"/>
              <a:gd name="connsiteY4" fmla="*/ 541746 h 763593"/>
              <a:gd name="connsiteX5" fmla="*/ 1849760 w 2195306"/>
              <a:gd name="connsiteY5" fmla="*/ 264525 h 763593"/>
              <a:gd name="connsiteX6" fmla="*/ 1774680 w 2195306"/>
              <a:gd name="connsiteY6" fmla="*/ 427053 h 763593"/>
              <a:gd name="connsiteX7" fmla="*/ 2195307 w 2195306"/>
              <a:gd name="connsiteY7" fmla="*/ 403749 h 763593"/>
              <a:gd name="connsiteX8" fmla="*/ 2017439 w 2195306"/>
              <a:gd name="connsiteY8" fmla="*/ 202585 h 763593"/>
              <a:gd name="connsiteX9" fmla="*/ 1245516 w 2195306"/>
              <a:gd name="connsiteY9" fmla="*/ 48901 h 763593"/>
              <a:gd name="connsiteX0" fmla="*/ 0 w 2195307"/>
              <a:gd name="connsiteY0" fmla="*/ 299547 h 763593"/>
              <a:gd name="connsiteX1" fmla="*/ 1058316 w 2195307"/>
              <a:gd name="connsiteY1" fmla="*/ 461499 h 763593"/>
              <a:gd name="connsiteX2" fmla="*/ 1337075 w 2195307"/>
              <a:gd name="connsiteY2" fmla="*/ 763593 h 763593"/>
              <a:gd name="connsiteX3" fmla="*/ 1503486 w 2195307"/>
              <a:gd name="connsiteY3" fmla="*/ 553595 h 763593"/>
              <a:gd name="connsiteX4" fmla="*/ 1237415 w 2195307"/>
              <a:gd name="connsiteY4" fmla="*/ 541746 h 763593"/>
              <a:gd name="connsiteX5" fmla="*/ 1849760 w 2195307"/>
              <a:gd name="connsiteY5" fmla="*/ 264525 h 763593"/>
              <a:gd name="connsiteX6" fmla="*/ 1774680 w 2195307"/>
              <a:gd name="connsiteY6" fmla="*/ 427053 h 763593"/>
              <a:gd name="connsiteX7" fmla="*/ 2195307 w 2195307"/>
              <a:gd name="connsiteY7" fmla="*/ 403749 h 763593"/>
              <a:gd name="connsiteX8" fmla="*/ 2017439 w 2195307"/>
              <a:gd name="connsiteY8" fmla="*/ 202585 h 763593"/>
              <a:gd name="connsiteX9" fmla="*/ 1245516 w 2195307"/>
              <a:gd name="connsiteY9" fmla="*/ 48901 h 763593"/>
              <a:gd name="connsiteX0" fmla="*/ 0 w 2195307"/>
              <a:gd name="connsiteY0" fmla="*/ 299547 h 763593"/>
              <a:gd name="connsiteX1" fmla="*/ 1058316 w 2195307"/>
              <a:gd name="connsiteY1" fmla="*/ 461499 h 763593"/>
              <a:gd name="connsiteX2" fmla="*/ 1337075 w 2195307"/>
              <a:gd name="connsiteY2" fmla="*/ 763593 h 763593"/>
              <a:gd name="connsiteX3" fmla="*/ 1503486 w 2195307"/>
              <a:gd name="connsiteY3" fmla="*/ 553595 h 763593"/>
              <a:gd name="connsiteX4" fmla="*/ 1237415 w 2195307"/>
              <a:gd name="connsiteY4" fmla="*/ 541746 h 763593"/>
              <a:gd name="connsiteX5" fmla="*/ 1849760 w 2195307"/>
              <a:gd name="connsiteY5" fmla="*/ 264525 h 763593"/>
              <a:gd name="connsiteX6" fmla="*/ 1774680 w 2195307"/>
              <a:gd name="connsiteY6" fmla="*/ 427053 h 763593"/>
              <a:gd name="connsiteX7" fmla="*/ 2195307 w 2195307"/>
              <a:gd name="connsiteY7" fmla="*/ 403749 h 763593"/>
              <a:gd name="connsiteX8" fmla="*/ 2017439 w 2195307"/>
              <a:gd name="connsiteY8" fmla="*/ 202585 h 763593"/>
              <a:gd name="connsiteX9" fmla="*/ 1245516 w 2195307"/>
              <a:gd name="connsiteY9" fmla="*/ 48901 h 763593"/>
              <a:gd name="connsiteX0" fmla="*/ 0 w 2195307"/>
              <a:gd name="connsiteY0" fmla="*/ 304104 h 768150"/>
              <a:gd name="connsiteX1" fmla="*/ 1058316 w 2195307"/>
              <a:gd name="connsiteY1" fmla="*/ 466056 h 768150"/>
              <a:gd name="connsiteX2" fmla="*/ 1337075 w 2195307"/>
              <a:gd name="connsiteY2" fmla="*/ 768150 h 768150"/>
              <a:gd name="connsiteX3" fmla="*/ 1503486 w 2195307"/>
              <a:gd name="connsiteY3" fmla="*/ 558152 h 768150"/>
              <a:gd name="connsiteX4" fmla="*/ 1237415 w 2195307"/>
              <a:gd name="connsiteY4" fmla="*/ 546303 h 768150"/>
              <a:gd name="connsiteX5" fmla="*/ 1849760 w 2195307"/>
              <a:gd name="connsiteY5" fmla="*/ 269082 h 768150"/>
              <a:gd name="connsiteX6" fmla="*/ 1774680 w 2195307"/>
              <a:gd name="connsiteY6" fmla="*/ 431610 h 768150"/>
              <a:gd name="connsiteX7" fmla="*/ 2195307 w 2195307"/>
              <a:gd name="connsiteY7" fmla="*/ 408306 h 768150"/>
              <a:gd name="connsiteX8" fmla="*/ 2089540 w 2195307"/>
              <a:gd name="connsiteY8" fmla="*/ 175767 h 768150"/>
              <a:gd name="connsiteX9" fmla="*/ 1245516 w 2195307"/>
              <a:gd name="connsiteY9" fmla="*/ 53458 h 768150"/>
              <a:gd name="connsiteX0" fmla="*/ 0 w 2195307"/>
              <a:gd name="connsiteY0" fmla="*/ 304104 h 768150"/>
              <a:gd name="connsiteX1" fmla="*/ 1058316 w 2195307"/>
              <a:gd name="connsiteY1" fmla="*/ 466056 h 768150"/>
              <a:gd name="connsiteX2" fmla="*/ 1337075 w 2195307"/>
              <a:gd name="connsiteY2" fmla="*/ 768150 h 768150"/>
              <a:gd name="connsiteX3" fmla="*/ 1503486 w 2195307"/>
              <a:gd name="connsiteY3" fmla="*/ 558152 h 768150"/>
              <a:gd name="connsiteX4" fmla="*/ 1237415 w 2195307"/>
              <a:gd name="connsiteY4" fmla="*/ 546303 h 768150"/>
              <a:gd name="connsiteX5" fmla="*/ 1849760 w 2195307"/>
              <a:gd name="connsiteY5" fmla="*/ 269082 h 768150"/>
              <a:gd name="connsiteX6" fmla="*/ 1774680 w 2195307"/>
              <a:gd name="connsiteY6" fmla="*/ 431610 h 768150"/>
              <a:gd name="connsiteX7" fmla="*/ 2195307 w 2195307"/>
              <a:gd name="connsiteY7" fmla="*/ 408306 h 768150"/>
              <a:gd name="connsiteX8" fmla="*/ 2089540 w 2195307"/>
              <a:gd name="connsiteY8" fmla="*/ 175767 h 768150"/>
              <a:gd name="connsiteX9" fmla="*/ 1245516 w 2195307"/>
              <a:gd name="connsiteY9" fmla="*/ 53458 h 768150"/>
              <a:gd name="connsiteX0" fmla="*/ 0 w 2195307"/>
              <a:gd name="connsiteY0" fmla="*/ 298636 h 762682"/>
              <a:gd name="connsiteX1" fmla="*/ 1058316 w 2195307"/>
              <a:gd name="connsiteY1" fmla="*/ 460588 h 762682"/>
              <a:gd name="connsiteX2" fmla="*/ 1337075 w 2195307"/>
              <a:gd name="connsiteY2" fmla="*/ 762682 h 762682"/>
              <a:gd name="connsiteX3" fmla="*/ 1503486 w 2195307"/>
              <a:gd name="connsiteY3" fmla="*/ 552684 h 762682"/>
              <a:gd name="connsiteX4" fmla="*/ 1237415 w 2195307"/>
              <a:gd name="connsiteY4" fmla="*/ 540835 h 762682"/>
              <a:gd name="connsiteX5" fmla="*/ 1849760 w 2195307"/>
              <a:gd name="connsiteY5" fmla="*/ 263614 h 762682"/>
              <a:gd name="connsiteX6" fmla="*/ 1774680 w 2195307"/>
              <a:gd name="connsiteY6" fmla="*/ 426142 h 762682"/>
              <a:gd name="connsiteX7" fmla="*/ 2195307 w 2195307"/>
              <a:gd name="connsiteY7" fmla="*/ 402838 h 762682"/>
              <a:gd name="connsiteX8" fmla="*/ 2013434 w 2195307"/>
              <a:gd name="connsiteY8" fmla="*/ 208647 h 762682"/>
              <a:gd name="connsiteX9" fmla="*/ 1245516 w 2195307"/>
              <a:gd name="connsiteY9" fmla="*/ 47990 h 762682"/>
              <a:gd name="connsiteX0" fmla="*/ 0 w 2195307"/>
              <a:gd name="connsiteY0" fmla="*/ 299888 h 763934"/>
              <a:gd name="connsiteX1" fmla="*/ 1058316 w 2195307"/>
              <a:gd name="connsiteY1" fmla="*/ 461840 h 763934"/>
              <a:gd name="connsiteX2" fmla="*/ 1337075 w 2195307"/>
              <a:gd name="connsiteY2" fmla="*/ 763934 h 763934"/>
              <a:gd name="connsiteX3" fmla="*/ 1503486 w 2195307"/>
              <a:gd name="connsiteY3" fmla="*/ 553936 h 763934"/>
              <a:gd name="connsiteX4" fmla="*/ 1237415 w 2195307"/>
              <a:gd name="connsiteY4" fmla="*/ 542087 h 763934"/>
              <a:gd name="connsiteX5" fmla="*/ 1849760 w 2195307"/>
              <a:gd name="connsiteY5" fmla="*/ 264866 h 763934"/>
              <a:gd name="connsiteX6" fmla="*/ 1774680 w 2195307"/>
              <a:gd name="connsiteY6" fmla="*/ 427394 h 763934"/>
              <a:gd name="connsiteX7" fmla="*/ 2195307 w 2195307"/>
              <a:gd name="connsiteY7" fmla="*/ 404090 h 763934"/>
              <a:gd name="connsiteX8" fmla="*/ 2013434 w 2195307"/>
              <a:gd name="connsiteY8" fmla="*/ 209899 h 763934"/>
              <a:gd name="connsiteX9" fmla="*/ 1245516 w 2195307"/>
              <a:gd name="connsiteY9" fmla="*/ 49242 h 763934"/>
              <a:gd name="connsiteX0" fmla="*/ 0 w 2195307"/>
              <a:gd name="connsiteY0" fmla="*/ 296876 h 760922"/>
              <a:gd name="connsiteX1" fmla="*/ 1058316 w 2195307"/>
              <a:gd name="connsiteY1" fmla="*/ 458828 h 760922"/>
              <a:gd name="connsiteX2" fmla="*/ 1337075 w 2195307"/>
              <a:gd name="connsiteY2" fmla="*/ 760922 h 760922"/>
              <a:gd name="connsiteX3" fmla="*/ 1503486 w 2195307"/>
              <a:gd name="connsiteY3" fmla="*/ 550924 h 760922"/>
              <a:gd name="connsiteX4" fmla="*/ 1237415 w 2195307"/>
              <a:gd name="connsiteY4" fmla="*/ 539075 h 760922"/>
              <a:gd name="connsiteX5" fmla="*/ 1849760 w 2195307"/>
              <a:gd name="connsiteY5" fmla="*/ 261854 h 760922"/>
              <a:gd name="connsiteX6" fmla="*/ 1774680 w 2195307"/>
              <a:gd name="connsiteY6" fmla="*/ 424382 h 760922"/>
              <a:gd name="connsiteX7" fmla="*/ 2195307 w 2195307"/>
              <a:gd name="connsiteY7" fmla="*/ 401078 h 760922"/>
              <a:gd name="connsiteX8" fmla="*/ 2013434 w 2195307"/>
              <a:gd name="connsiteY8" fmla="*/ 206887 h 760922"/>
              <a:gd name="connsiteX9" fmla="*/ 1213472 w 2195307"/>
              <a:gd name="connsiteY9" fmla="*/ 49716 h 760922"/>
              <a:gd name="connsiteX0" fmla="*/ 0 w 2195307"/>
              <a:gd name="connsiteY0" fmla="*/ 247160 h 711206"/>
              <a:gd name="connsiteX1" fmla="*/ 1058316 w 2195307"/>
              <a:gd name="connsiteY1" fmla="*/ 409112 h 711206"/>
              <a:gd name="connsiteX2" fmla="*/ 1337075 w 2195307"/>
              <a:gd name="connsiteY2" fmla="*/ 711206 h 711206"/>
              <a:gd name="connsiteX3" fmla="*/ 1503486 w 2195307"/>
              <a:gd name="connsiteY3" fmla="*/ 501208 h 711206"/>
              <a:gd name="connsiteX4" fmla="*/ 1237415 w 2195307"/>
              <a:gd name="connsiteY4" fmla="*/ 489359 h 711206"/>
              <a:gd name="connsiteX5" fmla="*/ 1849760 w 2195307"/>
              <a:gd name="connsiteY5" fmla="*/ 212138 h 711206"/>
              <a:gd name="connsiteX6" fmla="*/ 1774680 w 2195307"/>
              <a:gd name="connsiteY6" fmla="*/ 374666 h 711206"/>
              <a:gd name="connsiteX7" fmla="*/ 2195307 w 2195307"/>
              <a:gd name="connsiteY7" fmla="*/ 351362 h 711206"/>
              <a:gd name="connsiteX8" fmla="*/ 2013434 w 2195307"/>
              <a:gd name="connsiteY8" fmla="*/ 157171 h 711206"/>
              <a:gd name="connsiteX9" fmla="*/ 1213472 w 2195307"/>
              <a:gd name="connsiteY9" fmla="*/ 0 h 711206"/>
              <a:gd name="connsiteX0" fmla="*/ 0 w 2195307"/>
              <a:gd name="connsiteY0" fmla="*/ 247160 h 711206"/>
              <a:gd name="connsiteX1" fmla="*/ 1058316 w 2195307"/>
              <a:gd name="connsiteY1" fmla="*/ 409112 h 711206"/>
              <a:gd name="connsiteX2" fmla="*/ 1337075 w 2195307"/>
              <a:gd name="connsiteY2" fmla="*/ 711206 h 711206"/>
              <a:gd name="connsiteX3" fmla="*/ 1503486 w 2195307"/>
              <a:gd name="connsiteY3" fmla="*/ 501208 h 711206"/>
              <a:gd name="connsiteX4" fmla="*/ 1237415 w 2195307"/>
              <a:gd name="connsiteY4" fmla="*/ 489359 h 711206"/>
              <a:gd name="connsiteX5" fmla="*/ 1849760 w 2195307"/>
              <a:gd name="connsiteY5" fmla="*/ 212138 h 711206"/>
              <a:gd name="connsiteX6" fmla="*/ 1774680 w 2195307"/>
              <a:gd name="connsiteY6" fmla="*/ 374666 h 711206"/>
              <a:gd name="connsiteX7" fmla="*/ 2195307 w 2195307"/>
              <a:gd name="connsiteY7" fmla="*/ 351362 h 711206"/>
              <a:gd name="connsiteX8" fmla="*/ 2013434 w 2195307"/>
              <a:gd name="connsiteY8" fmla="*/ 157171 h 711206"/>
              <a:gd name="connsiteX9" fmla="*/ 1213472 w 2195307"/>
              <a:gd name="connsiteY9" fmla="*/ 0 h 711206"/>
              <a:gd name="connsiteX10" fmla="*/ 0 w 2195307"/>
              <a:gd name="connsiteY10" fmla="*/ 247160 h 711206"/>
              <a:gd name="connsiteX0" fmla="*/ 0 w 2247124"/>
              <a:gd name="connsiteY0" fmla="*/ 247160 h 711206"/>
              <a:gd name="connsiteX1" fmla="*/ 1058316 w 2247124"/>
              <a:gd name="connsiteY1" fmla="*/ 409112 h 711206"/>
              <a:gd name="connsiteX2" fmla="*/ 1337075 w 2247124"/>
              <a:gd name="connsiteY2" fmla="*/ 711206 h 711206"/>
              <a:gd name="connsiteX3" fmla="*/ 1503486 w 2247124"/>
              <a:gd name="connsiteY3" fmla="*/ 501208 h 711206"/>
              <a:gd name="connsiteX4" fmla="*/ 1237415 w 2247124"/>
              <a:gd name="connsiteY4" fmla="*/ 489359 h 711206"/>
              <a:gd name="connsiteX5" fmla="*/ 1849760 w 2247124"/>
              <a:gd name="connsiteY5" fmla="*/ 212138 h 711206"/>
              <a:gd name="connsiteX6" fmla="*/ 1774680 w 2247124"/>
              <a:gd name="connsiteY6" fmla="*/ 374666 h 711206"/>
              <a:gd name="connsiteX7" fmla="*/ 2247124 w 2247124"/>
              <a:gd name="connsiteY7" fmla="*/ 402472 h 711206"/>
              <a:gd name="connsiteX8" fmla="*/ 2013434 w 2247124"/>
              <a:gd name="connsiteY8" fmla="*/ 157171 h 711206"/>
              <a:gd name="connsiteX9" fmla="*/ 1213472 w 2247124"/>
              <a:gd name="connsiteY9" fmla="*/ 0 h 711206"/>
              <a:gd name="connsiteX10" fmla="*/ 0 w 2247124"/>
              <a:gd name="connsiteY10" fmla="*/ 247160 h 711206"/>
              <a:gd name="connsiteX0" fmla="*/ 0 w 2243670"/>
              <a:gd name="connsiteY0" fmla="*/ 247160 h 711206"/>
              <a:gd name="connsiteX1" fmla="*/ 1058316 w 2243670"/>
              <a:gd name="connsiteY1" fmla="*/ 409112 h 711206"/>
              <a:gd name="connsiteX2" fmla="*/ 1337075 w 2243670"/>
              <a:gd name="connsiteY2" fmla="*/ 711206 h 711206"/>
              <a:gd name="connsiteX3" fmla="*/ 1503486 w 2243670"/>
              <a:gd name="connsiteY3" fmla="*/ 501208 h 711206"/>
              <a:gd name="connsiteX4" fmla="*/ 1237415 w 2243670"/>
              <a:gd name="connsiteY4" fmla="*/ 489359 h 711206"/>
              <a:gd name="connsiteX5" fmla="*/ 1849760 w 2243670"/>
              <a:gd name="connsiteY5" fmla="*/ 212138 h 711206"/>
              <a:gd name="connsiteX6" fmla="*/ 1774680 w 2243670"/>
              <a:gd name="connsiteY6" fmla="*/ 374666 h 711206"/>
              <a:gd name="connsiteX7" fmla="*/ 2243670 w 2243670"/>
              <a:gd name="connsiteY7" fmla="*/ 414498 h 711206"/>
              <a:gd name="connsiteX8" fmla="*/ 2013434 w 2243670"/>
              <a:gd name="connsiteY8" fmla="*/ 157171 h 711206"/>
              <a:gd name="connsiteX9" fmla="*/ 1213472 w 2243670"/>
              <a:gd name="connsiteY9" fmla="*/ 0 h 711206"/>
              <a:gd name="connsiteX10" fmla="*/ 0 w 2243670"/>
              <a:gd name="connsiteY10" fmla="*/ 247160 h 711206"/>
              <a:gd name="connsiteX0" fmla="*/ 0 w 2236762"/>
              <a:gd name="connsiteY0" fmla="*/ 247160 h 711206"/>
              <a:gd name="connsiteX1" fmla="*/ 1058316 w 2236762"/>
              <a:gd name="connsiteY1" fmla="*/ 409112 h 711206"/>
              <a:gd name="connsiteX2" fmla="*/ 1337075 w 2236762"/>
              <a:gd name="connsiteY2" fmla="*/ 711206 h 711206"/>
              <a:gd name="connsiteX3" fmla="*/ 1503486 w 2236762"/>
              <a:gd name="connsiteY3" fmla="*/ 501208 h 711206"/>
              <a:gd name="connsiteX4" fmla="*/ 1237415 w 2236762"/>
              <a:gd name="connsiteY4" fmla="*/ 489359 h 711206"/>
              <a:gd name="connsiteX5" fmla="*/ 1849760 w 2236762"/>
              <a:gd name="connsiteY5" fmla="*/ 212138 h 711206"/>
              <a:gd name="connsiteX6" fmla="*/ 1774680 w 2236762"/>
              <a:gd name="connsiteY6" fmla="*/ 374666 h 711206"/>
              <a:gd name="connsiteX7" fmla="*/ 2236762 w 2236762"/>
              <a:gd name="connsiteY7" fmla="*/ 402472 h 711206"/>
              <a:gd name="connsiteX8" fmla="*/ 2013434 w 2236762"/>
              <a:gd name="connsiteY8" fmla="*/ 157171 h 711206"/>
              <a:gd name="connsiteX9" fmla="*/ 1213472 w 2236762"/>
              <a:gd name="connsiteY9" fmla="*/ 0 h 711206"/>
              <a:gd name="connsiteX10" fmla="*/ 0 w 2236762"/>
              <a:gd name="connsiteY10" fmla="*/ 247160 h 711206"/>
              <a:gd name="connsiteX0" fmla="*/ 0 w 2236762"/>
              <a:gd name="connsiteY0" fmla="*/ 247160 h 723232"/>
              <a:gd name="connsiteX1" fmla="*/ 1058316 w 2236762"/>
              <a:gd name="connsiteY1" fmla="*/ 409112 h 723232"/>
              <a:gd name="connsiteX2" fmla="*/ 1354348 w 2236762"/>
              <a:gd name="connsiteY2" fmla="*/ 723232 h 723232"/>
              <a:gd name="connsiteX3" fmla="*/ 1503486 w 2236762"/>
              <a:gd name="connsiteY3" fmla="*/ 501208 h 723232"/>
              <a:gd name="connsiteX4" fmla="*/ 1237415 w 2236762"/>
              <a:gd name="connsiteY4" fmla="*/ 489359 h 723232"/>
              <a:gd name="connsiteX5" fmla="*/ 1849760 w 2236762"/>
              <a:gd name="connsiteY5" fmla="*/ 212138 h 723232"/>
              <a:gd name="connsiteX6" fmla="*/ 1774680 w 2236762"/>
              <a:gd name="connsiteY6" fmla="*/ 374666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237415 w 2236762"/>
              <a:gd name="connsiteY4" fmla="*/ 489359 h 723232"/>
              <a:gd name="connsiteX5" fmla="*/ 1849760 w 2236762"/>
              <a:gd name="connsiteY5" fmla="*/ 212138 h 723232"/>
              <a:gd name="connsiteX6" fmla="*/ 1774680 w 2236762"/>
              <a:gd name="connsiteY6" fmla="*/ 374666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1849760 w 2236762"/>
              <a:gd name="connsiteY5" fmla="*/ 212138 h 723232"/>
              <a:gd name="connsiteX6" fmla="*/ 1774680 w 2236762"/>
              <a:gd name="connsiteY6" fmla="*/ 374666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1849760 w 2236762"/>
              <a:gd name="connsiteY5" fmla="*/ 212138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23221 w 2236762"/>
              <a:gd name="connsiteY6" fmla="*/ 431790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30129 w 2236762"/>
              <a:gd name="connsiteY6" fmla="*/ 443815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30129 w 2236762"/>
              <a:gd name="connsiteY6" fmla="*/ 443815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30129 w 2236762"/>
              <a:gd name="connsiteY6" fmla="*/ 443815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30129 w 2236762"/>
              <a:gd name="connsiteY6" fmla="*/ 443815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 name="connsiteX0" fmla="*/ 0 w 2236762"/>
              <a:gd name="connsiteY0" fmla="*/ 247160 h 723232"/>
              <a:gd name="connsiteX1" fmla="*/ 1058316 w 2236762"/>
              <a:gd name="connsiteY1" fmla="*/ 409112 h 723232"/>
              <a:gd name="connsiteX2" fmla="*/ 1354348 w 2236762"/>
              <a:gd name="connsiteY2" fmla="*/ 723232 h 723232"/>
              <a:gd name="connsiteX3" fmla="*/ 1589847 w 2236762"/>
              <a:gd name="connsiteY3" fmla="*/ 558332 h 723232"/>
              <a:gd name="connsiteX4" fmla="*/ 1330685 w 2236762"/>
              <a:gd name="connsiteY4" fmla="*/ 564522 h 723232"/>
              <a:gd name="connsiteX5" fmla="*/ 2029393 w 2236762"/>
              <a:gd name="connsiteY5" fmla="*/ 326386 h 723232"/>
              <a:gd name="connsiteX6" fmla="*/ 1930129 w 2236762"/>
              <a:gd name="connsiteY6" fmla="*/ 443815 h 723232"/>
              <a:gd name="connsiteX7" fmla="*/ 2236762 w 2236762"/>
              <a:gd name="connsiteY7" fmla="*/ 402472 h 723232"/>
              <a:gd name="connsiteX8" fmla="*/ 2013434 w 2236762"/>
              <a:gd name="connsiteY8" fmla="*/ 157171 h 723232"/>
              <a:gd name="connsiteX9" fmla="*/ 1213472 w 2236762"/>
              <a:gd name="connsiteY9" fmla="*/ 0 h 723232"/>
              <a:gd name="connsiteX10" fmla="*/ 0 w 2236762"/>
              <a:gd name="connsiteY10" fmla="*/ 247160 h 72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62" h="723232">
                <a:moveTo>
                  <a:pt x="0" y="247160"/>
                </a:moveTo>
                <a:lnTo>
                  <a:pt x="1058316" y="409112"/>
                </a:lnTo>
                <a:cubicBezTo>
                  <a:pt x="1260057" y="631224"/>
                  <a:pt x="1165626" y="521160"/>
                  <a:pt x="1354348" y="723232"/>
                </a:cubicBezTo>
                <a:cubicBezTo>
                  <a:pt x="1433718" y="673611"/>
                  <a:pt x="1618076" y="596485"/>
                  <a:pt x="1589847" y="558332"/>
                </a:cubicBezTo>
                <a:cubicBezTo>
                  <a:pt x="1541077" y="524787"/>
                  <a:pt x="1405435" y="600211"/>
                  <a:pt x="1330685" y="564522"/>
                </a:cubicBezTo>
                <a:cubicBezTo>
                  <a:pt x="1262310" y="531877"/>
                  <a:pt x="2007661" y="285911"/>
                  <a:pt x="2029393" y="326386"/>
                </a:cubicBezTo>
                <a:cubicBezTo>
                  <a:pt x="2052993" y="370339"/>
                  <a:pt x="1911864" y="402901"/>
                  <a:pt x="1930129" y="443815"/>
                </a:cubicBezTo>
                <a:cubicBezTo>
                  <a:pt x="1970287" y="483425"/>
                  <a:pt x="2084121" y="446816"/>
                  <a:pt x="2236762" y="402472"/>
                </a:cubicBezTo>
                <a:cubicBezTo>
                  <a:pt x="2129275" y="285482"/>
                  <a:pt x="2048045" y="191567"/>
                  <a:pt x="2013434" y="157171"/>
                </a:cubicBezTo>
                <a:lnTo>
                  <a:pt x="1213472" y="0"/>
                </a:lnTo>
                <a:lnTo>
                  <a:pt x="0" y="247160"/>
                </a:lnTo>
                <a:close/>
              </a:path>
            </a:pathLst>
          </a:custGeom>
          <a:solidFill>
            <a:srgbClr val="505A64">
              <a:alpha val="54000"/>
            </a:srgbClr>
          </a:solidFill>
          <a:ln>
            <a:noFill/>
          </a:ln>
          <a:effectLst>
            <a:outerShdw blurRad="279400" dist="38100" dir="2700000" algn="tl" rotWithShape="0">
              <a:prstClr val="black">
                <a:alpha val="40000"/>
              </a:prstClr>
            </a:outerShdw>
          </a:effectLst>
          <a:scene3d>
            <a:camera prst="orthographicFront"/>
            <a:lightRig rig="freezing" dir="t"/>
          </a:scene3d>
          <a:sp3d prstMaterial="translucentPowder">
            <a:bevelT w="50800" h="133350"/>
            <a:bevelB w="25400" h="107950"/>
          </a:sp3d>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24" name="Textfeld 23"/>
          <p:cNvSpPr txBox="1"/>
          <p:nvPr/>
        </p:nvSpPr>
        <p:spPr>
          <a:xfrm>
            <a:off x="7167843" y="1790523"/>
            <a:ext cx="503343" cy="1134157"/>
          </a:xfrm>
          <a:prstGeom prst="rect">
            <a:avLst/>
          </a:prstGeom>
          <a:noFill/>
          <a:extLst>
            <a:ext uri="{909E8E84-426E-40DD-AFC4-6F175D3DCCD1}">
              <a14:hiddenFill xmlns:a14="http://schemas.microsoft.com/office/drawing/2010/main">
                <a:solidFill>
                  <a:srgbClr val="BBE0E3"/>
                </a:solidFill>
              </a14:hiddenFill>
            </a:ext>
          </a:extLst>
        </p:spPr>
        <p:txBody>
          <a:bodyPr wrap="none" lIns="0" tIns="0" rIns="0" bIns="0" rtlCol="0">
            <a:spAutoFit/>
          </a:bodyPr>
          <a:lstStyle/>
          <a:p>
            <a:pPr>
              <a:lnSpc>
                <a:spcPct val="110000"/>
              </a:lnSpc>
              <a:spcBef>
                <a:spcPts val="0"/>
              </a:spcBef>
            </a:pPr>
            <a:r>
              <a:rPr lang="en-US" sz="6700" dirty="0">
                <a:solidFill>
                  <a:srgbClr val="9BAFBE"/>
                </a:solidFill>
                <a:latin typeface="微软雅黑" panose="020B0503020204020204" pitchFamily="34" charset="-122"/>
                <a:ea typeface="微软雅黑" panose="020B0503020204020204" pitchFamily="34" charset="-122"/>
              </a:rPr>
              <a:t>4</a:t>
            </a:r>
          </a:p>
        </p:txBody>
      </p:sp>
      <p:grpSp>
        <p:nvGrpSpPr>
          <p:cNvPr id="3" name="Gruppieren 24"/>
          <p:cNvGrpSpPr/>
          <p:nvPr/>
        </p:nvGrpSpPr>
        <p:grpSpPr>
          <a:xfrm>
            <a:off x="4624067" y="2485940"/>
            <a:ext cx="5084407" cy="2699986"/>
            <a:chOff x="4843642" y="2498353"/>
            <a:chExt cx="4536976" cy="3214092"/>
          </a:xfrm>
          <a:effectLst/>
        </p:grpSpPr>
        <p:sp>
          <p:nvSpPr>
            <p:cNvPr id="26" name="Freihandform 25"/>
            <p:cNvSpPr/>
            <p:nvPr/>
          </p:nvSpPr>
          <p:spPr bwMode="auto">
            <a:xfrm>
              <a:off x="4843642" y="4802827"/>
              <a:ext cx="1579543" cy="909618"/>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714335 w 5964568"/>
                <a:gd name="connsiteY4" fmla="*/ 1913113 h 3227537"/>
                <a:gd name="connsiteX5" fmla="*/ 1523207 w 5964568"/>
                <a:gd name="connsiteY5" fmla="*/ 1199395 h 3227537"/>
                <a:gd name="connsiteX6" fmla="*/ 1433591 w 5964568"/>
                <a:gd name="connsiteY6" fmla="*/ 1471142 h 3227537"/>
                <a:gd name="connsiteX7" fmla="*/ 2320564 w 5964568"/>
                <a:gd name="connsiteY7" fmla="*/ 958464 h 3227537"/>
                <a:gd name="connsiteX8" fmla="*/ 1934587 w 5964568"/>
                <a:gd name="connsiteY8" fmla="*/ 939686 h 3227537"/>
                <a:gd name="connsiteX9" fmla="*/ 2724695 w 5964568"/>
                <a:gd name="connsiteY9" fmla="*/ 648948 h 3227537"/>
                <a:gd name="connsiteX10" fmla="*/ 2671161 w 5964568"/>
                <a:gd name="connsiteY10" fmla="*/ 815773 h 3227537"/>
                <a:gd name="connsiteX11" fmla="*/ 3352287 w 5964568"/>
                <a:gd name="connsiteY11" fmla="*/ 521781 h 3227537"/>
                <a:gd name="connsiteX12" fmla="*/ 3086216 w 5964568"/>
                <a:gd name="connsiteY12" fmla="*/ 509932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523207 w 5964568"/>
                <a:gd name="connsiteY4" fmla="*/ 1199395 h 3227537"/>
                <a:gd name="connsiteX5" fmla="*/ 1433591 w 5964568"/>
                <a:gd name="connsiteY5" fmla="*/ 1471142 h 3227537"/>
                <a:gd name="connsiteX6" fmla="*/ 2320564 w 5964568"/>
                <a:gd name="connsiteY6" fmla="*/ 958464 h 3227537"/>
                <a:gd name="connsiteX7" fmla="*/ 1934587 w 5964568"/>
                <a:gd name="connsiteY7" fmla="*/ 939686 h 3227537"/>
                <a:gd name="connsiteX8" fmla="*/ 2724695 w 5964568"/>
                <a:gd name="connsiteY8" fmla="*/ 648948 h 3227537"/>
                <a:gd name="connsiteX9" fmla="*/ 2671161 w 5964568"/>
                <a:gd name="connsiteY9" fmla="*/ 815773 h 3227537"/>
                <a:gd name="connsiteX10" fmla="*/ 3352287 w 5964568"/>
                <a:gd name="connsiteY10" fmla="*/ 521781 h 3227537"/>
                <a:gd name="connsiteX11" fmla="*/ 3086216 w 5964568"/>
                <a:gd name="connsiteY11" fmla="*/ 509932 h 3227537"/>
                <a:gd name="connsiteX12" fmla="*/ 3698561 w 5964568"/>
                <a:gd name="connsiteY12" fmla="*/ 23271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433591 w 5964568"/>
                <a:gd name="connsiteY4" fmla="*/ 1471142 h 3227537"/>
                <a:gd name="connsiteX5" fmla="*/ 2320564 w 5964568"/>
                <a:gd name="connsiteY5" fmla="*/ 958464 h 3227537"/>
                <a:gd name="connsiteX6" fmla="*/ 1934587 w 5964568"/>
                <a:gd name="connsiteY6" fmla="*/ 939686 h 3227537"/>
                <a:gd name="connsiteX7" fmla="*/ 2724695 w 5964568"/>
                <a:gd name="connsiteY7" fmla="*/ 648948 h 3227537"/>
                <a:gd name="connsiteX8" fmla="*/ 2671161 w 5964568"/>
                <a:gd name="connsiteY8" fmla="*/ 815773 h 3227537"/>
                <a:gd name="connsiteX9" fmla="*/ 3352287 w 5964568"/>
                <a:gd name="connsiteY9" fmla="*/ 521781 h 3227537"/>
                <a:gd name="connsiteX10" fmla="*/ 3086216 w 5964568"/>
                <a:gd name="connsiteY10" fmla="*/ 509932 h 3227537"/>
                <a:gd name="connsiteX11" fmla="*/ 3698561 w 5964568"/>
                <a:gd name="connsiteY11" fmla="*/ 232711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320564 w 5964568"/>
                <a:gd name="connsiteY4" fmla="*/ 958464 h 3227537"/>
                <a:gd name="connsiteX5" fmla="*/ 1934587 w 5964568"/>
                <a:gd name="connsiteY5" fmla="*/ 939686 h 3227537"/>
                <a:gd name="connsiteX6" fmla="*/ 2724695 w 5964568"/>
                <a:gd name="connsiteY6" fmla="*/ 648948 h 3227537"/>
                <a:gd name="connsiteX7" fmla="*/ 2671161 w 5964568"/>
                <a:gd name="connsiteY7" fmla="*/ 815773 h 3227537"/>
                <a:gd name="connsiteX8" fmla="*/ 3352287 w 5964568"/>
                <a:gd name="connsiteY8" fmla="*/ 521781 h 3227537"/>
                <a:gd name="connsiteX9" fmla="*/ 3086216 w 5964568"/>
                <a:gd name="connsiteY9" fmla="*/ 509932 h 3227537"/>
                <a:gd name="connsiteX10" fmla="*/ 3698561 w 5964568"/>
                <a:gd name="connsiteY10" fmla="*/ 232711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934587 w 5964568"/>
                <a:gd name="connsiteY4" fmla="*/ 939686 h 3227537"/>
                <a:gd name="connsiteX5" fmla="*/ 2724695 w 5964568"/>
                <a:gd name="connsiteY5" fmla="*/ 648948 h 3227537"/>
                <a:gd name="connsiteX6" fmla="*/ 2671161 w 5964568"/>
                <a:gd name="connsiteY6" fmla="*/ 815773 h 3227537"/>
                <a:gd name="connsiteX7" fmla="*/ 3352287 w 5964568"/>
                <a:gd name="connsiteY7" fmla="*/ 521781 h 3227537"/>
                <a:gd name="connsiteX8" fmla="*/ 3086216 w 5964568"/>
                <a:gd name="connsiteY8" fmla="*/ 509932 h 3227537"/>
                <a:gd name="connsiteX9" fmla="*/ 3698561 w 5964568"/>
                <a:gd name="connsiteY9" fmla="*/ 232711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724695 w 5964568"/>
                <a:gd name="connsiteY4" fmla="*/ 648948 h 3227537"/>
                <a:gd name="connsiteX5" fmla="*/ 2671161 w 5964568"/>
                <a:gd name="connsiteY5" fmla="*/ 815773 h 3227537"/>
                <a:gd name="connsiteX6" fmla="*/ 3352287 w 5964568"/>
                <a:gd name="connsiteY6" fmla="*/ 521781 h 3227537"/>
                <a:gd name="connsiteX7" fmla="*/ 3086216 w 5964568"/>
                <a:gd name="connsiteY7" fmla="*/ 509932 h 3227537"/>
                <a:gd name="connsiteX8" fmla="*/ 3698561 w 5964568"/>
                <a:gd name="connsiteY8" fmla="*/ 232711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671161 w 5964568"/>
                <a:gd name="connsiteY4" fmla="*/ 815773 h 3227537"/>
                <a:gd name="connsiteX5" fmla="*/ 3352287 w 5964568"/>
                <a:gd name="connsiteY5" fmla="*/ 521781 h 3227537"/>
                <a:gd name="connsiteX6" fmla="*/ 3086216 w 5964568"/>
                <a:gd name="connsiteY6" fmla="*/ 509932 h 3227537"/>
                <a:gd name="connsiteX7" fmla="*/ 3698561 w 5964568"/>
                <a:gd name="connsiteY7" fmla="*/ 232711 h 3227537"/>
                <a:gd name="connsiteX8" fmla="*/ 3623481 w 5964568"/>
                <a:gd name="connsiteY8" fmla="*/ 395239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352287 w 5964568"/>
                <a:gd name="connsiteY4" fmla="*/ 521781 h 3227537"/>
                <a:gd name="connsiteX5" fmla="*/ 3086216 w 5964568"/>
                <a:gd name="connsiteY5" fmla="*/ 509932 h 3227537"/>
                <a:gd name="connsiteX6" fmla="*/ 3698561 w 5964568"/>
                <a:gd name="connsiteY6" fmla="*/ 232711 h 3227537"/>
                <a:gd name="connsiteX7" fmla="*/ 3623481 w 5964568"/>
                <a:gd name="connsiteY7" fmla="*/ 395239 h 3227537"/>
                <a:gd name="connsiteX8" fmla="*/ 4344358 w 5964568"/>
                <a:gd name="connsiteY8" fmla="*/ 194615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086216 w 5964568"/>
                <a:gd name="connsiteY4" fmla="*/ 509932 h 3227537"/>
                <a:gd name="connsiteX5" fmla="*/ 3698561 w 5964568"/>
                <a:gd name="connsiteY5" fmla="*/ 232711 h 3227537"/>
                <a:gd name="connsiteX6" fmla="*/ 3623481 w 5964568"/>
                <a:gd name="connsiteY6" fmla="*/ 395239 h 3227537"/>
                <a:gd name="connsiteX7" fmla="*/ 4344358 w 5964568"/>
                <a:gd name="connsiteY7" fmla="*/ 194615 h 3227537"/>
                <a:gd name="connsiteX8" fmla="*/ 4198661 w 5964568"/>
                <a:gd name="connsiteY8" fmla="*/ 170771 h 3227537"/>
                <a:gd name="connsiteX9" fmla="*/ 4788590 w 5964568"/>
                <a:gd name="connsiteY9" fmla="*/ 54418 h 3227537"/>
                <a:gd name="connsiteX10" fmla="*/ 5066181 w 5964568"/>
                <a:gd name="connsiteY10" fmla="*/ 95353 h 3227537"/>
                <a:gd name="connsiteX11" fmla="*/ 5478894 w 5964568"/>
                <a:gd name="connsiteY11" fmla="*/ 3603 h 3227537"/>
                <a:gd name="connsiteX12" fmla="*/ 5964568 w 5964568"/>
                <a:gd name="connsiteY12" fmla="*/ 324196 h 3227537"/>
                <a:gd name="connsiteX13" fmla="*/ 1736389 w 5964568"/>
                <a:gd name="connsiteY13" fmla="*/ 3227537 h 3227537"/>
                <a:gd name="connsiteX14" fmla="*/ 212611 w 5964568"/>
                <a:gd name="connsiteY14"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98561 w 5964568"/>
                <a:gd name="connsiteY4" fmla="*/ 232711 h 3227537"/>
                <a:gd name="connsiteX5" fmla="*/ 3623481 w 5964568"/>
                <a:gd name="connsiteY5" fmla="*/ 395239 h 3227537"/>
                <a:gd name="connsiteX6" fmla="*/ 4344358 w 5964568"/>
                <a:gd name="connsiteY6" fmla="*/ 194615 h 3227537"/>
                <a:gd name="connsiteX7" fmla="*/ 4198661 w 5964568"/>
                <a:gd name="connsiteY7" fmla="*/ 170771 h 3227537"/>
                <a:gd name="connsiteX8" fmla="*/ 4788590 w 5964568"/>
                <a:gd name="connsiteY8" fmla="*/ 54418 h 3227537"/>
                <a:gd name="connsiteX9" fmla="*/ 5066181 w 5964568"/>
                <a:gd name="connsiteY9" fmla="*/ 95353 h 3227537"/>
                <a:gd name="connsiteX10" fmla="*/ 5478894 w 5964568"/>
                <a:gd name="connsiteY10" fmla="*/ 3603 h 3227537"/>
                <a:gd name="connsiteX11" fmla="*/ 5964568 w 5964568"/>
                <a:gd name="connsiteY11" fmla="*/ 324196 h 3227537"/>
                <a:gd name="connsiteX12" fmla="*/ 1736389 w 5964568"/>
                <a:gd name="connsiteY12" fmla="*/ 3227537 h 3227537"/>
                <a:gd name="connsiteX13" fmla="*/ 212611 w 5964568"/>
                <a:gd name="connsiteY1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23481 w 5964568"/>
                <a:gd name="connsiteY4" fmla="*/ 395239 h 3227537"/>
                <a:gd name="connsiteX5" fmla="*/ 4344358 w 5964568"/>
                <a:gd name="connsiteY5" fmla="*/ 194615 h 3227537"/>
                <a:gd name="connsiteX6" fmla="*/ 4198661 w 5964568"/>
                <a:gd name="connsiteY6" fmla="*/ 170771 h 3227537"/>
                <a:gd name="connsiteX7" fmla="*/ 4788590 w 5964568"/>
                <a:gd name="connsiteY7" fmla="*/ 54418 h 3227537"/>
                <a:gd name="connsiteX8" fmla="*/ 5066181 w 5964568"/>
                <a:gd name="connsiteY8" fmla="*/ 95353 h 3227537"/>
                <a:gd name="connsiteX9" fmla="*/ 5478894 w 5964568"/>
                <a:gd name="connsiteY9" fmla="*/ 3603 h 3227537"/>
                <a:gd name="connsiteX10" fmla="*/ 5964568 w 5964568"/>
                <a:gd name="connsiteY10" fmla="*/ 324196 h 3227537"/>
                <a:gd name="connsiteX11" fmla="*/ 1736389 w 5964568"/>
                <a:gd name="connsiteY11" fmla="*/ 3227537 h 3227537"/>
                <a:gd name="connsiteX12" fmla="*/ 212611 w 5964568"/>
                <a:gd name="connsiteY1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4344358 w 5964568"/>
                <a:gd name="connsiteY4" fmla="*/ 194615 h 3227537"/>
                <a:gd name="connsiteX5" fmla="*/ 4198661 w 5964568"/>
                <a:gd name="connsiteY5" fmla="*/ 170771 h 3227537"/>
                <a:gd name="connsiteX6" fmla="*/ 4788590 w 5964568"/>
                <a:gd name="connsiteY6" fmla="*/ 54418 h 3227537"/>
                <a:gd name="connsiteX7" fmla="*/ 5066181 w 5964568"/>
                <a:gd name="connsiteY7" fmla="*/ 95353 h 3227537"/>
                <a:gd name="connsiteX8" fmla="*/ 5478894 w 5964568"/>
                <a:gd name="connsiteY8" fmla="*/ 3603 h 3227537"/>
                <a:gd name="connsiteX9" fmla="*/ 5964568 w 5964568"/>
                <a:gd name="connsiteY9" fmla="*/ 324196 h 3227537"/>
                <a:gd name="connsiteX10" fmla="*/ 1736389 w 5964568"/>
                <a:gd name="connsiteY10" fmla="*/ 3227537 h 3227537"/>
                <a:gd name="connsiteX11" fmla="*/ 212611 w 5964568"/>
                <a:gd name="connsiteY1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4198661 w 5964568"/>
                <a:gd name="connsiteY4" fmla="*/ 170771 h 3227537"/>
                <a:gd name="connsiteX5" fmla="*/ 4788590 w 5964568"/>
                <a:gd name="connsiteY5" fmla="*/ 54418 h 3227537"/>
                <a:gd name="connsiteX6" fmla="*/ 5066181 w 5964568"/>
                <a:gd name="connsiteY6" fmla="*/ 95353 h 3227537"/>
                <a:gd name="connsiteX7" fmla="*/ 5478894 w 5964568"/>
                <a:gd name="connsiteY7" fmla="*/ 3603 h 3227537"/>
                <a:gd name="connsiteX8" fmla="*/ 5964568 w 5964568"/>
                <a:gd name="connsiteY8" fmla="*/ 324196 h 3227537"/>
                <a:gd name="connsiteX9" fmla="*/ 1736389 w 5964568"/>
                <a:gd name="connsiteY9" fmla="*/ 3227537 h 3227537"/>
                <a:gd name="connsiteX10" fmla="*/ 212611 w 5964568"/>
                <a:gd name="connsiteY10"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4788590 w 5964568"/>
                <a:gd name="connsiteY4" fmla="*/ 50815 h 3223934"/>
                <a:gd name="connsiteX5" fmla="*/ 5066181 w 5964568"/>
                <a:gd name="connsiteY5" fmla="*/ 91750 h 3223934"/>
                <a:gd name="connsiteX6" fmla="*/ 5478894 w 5964568"/>
                <a:gd name="connsiteY6" fmla="*/ 0 h 3223934"/>
                <a:gd name="connsiteX7" fmla="*/ 5964568 w 5964568"/>
                <a:gd name="connsiteY7" fmla="*/ 320593 h 3223934"/>
                <a:gd name="connsiteX8" fmla="*/ 1736389 w 5964568"/>
                <a:gd name="connsiteY8" fmla="*/ 3223934 h 3223934"/>
                <a:gd name="connsiteX9" fmla="*/ 212611 w 5964568"/>
                <a:gd name="connsiteY9"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5066181 w 5964568"/>
                <a:gd name="connsiteY4" fmla="*/ 91750 h 3223934"/>
                <a:gd name="connsiteX5" fmla="*/ 5478894 w 5964568"/>
                <a:gd name="connsiteY5" fmla="*/ 0 h 3223934"/>
                <a:gd name="connsiteX6" fmla="*/ 5964568 w 5964568"/>
                <a:gd name="connsiteY6" fmla="*/ 320593 h 3223934"/>
                <a:gd name="connsiteX7" fmla="*/ 1736389 w 5964568"/>
                <a:gd name="connsiteY7" fmla="*/ 3223934 h 3223934"/>
                <a:gd name="connsiteX8" fmla="*/ 212611 w 5964568"/>
                <a:gd name="connsiteY8"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5478894 w 5964568"/>
                <a:gd name="connsiteY4" fmla="*/ 0 h 3223934"/>
                <a:gd name="connsiteX5" fmla="*/ 5964568 w 5964568"/>
                <a:gd name="connsiteY5" fmla="*/ 320593 h 3223934"/>
                <a:gd name="connsiteX6" fmla="*/ 1736389 w 5964568"/>
                <a:gd name="connsiteY6" fmla="*/ 3223934 h 3223934"/>
                <a:gd name="connsiteX7" fmla="*/ 212611 w 5964568"/>
                <a:gd name="connsiteY7" fmla="*/ 2870244 h 3223934"/>
                <a:gd name="connsiteX0" fmla="*/ 212611 w 5964568"/>
                <a:gd name="connsiteY0" fmla="*/ 2561051 h 2914741"/>
                <a:gd name="connsiteX1" fmla="*/ 160498 w 5964568"/>
                <a:gd name="connsiteY1" fmla="*/ 2359441 h 2914741"/>
                <a:gd name="connsiteX2" fmla="*/ 418903 w 5964568"/>
                <a:gd name="connsiteY2" fmla="*/ 2059031 h 2914741"/>
                <a:gd name="connsiteX3" fmla="*/ 914255 w 5964568"/>
                <a:gd name="connsiteY3" fmla="*/ 1910625 h 2914741"/>
                <a:gd name="connsiteX4" fmla="*/ 5964568 w 5964568"/>
                <a:gd name="connsiteY4" fmla="*/ 11400 h 2914741"/>
                <a:gd name="connsiteX5" fmla="*/ 1736389 w 5964568"/>
                <a:gd name="connsiteY5" fmla="*/ 2914741 h 2914741"/>
                <a:gd name="connsiteX6" fmla="*/ 212611 w 5964568"/>
                <a:gd name="connsiteY6" fmla="*/ 2561051 h 2914741"/>
                <a:gd name="connsiteX0" fmla="*/ 212611 w 2686642"/>
                <a:gd name="connsiteY0" fmla="*/ 936448 h 1290138"/>
                <a:gd name="connsiteX1" fmla="*/ 160498 w 2686642"/>
                <a:gd name="connsiteY1" fmla="*/ 734838 h 1290138"/>
                <a:gd name="connsiteX2" fmla="*/ 418903 w 2686642"/>
                <a:gd name="connsiteY2" fmla="*/ 434428 h 1290138"/>
                <a:gd name="connsiteX3" fmla="*/ 914255 w 2686642"/>
                <a:gd name="connsiteY3" fmla="*/ 286022 h 1290138"/>
                <a:gd name="connsiteX4" fmla="*/ 2686642 w 2686642"/>
                <a:gd name="connsiteY4" fmla="*/ 107940 h 1290138"/>
                <a:gd name="connsiteX5" fmla="*/ 1736389 w 2686642"/>
                <a:gd name="connsiteY5" fmla="*/ 1290138 h 1290138"/>
                <a:gd name="connsiteX6" fmla="*/ 212611 w 2686642"/>
                <a:gd name="connsiteY6" fmla="*/ 936448 h 1290138"/>
                <a:gd name="connsiteX0" fmla="*/ 212611 w 3077179"/>
                <a:gd name="connsiteY0" fmla="*/ 936448 h 1290138"/>
                <a:gd name="connsiteX1" fmla="*/ 160498 w 3077179"/>
                <a:gd name="connsiteY1" fmla="*/ 734838 h 1290138"/>
                <a:gd name="connsiteX2" fmla="*/ 418903 w 3077179"/>
                <a:gd name="connsiteY2" fmla="*/ 434428 h 1290138"/>
                <a:gd name="connsiteX3" fmla="*/ 914255 w 3077179"/>
                <a:gd name="connsiteY3" fmla="*/ 286022 h 1290138"/>
                <a:gd name="connsiteX4" fmla="*/ 2686642 w 3077179"/>
                <a:gd name="connsiteY4" fmla="*/ 107940 h 1290138"/>
                <a:gd name="connsiteX5" fmla="*/ 1736389 w 3077179"/>
                <a:gd name="connsiteY5" fmla="*/ 1290138 h 1290138"/>
                <a:gd name="connsiteX6" fmla="*/ 212611 w 3077179"/>
                <a:gd name="connsiteY6" fmla="*/ 936448 h 1290138"/>
                <a:gd name="connsiteX0" fmla="*/ 212611 w 3077179"/>
                <a:gd name="connsiteY0" fmla="*/ 1060091 h 1413781"/>
                <a:gd name="connsiteX1" fmla="*/ 160498 w 3077179"/>
                <a:gd name="connsiteY1" fmla="*/ 858481 h 1413781"/>
                <a:gd name="connsiteX2" fmla="*/ 418903 w 3077179"/>
                <a:gd name="connsiteY2" fmla="*/ 558071 h 1413781"/>
                <a:gd name="connsiteX3" fmla="*/ 914255 w 3077179"/>
                <a:gd name="connsiteY3" fmla="*/ 409665 h 1413781"/>
                <a:gd name="connsiteX4" fmla="*/ 2686642 w 3077179"/>
                <a:gd name="connsiteY4" fmla="*/ 231583 h 1413781"/>
                <a:gd name="connsiteX5" fmla="*/ 1736389 w 3077179"/>
                <a:gd name="connsiteY5" fmla="*/ 1413781 h 1413781"/>
                <a:gd name="connsiteX6" fmla="*/ 212611 w 3077179"/>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080528"/>
                <a:gd name="connsiteY0" fmla="*/ 772159 h 1125849"/>
                <a:gd name="connsiteX1" fmla="*/ 160498 w 2080528"/>
                <a:gd name="connsiteY1" fmla="*/ 570549 h 1125849"/>
                <a:gd name="connsiteX2" fmla="*/ 418903 w 2080528"/>
                <a:gd name="connsiteY2" fmla="*/ 270139 h 1125849"/>
                <a:gd name="connsiteX3" fmla="*/ 914255 w 2080528"/>
                <a:gd name="connsiteY3" fmla="*/ 121733 h 1125849"/>
                <a:gd name="connsiteX4" fmla="*/ 2080528 w 2080528"/>
                <a:gd name="connsiteY4" fmla="*/ 669333 h 1125849"/>
                <a:gd name="connsiteX5" fmla="*/ 1736389 w 2080528"/>
                <a:gd name="connsiteY5" fmla="*/ 1125849 h 1125849"/>
                <a:gd name="connsiteX6" fmla="*/ 212611 w 2080528"/>
                <a:gd name="connsiteY6" fmla="*/ 772159 h 1125849"/>
                <a:gd name="connsiteX0" fmla="*/ 212611 w 2080528"/>
                <a:gd name="connsiteY0" fmla="*/ 772159 h 1125849"/>
                <a:gd name="connsiteX1" fmla="*/ 160498 w 2080528"/>
                <a:gd name="connsiteY1" fmla="*/ 570549 h 1125849"/>
                <a:gd name="connsiteX2" fmla="*/ 418903 w 2080528"/>
                <a:gd name="connsiteY2" fmla="*/ 270139 h 1125849"/>
                <a:gd name="connsiteX3" fmla="*/ 914255 w 2080528"/>
                <a:gd name="connsiteY3" fmla="*/ 121733 h 1125849"/>
                <a:gd name="connsiteX4" fmla="*/ 2080528 w 2080528"/>
                <a:gd name="connsiteY4" fmla="*/ 669333 h 1125849"/>
                <a:gd name="connsiteX5" fmla="*/ 1736389 w 2080528"/>
                <a:gd name="connsiteY5" fmla="*/ 1125849 h 1125849"/>
                <a:gd name="connsiteX6" fmla="*/ 212611 w 2080528"/>
                <a:gd name="connsiteY6" fmla="*/ 772159 h 1125849"/>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25632 h 1079322"/>
                <a:gd name="connsiteX1" fmla="*/ 160498 w 1817558"/>
                <a:gd name="connsiteY1" fmla="*/ 524022 h 1079322"/>
                <a:gd name="connsiteX2" fmla="*/ 418903 w 1817558"/>
                <a:gd name="connsiteY2" fmla="*/ 223612 h 1079322"/>
                <a:gd name="connsiteX3" fmla="*/ 914255 w 1817558"/>
                <a:gd name="connsiteY3" fmla="*/ 75206 h 1079322"/>
                <a:gd name="connsiteX4" fmla="*/ 1817558 w 1817558"/>
                <a:gd name="connsiteY4" fmla="*/ 957736 h 1079322"/>
                <a:gd name="connsiteX5" fmla="*/ 1736389 w 1817558"/>
                <a:gd name="connsiteY5" fmla="*/ 1079322 h 1079322"/>
                <a:gd name="connsiteX6" fmla="*/ 212611 w 1817558"/>
                <a:gd name="connsiteY6" fmla="*/ 725632 h 1079322"/>
                <a:gd name="connsiteX0" fmla="*/ 212611 w 1817558"/>
                <a:gd name="connsiteY0" fmla="*/ 583262 h 936952"/>
                <a:gd name="connsiteX1" fmla="*/ 160498 w 1817558"/>
                <a:gd name="connsiteY1" fmla="*/ 381652 h 936952"/>
                <a:gd name="connsiteX2" fmla="*/ 418903 w 1817558"/>
                <a:gd name="connsiteY2" fmla="*/ 81242 h 936952"/>
                <a:gd name="connsiteX3" fmla="*/ 718632 w 1817558"/>
                <a:gd name="connsiteY3" fmla="*/ 86345 h 936952"/>
                <a:gd name="connsiteX4" fmla="*/ 1817558 w 1817558"/>
                <a:gd name="connsiteY4" fmla="*/ 815366 h 936952"/>
                <a:gd name="connsiteX5" fmla="*/ 1736389 w 1817558"/>
                <a:gd name="connsiteY5" fmla="*/ 936952 h 936952"/>
                <a:gd name="connsiteX6" fmla="*/ 212611 w 1817558"/>
                <a:gd name="connsiteY6" fmla="*/ 583262 h 936952"/>
                <a:gd name="connsiteX0" fmla="*/ 212611 w 1817558"/>
                <a:gd name="connsiteY0" fmla="*/ 583262 h 936952"/>
                <a:gd name="connsiteX1" fmla="*/ 160498 w 1817558"/>
                <a:gd name="connsiteY1" fmla="*/ 381652 h 936952"/>
                <a:gd name="connsiteX2" fmla="*/ 418903 w 1817558"/>
                <a:gd name="connsiteY2" fmla="*/ 81242 h 936952"/>
                <a:gd name="connsiteX3" fmla="*/ 718632 w 1817558"/>
                <a:gd name="connsiteY3" fmla="*/ 86345 h 936952"/>
                <a:gd name="connsiteX4" fmla="*/ 1817558 w 1817558"/>
                <a:gd name="connsiteY4" fmla="*/ 815366 h 936952"/>
                <a:gd name="connsiteX5" fmla="*/ 1736389 w 1817558"/>
                <a:gd name="connsiteY5" fmla="*/ 936952 h 936952"/>
                <a:gd name="connsiteX6" fmla="*/ 212611 w 1817558"/>
                <a:gd name="connsiteY6" fmla="*/ 583262 h 936952"/>
                <a:gd name="connsiteX0" fmla="*/ 212611 w 1817558"/>
                <a:gd name="connsiteY0" fmla="*/ 547979 h 901669"/>
                <a:gd name="connsiteX1" fmla="*/ 160498 w 1817558"/>
                <a:gd name="connsiteY1" fmla="*/ 346369 h 901669"/>
                <a:gd name="connsiteX2" fmla="*/ 418903 w 1817558"/>
                <a:gd name="connsiteY2" fmla="*/ 45959 h 901669"/>
                <a:gd name="connsiteX3" fmla="*/ 718632 w 1817558"/>
                <a:gd name="connsiteY3" fmla="*/ 51062 h 901669"/>
                <a:gd name="connsiteX4" fmla="*/ 1817558 w 1817558"/>
                <a:gd name="connsiteY4" fmla="*/ 780083 h 901669"/>
                <a:gd name="connsiteX5" fmla="*/ 1736389 w 1817558"/>
                <a:gd name="connsiteY5" fmla="*/ 901669 h 901669"/>
                <a:gd name="connsiteX6" fmla="*/ 212611 w 1817558"/>
                <a:gd name="connsiteY6" fmla="*/ 547979 h 901669"/>
                <a:gd name="connsiteX0" fmla="*/ 212611 w 1814160"/>
                <a:gd name="connsiteY0" fmla="*/ 547979 h 901669"/>
                <a:gd name="connsiteX1" fmla="*/ 160498 w 1814160"/>
                <a:gd name="connsiteY1" fmla="*/ 346369 h 901669"/>
                <a:gd name="connsiteX2" fmla="*/ 418903 w 1814160"/>
                <a:gd name="connsiteY2" fmla="*/ 45959 h 901669"/>
                <a:gd name="connsiteX3" fmla="*/ 718632 w 1814160"/>
                <a:gd name="connsiteY3" fmla="*/ 51062 h 901669"/>
                <a:gd name="connsiteX4" fmla="*/ 1814160 w 1814160"/>
                <a:gd name="connsiteY4" fmla="*/ 774169 h 901669"/>
                <a:gd name="connsiteX5" fmla="*/ 1736389 w 1814160"/>
                <a:gd name="connsiteY5" fmla="*/ 901669 h 901669"/>
                <a:gd name="connsiteX6" fmla="*/ 212611 w 1814160"/>
                <a:gd name="connsiteY6" fmla="*/ 547979 h 901669"/>
                <a:gd name="connsiteX0" fmla="*/ 212611 w 1814160"/>
                <a:gd name="connsiteY0" fmla="*/ 547979 h 891252"/>
                <a:gd name="connsiteX1" fmla="*/ 160498 w 1814160"/>
                <a:gd name="connsiteY1" fmla="*/ 346369 h 891252"/>
                <a:gd name="connsiteX2" fmla="*/ 418903 w 1814160"/>
                <a:gd name="connsiteY2" fmla="*/ 45959 h 891252"/>
                <a:gd name="connsiteX3" fmla="*/ 718632 w 1814160"/>
                <a:gd name="connsiteY3" fmla="*/ 51062 h 891252"/>
                <a:gd name="connsiteX4" fmla="*/ 1814160 w 1814160"/>
                <a:gd name="connsiteY4" fmla="*/ 774169 h 891252"/>
                <a:gd name="connsiteX5" fmla="*/ 1709456 w 1814160"/>
                <a:gd name="connsiteY5" fmla="*/ 891252 h 891252"/>
                <a:gd name="connsiteX6" fmla="*/ 212611 w 1814160"/>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78249"/>
                <a:gd name="connsiteY0" fmla="*/ 547979 h 891252"/>
                <a:gd name="connsiteX1" fmla="*/ 160498 w 1778249"/>
                <a:gd name="connsiteY1" fmla="*/ 346369 h 891252"/>
                <a:gd name="connsiteX2" fmla="*/ 418903 w 1778249"/>
                <a:gd name="connsiteY2" fmla="*/ 45959 h 891252"/>
                <a:gd name="connsiteX3" fmla="*/ 718632 w 1778249"/>
                <a:gd name="connsiteY3" fmla="*/ 51062 h 891252"/>
                <a:gd name="connsiteX4" fmla="*/ 1778249 w 1778249"/>
                <a:gd name="connsiteY4" fmla="*/ 750729 h 891252"/>
                <a:gd name="connsiteX5" fmla="*/ 1709456 w 1778249"/>
                <a:gd name="connsiteY5" fmla="*/ 891252 h 891252"/>
                <a:gd name="connsiteX6" fmla="*/ 212611 w 1778249"/>
                <a:gd name="connsiteY6" fmla="*/ 547979 h 891252"/>
                <a:gd name="connsiteX0" fmla="*/ 212611 w 1778249"/>
                <a:gd name="connsiteY0" fmla="*/ 547979 h 891252"/>
                <a:gd name="connsiteX1" fmla="*/ 160498 w 1778249"/>
                <a:gd name="connsiteY1" fmla="*/ 346369 h 891252"/>
                <a:gd name="connsiteX2" fmla="*/ 418903 w 1778249"/>
                <a:gd name="connsiteY2" fmla="*/ 45959 h 891252"/>
                <a:gd name="connsiteX3" fmla="*/ 718632 w 1778249"/>
                <a:gd name="connsiteY3" fmla="*/ 51062 h 891252"/>
                <a:gd name="connsiteX4" fmla="*/ 1778249 w 1778249"/>
                <a:gd name="connsiteY4" fmla="*/ 750729 h 891252"/>
                <a:gd name="connsiteX5" fmla="*/ 1700478 w 1778249"/>
                <a:gd name="connsiteY5" fmla="*/ 891252 h 891252"/>
                <a:gd name="connsiteX6" fmla="*/ 212611 w 1778249"/>
                <a:gd name="connsiteY6" fmla="*/ 547979 h 89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249" h="891252">
                  <a:moveTo>
                    <a:pt x="212611" y="547979"/>
                  </a:moveTo>
                  <a:cubicBezTo>
                    <a:pt x="564384" y="169698"/>
                    <a:pt x="327680" y="281848"/>
                    <a:pt x="160498" y="346369"/>
                  </a:cubicBezTo>
                  <a:cubicBezTo>
                    <a:pt x="-309276" y="522496"/>
                    <a:pt x="399850" y="-182200"/>
                    <a:pt x="418903" y="45959"/>
                  </a:cubicBezTo>
                  <a:cubicBezTo>
                    <a:pt x="433070" y="154217"/>
                    <a:pt x="534129" y="179410"/>
                    <a:pt x="718632" y="51062"/>
                  </a:cubicBezTo>
                  <a:cubicBezTo>
                    <a:pt x="1226005" y="388023"/>
                    <a:pt x="1319983" y="440003"/>
                    <a:pt x="1778249" y="750729"/>
                  </a:cubicBezTo>
                  <a:cubicBezTo>
                    <a:pt x="1760138" y="779775"/>
                    <a:pt x="1717857" y="850838"/>
                    <a:pt x="1700478" y="891252"/>
                  </a:cubicBezTo>
                  <a:lnTo>
                    <a:pt x="212611" y="547979"/>
                  </a:lnTo>
                  <a:close/>
                </a:path>
              </a:pathLst>
            </a:custGeom>
            <a:solidFill>
              <a:srgbClr val="8CC3D2">
                <a:alpha val="54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27" name="Freihandform 26"/>
            <p:cNvSpPr/>
            <p:nvPr/>
          </p:nvSpPr>
          <p:spPr bwMode="auto">
            <a:xfrm>
              <a:off x="6648127" y="3155088"/>
              <a:ext cx="1272871" cy="1196912"/>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4788590 w 5964568"/>
                <a:gd name="connsiteY13" fmla="*/ 50815 h 3223934"/>
                <a:gd name="connsiteX14" fmla="*/ 5066181 w 5964568"/>
                <a:gd name="connsiteY14" fmla="*/ 91750 h 3223934"/>
                <a:gd name="connsiteX15" fmla="*/ 5478894 w 5964568"/>
                <a:gd name="connsiteY15" fmla="*/ 0 h 3223934"/>
                <a:gd name="connsiteX16" fmla="*/ 5964568 w 5964568"/>
                <a:gd name="connsiteY16" fmla="*/ 320593 h 3223934"/>
                <a:gd name="connsiteX17" fmla="*/ 1736389 w 5964568"/>
                <a:gd name="connsiteY17" fmla="*/ 3223934 h 3223934"/>
                <a:gd name="connsiteX18" fmla="*/ 212611 w 5964568"/>
                <a:gd name="connsiteY18"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5066181 w 5964568"/>
                <a:gd name="connsiteY13" fmla="*/ 91750 h 3223934"/>
                <a:gd name="connsiteX14" fmla="*/ 5478894 w 5964568"/>
                <a:gd name="connsiteY14" fmla="*/ 0 h 3223934"/>
                <a:gd name="connsiteX15" fmla="*/ 5964568 w 5964568"/>
                <a:gd name="connsiteY15" fmla="*/ 320593 h 3223934"/>
                <a:gd name="connsiteX16" fmla="*/ 1736389 w 5964568"/>
                <a:gd name="connsiteY16" fmla="*/ 3223934 h 3223934"/>
                <a:gd name="connsiteX17" fmla="*/ 212611 w 5964568"/>
                <a:gd name="connsiteY17"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5478894 w 5964568"/>
                <a:gd name="connsiteY13" fmla="*/ 0 h 3223934"/>
                <a:gd name="connsiteX14" fmla="*/ 5964568 w 5964568"/>
                <a:gd name="connsiteY14" fmla="*/ 320593 h 3223934"/>
                <a:gd name="connsiteX15" fmla="*/ 1736389 w 5964568"/>
                <a:gd name="connsiteY15" fmla="*/ 3223934 h 3223934"/>
                <a:gd name="connsiteX16" fmla="*/ 212611 w 5964568"/>
                <a:gd name="connsiteY16" fmla="*/ 2870244 h 3223934"/>
                <a:gd name="connsiteX0" fmla="*/ 212611 w 5478895"/>
                <a:gd name="connsiteY0" fmla="*/ 2870244 h 3223934"/>
                <a:gd name="connsiteX1" fmla="*/ 160498 w 5478895"/>
                <a:gd name="connsiteY1" fmla="*/ 2668634 h 3223934"/>
                <a:gd name="connsiteX2" fmla="*/ 418903 w 5478895"/>
                <a:gd name="connsiteY2" fmla="*/ 2368224 h 3223934"/>
                <a:gd name="connsiteX3" fmla="*/ 914255 w 5478895"/>
                <a:gd name="connsiteY3" fmla="*/ 2219818 h 3223934"/>
                <a:gd name="connsiteX4" fmla="*/ 1020177 w 5478895"/>
                <a:gd name="connsiteY4" fmla="*/ 1815980 h 3223934"/>
                <a:gd name="connsiteX5" fmla="*/ 714335 w 5478895"/>
                <a:gd name="connsiteY5" fmla="*/ 1909510 h 3223934"/>
                <a:gd name="connsiteX6" fmla="*/ 1523207 w 5478895"/>
                <a:gd name="connsiteY6" fmla="*/ 1195792 h 3223934"/>
                <a:gd name="connsiteX7" fmla="*/ 1433591 w 5478895"/>
                <a:gd name="connsiteY7" fmla="*/ 1467539 h 3223934"/>
                <a:gd name="connsiteX8" fmla="*/ 2320564 w 5478895"/>
                <a:gd name="connsiteY8" fmla="*/ 954861 h 3223934"/>
                <a:gd name="connsiteX9" fmla="*/ 1934587 w 5478895"/>
                <a:gd name="connsiteY9" fmla="*/ 936083 h 3223934"/>
                <a:gd name="connsiteX10" fmla="*/ 2724695 w 5478895"/>
                <a:gd name="connsiteY10" fmla="*/ 645345 h 3223934"/>
                <a:gd name="connsiteX11" fmla="*/ 2671161 w 5478895"/>
                <a:gd name="connsiteY11" fmla="*/ 812170 h 3223934"/>
                <a:gd name="connsiteX12" fmla="*/ 3352287 w 5478895"/>
                <a:gd name="connsiteY12" fmla="*/ 518178 h 3223934"/>
                <a:gd name="connsiteX13" fmla="*/ 5478894 w 5478895"/>
                <a:gd name="connsiteY13" fmla="*/ 0 h 3223934"/>
                <a:gd name="connsiteX14" fmla="*/ 3702529 w 5478895"/>
                <a:gd name="connsiteY14" fmla="*/ 1181164 h 3223934"/>
                <a:gd name="connsiteX15" fmla="*/ 1736389 w 5478895"/>
                <a:gd name="connsiteY15" fmla="*/ 3223934 h 3223934"/>
                <a:gd name="connsiteX16" fmla="*/ 212611 w 5478895"/>
                <a:gd name="connsiteY16" fmla="*/ 2870244 h 3223934"/>
                <a:gd name="connsiteX0" fmla="*/ 212611 w 5478894"/>
                <a:gd name="connsiteY0" fmla="*/ 2870244 h 3223934"/>
                <a:gd name="connsiteX1" fmla="*/ 160498 w 5478894"/>
                <a:gd name="connsiteY1" fmla="*/ 2668634 h 3223934"/>
                <a:gd name="connsiteX2" fmla="*/ 418903 w 5478894"/>
                <a:gd name="connsiteY2" fmla="*/ 2368224 h 3223934"/>
                <a:gd name="connsiteX3" fmla="*/ 914255 w 5478894"/>
                <a:gd name="connsiteY3" fmla="*/ 2219818 h 3223934"/>
                <a:gd name="connsiteX4" fmla="*/ 1020177 w 5478894"/>
                <a:gd name="connsiteY4" fmla="*/ 1815980 h 3223934"/>
                <a:gd name="connsiteX5" fmla="*/ 714335 w 5478894"/>
                <a:gd name="connsiteY5" fmla="*/ 1909510 h 3223934"/>
                <a:gd name="connsiteX6" fmla="*/ 1523207 w 5478894"/>
                <a:gd name="connsiteY6" fmla="*/ 1195792 h 3223934"/>
                <a:gd name="connsiteX7" fmla="*/ 1433591 w 5478894"/>
                <a:gd name="connsiteY7" fmla="*/ 1467539 h 3223934"/>
                <a:gd name="connsiteX8" fmla="*/ 2320564 w 5478894"/>
                <a:gd name="connsiteY8" fmla="*/ 954861 h 3223934"/>
                <a:gd name="connsiteX9" fmla="*/ 1934587 w 5478894"/>
                <a:gd name="connsiteY9" fmla="*/ 936083 h 3223934"/>
                <a:gd name="connsiteX10" fmla="*/ 2724695 w 5478894"/>
                <a:gd name="connsiteY10" fmla="*/ 645345 h 3223934"/>
                <a:gd name="connsiteX11" fmla="*/ 2671161 w 5478894"/>
                <a:gd name="connsiteY11" fmla="*/ 812170 h 3223934"/>
                <a:gd name="connsiteX12" fmla="*/ 3352287 w 5478894"/>
                <a:gd name="connsiteY12" fmla="*/ 518178 h 3223934"/>
                <a:gd name="connsiteX13" fmla="*/ 5478894 w 5478894"/>
                <a:gd name="connsiteY13" fmla="*/ 0 h 3223934"/>
                <a:gd name="connsiteX14" fmla="*/ 3702529 w 5478894"/>
                <a:gd name="connsiteY14" fmla="*/ 1181164 h 3223934"/>
                <a:gd name="connsiteX15" fmla="*/ 1736389 w 5478894"/>
                <a:gd name="connsiteY15" fmla="*/ 3223934 h 3223934"/>
                <a:gd name="connsiteX16" fmla="*/ 212611 w 5478894"/>
                <a:gd name="connsiteY16" fmla="*/ 2870244 h 3223934"/>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714335 w 3786748"/>
                <a:gd name="connsiteY5" fmla="*/ 1395377 h 2709801"/>
                <a:gd name="connsiteX6" fmla="*/ 1523207 w 3786748"/>
                <a:gd name="connsiteY6" fmla="*/ 681659 h 2709801"/>
                <a:gd name="connsiteX7" fmla="*/ 1433591 w 3786748"/>
                <a:gd name="connsiteY7" fmla="*/ 953406 h 2709801"/>
                <a:gd name="connsiteX8" fmla="*/ 2320564 w 3786748"/>
                <a:gd name="connsiteY8" fmla="*/ 440728 h 2709801"/>
                <a:gd name="connsiteX9" fmla="*/ 1934587 w 3786748"/>
                <a:gd name="connsiteY9" fmla="*/ 421950 h 2709801"/>
                <a:gd name="connsiteX10" fmla="*/ 2724695 w 3786748"/>
                <a:gd name="connsiteY10" fmla="*/ 131212 h 2709801"/>
                <a:gd name="connsiteX11" fmla="*/ 2671161 w 3786748"/>
                <a:gd name="connsiteY11" fmla="*/ 298037 h 2709801"/>
                <a:gd name="connsiteX12" fmla="*/ 3352287 w 3786748"/>
                <a:gd name="connsiteY12" fmla="*/ 4045 h 2709801"/>
                <a:gd name="connsiteX13" fmla="*/ 3702529 w 3786748"/>
                <a:gd name="connsiteY13" fmla="*/ 667031 h 2709801"/>
                <a:gd name="connsiteX14" fmla="*/ 1736389 w 3786748"/>
                <a:gd name="connsiteY14" fmla="*/ 2709801 h 2709801"/>
                <a:gd name="connsiteX15" fmla="*/ 212611 w 3786748"/>
                <a:gd name="connsiteY15"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714335 w 3786748"/>
                <a:gd name="connsiteY5" fmla="*/ 1395377 h 2709801"/>
                <a:gd name="connsiteX6" fmla="*/ 1433591 w 3786748"/>
                <a:gd name="connsiteY6" fmla="*/ 953406 h 2709801"/>
                <a:gd name="connsiteX7" fmla="*/ 2320564 w 3786748"/>
                <a:gd name="connsiteY7" fmla="*/ 440728 h 2709801"/>
                <a:gd name="connsiteX8" fmla="*/ 1934587 w 3786748"/>
                <a:gd name="connsiteY8" fmla="*/ 421950 h 2709801"/>
                <a:gd name="connsiteX9" fmla="*/ 2724695 w 3786748"/>
                <a:gd name="connsiteY9" fmla="*/ 131212 h 2709801"/>
                <a:gd name="connsiteX10" fmla="*/ 2671161 w 3786748"/>
                <a:gd name="connsiteY10" fmla="*/ 298037 h 2709801"/>
                <a:gd name="connsiteX11" fmla="*/ 3352287 w 3786748"/>
                <a:gd name="connsiteY11" fmla="*/ 4045 h 2709801"/>
                <a:gd name="connsiteX12" fmla="*/ 3702529 w 3786748"/>
                <a:gd name="connsiteY12" fmla="*/ 667031 h 2709801"/>
                <a:gd name="connsiteX13" fmla="*/ 1736389 w 3786748"/>
                <a:gd name="connsiteY13" fmla="*/ 2709801 h 2709801"/>
                <a:gd name="connsiteX14" fmla="*/ 212611 w 3786748"/>
                <a:gd name="connsiteY14"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1433591 w 3786748"/>
                <a:gd name="connsiteY5" fmla="*/ 953406 h 2709801"/>
                <a:gd name="connsiteX6" fmla="*/ 2320564 w 3786748"/>
                <a:gd name="connsiteY6" fmla="*/ 440728 h 2709801"/>
                <a:gd name="connsiteX7" fmla="*/ 1934587 w 3786748"/>
                <a:gd name="connsiteY7" fmla="*/ 421950 h 2709801"/>
                <a:gd name="connsiteX8" fmla="*/ 2724695 w 3786748"/>
                <a:gd name="connsiteY8" fmla="*/ 131212 h 2709801"/>
                <a:gd name="connsiteX9" fmla="*/ 2671161 w 3786748"/>
                <a:gd name="connsiteY9" fmla="*/ 298037 h 2709801"/>
                <a:gd name="connsiteX10" fmla="*/ 3352287 w 3786748"/>
                <a:gd name="connsiteY10" fmla="*/ 4045 h 2709801"/>
                <a:gd name="connsiteX11" fmla="*/ 3702529 w 3786748"/>
                <a:gd name="connsiteY11" fmla="*/ 667031 h 2709801"/>
                <a:gd name="connsiteX12" fmla="*/ 1736389 w 3786748"/>
                <a:gd name="connsiteY12" fmla="*/ 2709801 h 2709801"/>
                <a:gd name="connsiteX13" fmla="*/ 212611 w 3786748"/>
                <a:gd name="connsiteY13"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433591 w 3786748"/>
                <a:gd name="connsiteY4" fmla="*/ 953406 h 2709801"/>
                <a:gd name="connsiteX5" fmla="*/ 2320564 w 3786748"/>
                <a:gd name="connsiteY5" fmla="*/ 440728 h 2709801"/>
                <a:gd name="connsiteX6" fmla="*/ 1934587 w 3786748"/>
                <a:gd name="connsiteY6" fmla="*/ 421950 h 2709801"/>
                <a:gd name="connsiteX7" fmla="*/ 2724695 w 3786748"/>
                <a:gd name="connsiteY7" fmla="*/ 131212 h 2709801"/>
                <a:gd name="connsiteX8" fmla="*/ 2671161 w 3786748"/>
                <a:gd name="connsiteY8" fmla="*/ 298037 h 2709801"/>
                <a:gd name="connsiteX9" fmla="*/ 3352287 w 3786748"/>
                <a:gd name="connsiteY9" fmla="*/ 4045 h 2709801"/>
                <a:gd name="connsiteX10" fmla="*/ 3702529 w 3786748"/>
                <a:gd name="connsiteY10" fmla="*/ 667031 h 2709801"/>
                <a:gd name="connsiteX11" fmla="*/ 1736389 w 3786748"/>
                <a:gd name="connsiteY11" fmla="*/ 2709801 h 2709801"/>
                <a:gd name="connsiteX12" fmla="*/ 212611 w 3786748"/>
                <a:gd name="connsiteY12"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1433591 w 3786748"/>
                <a:gd name="connsiteY3" fmla="*/ 953406 h 2709801"/>
                <a:gd name="connsiteX4" fmla="*/ 2320564 w 3786748"/>
                <a:gd name="connsiteY4" fmla="*/ 440728 h 2709801"/>
                <a:gd name="connsiteX5" fmla="*/ 1934587 w 3786748"/>
                <a:gd name="connsiteY5" fmla="*/ 421950 h 2709801"/>
                <a:gd name="connsiteX6" fmla="*/ 2724695 w 3786748"/>
                <a:gd name="connsiteY6" fmla="*/ 131212 h 2709801"/>
                <a:gd name="connsiteX7" fmla="*/ 2671161 w 3786748"/>
                <a:gd name="connsiteY7" fmla="*/ 298037 h 2709801"/>
                <a:gd name="connsiteX8" fmla="*/ 3352287 w 3786748"/>
                <a:gd name="connsiteY8" fmla="*/ 4045 h 2709801"/>
                <a:gd name="connsiteX9" fmla="*/ 3702529 w 3786748"/>
                <a:gd name="connsiteY9" fmla="*/ 667031 h 2709801"/>
                <a:gd name="connsiteX10" fmla="*/ 1736389 w 3786748"/>
                <a:gd name="connsiteY10" fmla="*/ 2709801 h 2709801"/>
                <a:gd name="connsiteX11" fmla="*/ 212611 w 3786748"/>
                <a:gd name="connsiteY11" fmla="*/ 2356111 h 2709801"/>
                <a:gd name="connsiteX0" fmla="*/ 94927 w 3669064"/>
                <a:gd name="connsiteY0" fmla="*/ 2356111 h 2709801"/>
                <a:gd name="connsiteX1" fmla="*/ 42814 w 3669064"/>
                <a:gd name="connsiteY1" fmla="*/ 2154501 h 2709801"/>
                <a:gd name="connsiteX2" fmla="*/ 1315907 w 3669064"/>
                <a:gd name="connsiteY2" fmla="*/ 953406 h 2709801"/>
                <a:gd name="connsiteX3" fmla="*/ 2202880 w 3669064"/>
                <a:gd name="connsiteY3" fmla="*/ 440728 h 2709801"/>
                <a:gd name="connsiteX4" fmla="*/ 1816903 w 3669064"/>
                <a:gd name="connsiteY4" fmla="*/ 421950 h 2709801"/>
                <a:gd name="connsiteX5" fmla="*/ 2607011 w 3669064"/>
                <a:gd name="connsiteY5" fmla="*/ 131212 h 2709801"/>
                <a:gd name="connsiteX6" fmla="*/ 2553477 w 3669064"/>
                <a:gd name="connsiteY6" fmla="*/ 298037 h 2709801"/>
                <a:gd name="connsiteX7" fmla="*/ 3234603 w 3669064"/>
                <a:gd name="connsiteY7" fmla="*/ 4045 h 2709801"/>
                <a:gd name="connsiteX8" fmla="*/ 3584845 w 3669064"/>
                <a:gd name="connsiteY8" fmla="*/ 667031 h 2709801"/>
                <a:gd name="connsiteX9" fmla="*/ 1618705 w 3669064"/>
                <a:gd name="connsiteY9" fmla="*/ 2709801 h 2709801"/>
                <a:gd name="connsiteX10" fmla="*/ 94927 w 3669064"/>
                <a:gd name="connsiteY10" fmla="*/ 2356111 h 2709801"/>
                <a:gd name="connsiteX0" fmla="*/ 1996 w 3576133"/>
                <a:gd name="connsiteY0" fmla="*/ 2356111 h 2709801"/>
                <a:gd name="connsiteX1" fmla="*/ 1222976 w 3576133"/>
                <a:gd name="connsiteY1" fmla="*/ 953406 h 2709801"/>
                <a:gd name="connsiteX2" fmla="*/ 2109949 w 3576133"/>
                <a:gd name="connsiteY2" fmla="*/ 440728 h 2709801"/>
                <a:gd name="connsiteX3" fmla="*/ 1723972 w 3576133"/>
                <a:gd name="connsiteY3" fmla="*/ 421950 h 2709801"/>
                <a:gd name="connsiteX4" fmla="*/ 2514080 w 3576133"/>
                <a:gd name="connsiteY4" fmla="*/ 131212 h 2709801"/>
                <a:gd name="connsiteX5" fmla="*/ 2460546 w 3576133"/>
                <a:gd name="connsiteY5" fmla="*/ 298037 h 2709801"/>
                <a:gd name="connsiteX6" fmla="*/ 3141672 w 3576133"/>
                <a:gd name="connsiteY6" fmla="*/ 4045 h 2709801"/>
                <a:gd name="connsiteX7" fmla="*/ 3491914 w 3576133"/>
                <a:gd name="connsiteY7" fmla="*/ 667031 h 2709801"/>
                <a:gd name="connsiteX8" fmla="*/ 1525774 w 3576133"/>
                <a:gd name="connsiteY8" fmla="*/ 2709801 h 2709801"/>
                <a:gd name="connsiteX9" fmla="*/ 1996 w 3576133"/>
                <a:gd name="connsiteY9" fmla="*/ 2356111 h 2709801"/>
                <a:gd name="connsiteX0" fmla="*/ 302798 w 2353157"/>
                <a:gd name="connsiteY0" fmla="*/ 2709801 h 2709801"/>
                <a:gd name="connsiteX1" fmla="*/ 0 w 2353157"/>
                <a:gd name="connsiteY1" fmla="*/ 953406 h 2709801"/>
                <a:gd name="connsiteX2" fmla="*/ 886973 w 2353157"/>
                <a:gd name="connsiteY2" fmla="*/ 440728 h 2709801"/>
                <a:gd name="connsiteX3" fmla="*/ 500996 w 2353157"/>
                <a:gd name="connsiteY3" fmla="*/ 421950 h 2709801"/>
                <a:gd name="connsiteX4" fmla="*/ 1291104 w 2353157"/>
                <a:gd name="connsiteY4" fmla="*/ 131212 h 2709801"/>
                <a:gd name="connsiteX5" fmla="*/ 1237570 w 2353157"/>
                <a:gd name="connsiteY5" fmla="*/ 298037 h 2709801"/>
                <a:gd name="connsiteX6" fmla="*/ 1918696 w 2353157"/>
                <a:gd name="connsiteY6" fmla="*/ 4045 h 2709801"/>
                <a:gd name="connsiteX7" fmla="*/ 2268938 w 2353157"/>
                <a:gd name="connsiteY7" fmla="*/ 667031 h 2709801"/>
                <a:gd name="connsiteX8" fmla="*/ 302798 w 2353157"/>
                <a:gd name="connsiteY8" fmla="*/ 2709801 h 2709801"/>
                <a:gd name="connsiteX0" fmla="*/ 1345775 w 2353157"/>
                <a:gd name="connsiteY0" fmla="*/ 1424839 h 1424839"/>
                <a:gd name="connsiteX1" fmla="*/ 0 w 2353157"/>
                <a:gd name="connsiteY1" fmla="*/ 953406 h 1424839"/>
                <a:gd name="connsiteX2" fmla="*/ 886973 w 2353157"/>
                <a:gd name="connsiteY2" fmla="*/ 440728 h 1424839"/>
                <a:gd name="connsiteX3" fmla="*/ 500996 w 2353157"/>
                <a:gd name="connsiteY3" fmla="*/ 421950 h 1424839"/>
                <a:gd name="connsiteX4" fmla="*/ 1291104 w 2353157"/>
                <a:gd name="connsiteY4" fmla="*/ 131212 h 1424839"/>
                <a:gd name="connsiteX5" fmla="*/ 1237570 w 2353157"/>
                <a:gd name="connsiteY5" fmla="*/ 298037 h 1424839"/>
                <a:gd name="connsiteX6" fmla="*/ 1918696 w 2353157"/>
                <a:gd name="connsiteY6" fmla="*/ 4045 h 1424839"/>
                <a:gd name="connsiteX7" fmla="*/ 2268938 w 2353157"/>
                <a:gd name="connsiteY7" fmla="*/ 667031 h 1424839"/>
                <a:gd name="connsiteX8" fmla="*/ 1345775 w 2353157"/>
                <a:gd name="connsiteY8" fmla="*/ 1424839 h 1424839"/>
                <a:gd name="connsiteX0" fmla="*/ 1345775 w 2353157"/>
                <a:gd name="connsiteY0" fmla="*/ 1424839 h 1424839"/>
                <a:gd name="connsiteX1" fmla="*/ 0 w 2353157"/>
                <a:gd name="connsiteY1" fmla="*/ 953406 h 1424839"/>
                <a:gd name="connsiteX2" fmla="*/ 886973 w 2353157"/>
                <a:gd name="connsiteY2" fmla="*/ 440728 h 1424839"/>
                <a:gd name="connsiteX3" fmla="*/ 500996 w 2353157"/>
                <a:gd name="connsiteY3" fmla="*/ 421950 h 1424839"/>
                <a:gd name="connsiteX4" fmla="*/ 1291104 w 2353157"/>
                <a:gd name="connsiteY4" fmla="*/ 131212 h 1424839"/>
                <a:gd name="connsiteX5" fmla="*/ 1237570 w 2353157"/>
                <a:gd name="connsiteY5" fmla="*/ 298037 h 1424839"/>
                <a:gd name="connsiteX6" fmla="*/ 1918696 w 2353157"/>
                <a:gd name="connsiteY6" fmla="*/ 4045 h 1424839"/>
                <a:gd name="connsiteX7" fmla="*/ 2268938 w 2353157"/>
                <a:gd name="connsiteY7" fmla="*/ 667031 h 1424839"/>
                <a:gd name="connsiteX8" fmla="*/ 1345775 w 2353157"/>
                <a:gd name="connsiteY8" fmla="*/ 1424839 h 1424839"/>
                <a:gd name="connsiteX0" fmla="*/ 1345775 w 2326071"/>
                <a:gd name="connsiteY0" fmla="*/ 1312784 h 1312784"/>
                <a:gd name="connsiteX1" fmla="*/ 0 w 2326071"/>
                <a:gd name="connsiteY1" fmla="*/ 841351 h 1312784"/>
                <a:gd name="connsiteX2" fmla="*/ 886973 w 2326071"/>
                <a:gd name="connsiteY2" fmla="*/ 328673 h 1312784"/>
                <a:gd name="connsiteX3" fmla="*/ 500996 w 2326071"/>
                <a:gd name="connsiteY3" fmla="*/ 309895 h 1312784"/>
                <a:gd name="connsiteX4" fmla="*/ 1291104 w 2326071"/>
                <a:gd name="connsiteY4" fmla="*/ 19157 h 1312784"/>
                <a:gd name="connsiteX5" fmla="*/ 1237570 w 2326071"/>
                <a:gd name="connsiteY5" fmla="*/ 185982 h 1312784"/>
                <a:gd name="connsiteX6" fmla="*/ 1605547 w 2326071"/>
                <a:gd name="connsiteY6" fmla="*/ 183326 h 1312784"/>
                <a:gd name="connsiteX7" fmla="*/ 2268938 w 2326071"/>
                <a:gd name="connsiteY7" fmla="*/ 554976 h 1312784"/>
                <a:gd name="connsiteX8" fmla="*/ 1345775 w 2326071"/>
                <a:gd name="connsiteY8" fmla="*/ 1312784 h 1312784"/>
                <a:gd name="connsiteX0" fmla="*/ 1345775 w 2326191"/>
                <a:gd name="connsiteY0" fmla="*/ 1312784 h 1312784"/>
                <a:gd name="connsiteX1" fmla="*/ 0 w 2326191"/>
                <a:gd name="connsiteY1" fmla="*/ 841351 h 1312784"/>
                <a:gd name="connsiteX2" fmla="*/ 886973 w 2326191"/>
                <a:gd name="connsiteY2" fmla="*/ 328673 h 1312784"/>
                <a:gd name="connsiteX3" fmla="*/ 500996 w 2326191"/>
                <a:gd name="connsiteY3" fmla="*/ 309895 h 1312784"/>
                <a:gd name="connsiteX4" fmla="*/ 1291104 w 2326191"/>
                <a:gd name="connsiteY4" fmla="*/ 19157 h 1312784"/>
                <a:gd name="connsiteX5" fmla="*/ 1237570 w 2326191"/>
                <a:gd name="connsiteY5" fmla="*/ 185982 h 1312784"/>
                <a:gd name="connsiteX6" fmla="*/ 1605547 w 2326191"/>
                <a:gd name="connsiteY6" fmla="*/ 183326 h 1312784"/>
                <a:gd name="connsiteX7" fmla="*/ 2268938 w 2326191"/>
                <a:gd name="connsiteY7" fmla="*/ 554976 h 1312784"/>
                <a:gd name="connsiteX8" fmla="*/ 1345775 w 2326191"/>
                <a:gd name="connsiteY8" fmla="*/ 1312784 h 1312784"/>
                <a:gd name="connsiteX0" fmla="*/ 1345775 w 2322756"/>
                <a:gd name="connsiteY0" fmla="*/ 1312784 h 1312784"/>
                <a:gd name="connsiteX1" fmla="*/ 0 w 2322756"/>
                <a:gd name="connsiteY1" fmla="*/ 841351 h 1312784"/>
                <a:gd name="connsiteX2" fmla="*/ 886973 w 2322756"/>
                <a:gd name="connsiteY2" fmla="*/ 328673 h 1312784"/>
                <a:gd name="connsiteX3" fmla="*/ 500996 w 2322756"/>
                <a:gd name="connsiteY3" fmla="*/ 309895 h 1312784"/>
                <a:gd name="connsiteX4" fmla="*/ 1291104 w 2322756"/>
                <a:gd name="connsiteY4" fmla="*/ 19157 h 1312784"/>
                <a:gd name="connsiteX5" fmla="*/ 1237570 w 2322756"/>
                <a:gd name="connsiteY5" fmla="*/ 185982 h 1312784"/>
                <a:gd name="connsiteX6" fmla="*/ 1605547 w 2322756"/>
                <a:gd name="connsiteY6" fmla="*/ 183326 h 1312784"/>
                <a:gd name="connsiteX7" fmla="*/ 2268938 w 2322756"/>
                <a:gd name="connsiteY7" fmla="*/ 554976 h 1312784"/>
                <a:gd name="connsiteX8" fmla="*/ 1345775 w 2322756"/>
                <a:gd name="connsiteY8" fmla="*/ 1312784 h 1312784"/>
                <a:gd name="connsiteX0" fmla="*/ 1345775 w 2322756"/>
                <a:gd name="connsiteY0" fmla="*/ 1312784 h 1312784"/>
                <a:gd name="connsiteX1" fmla="*/ 0 w 2322756"/>
                <a:gd name="connsiteY1" fmla="*/ 841351 h 1312784"/>
                <a:gd name="connsiteX2" fmla="*/ 886973 w 2322756"/>
                <a:gd name="connsiteY2" fmla="*/ 328673 h 1312784"/>
                <a:gd name="connsiteX3" fmla="*/ 500996 w 2322756"/>
                <a:gd name="connsiteY3" fmla="*/ 309895 h 1312784"/>
                <a:gd name="connsiteX4" fmla="*/ 1291104 w 2322756"/>
                <a:gd name="connsiteY4" fmla="*/ 19157 h 1312784"/>
                <a:gd name="connsiteX5" fmla="*/ 1237570 w 2322756"/>
                <a:gd name="connsiteY5" fmla="*/ 185982 h 1312784"/>
                <a:gd name="connsiteX6" fmla="*/ 1605547 w 2322756"/>
                <a:gd name="connsiteY6" fmla="*/ 183326 h 1312784"/>
                <a:gd name="connsiteX7" fmla="*/ 2268938 w 2322756"/>
                <a:gd name="connsiteY7" fmla="*/ 554976 h 1312784"/>
                <a:gd name="connsiteX8" fmla="*/ 1345775 w 2322756"/>
                <a:gd name="connsiteY8" fmla="*/ 1312784 h 1312784"/>
                <a:gd name="connsiteX0" fmla="*/ 1345775 w 2322936"/>
                <a:gd name="connsiteY0" fmla="*/ 1312784 h 1312784"/>
                <a:gd name="connsiteX1" fmla="*/ 0 w 2322936"/>
                <a:gd name="connsiteY1" fmla="*/ 841351 h 1312784"/>
                <a:gd name="connsiteX2" fmla="*/ 886973 w 2322936"/>
                <a:gd name="connsiteY2" fmla="*/ 328673 h 1312784"/>
                <a:gd name="connsiteX3" fmla="*/ 500996 w 2322936"/>
                <a:gd name="connsiteY3" fmla="*/ 309895 h 1312784"/>
                <a:gd name="connsiteX4" fmla="*/ 1291104 w 2322936"/>
                <a:gd name="connsiteY4" fmla="*/ 19157 h 1312784"/>
                <a:gd name="connsiteX5" fmla="*/ 1237570 w 2322936"/>
                <a:gd name="connsiteY5" fmla="*/ 185982 h 1312784"/>
                <a:gd name="connsiteX6" fmla="*/ 1605547 w 2322936"/>
                <a:gd name="connsiteY6" fmla="*/ 183326 h 1312784"/>
                <a:gd name="connsiteX7" fmla="*/ 2268938 w 2322936"/>
                <a:gd name="connsiteY7" fmla="*/ 554976 h 1312784"/>
                <a:gd name="connsiteX8" fmla="*/ 1345775 w 2322936"/>
                <a:gd name="connsiteY8" fmla="*/ 1312784 h 1312784"/>
                <a:gd name="connsiteX0" fmla="*/ 1345775 w 2323129"/>
                <a:gd name="connsiteY0" fmla="*/ 1312784 h 1312784"/>
                <a:gd name="connsiteX1" fmla="*/ 0 w 2323129"/>
                <a:gd name="connsiteY1" fmla="*/ 841351 h 1312784"/>
                <a:gd name="connsiteX2" fmla="*/ 886973 w 2323129"/>
                <a:gd name="connsiteY2" fmla="*/ 328673 h 1312784"/>
                <a:gd name="connsiteX3" fmla="*/ 500996 w 2323129"/>
                <a:gd name="connsiteY3" fmla="*/ 309895 h 1312784"/>
                <a:gd name="connsiteX4" fmla="*/ 1291104 w 2323129"/>
                <a:gd name="connsiteY4" fmla="*/ 19157 h 1312784"/>
                <a:gd name="connsiteX5" fmla="*/ 1237570 w 2323129"/>
                <a:gd name="connsiteY5" fmla="*/ 185982 h 1312784"/>
                <a:gd name="connsiteX6" fmla="*/ 1609146 w 2323129"/>
                <a:gd name="connsiteY6" fmla="*/ 173929 h 1312784"/>
                <a:gd name="connsiteX7" fmla="*/ 2268938 w 2323129"/>
                <a:gd name="connsiteY7" fmla="*/ 554976 h 1312784"/>
                <a:gd name="connsiteX8" fmla="*/ 1345775 w 2323129"/>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268938"/>
                <a:gd name="connsiteY0" fmla="*/ 1312784 h 1312784"/>
                <a:gd name="connsiteX1" fmla="*/ 0 w 2268938"/>
                <a:gd name="connsiteY1" fmla="*/ 841351 h 1312784"/>
                <a:gd name="connsiteX2" fmla="*/ 886973 w 2268938"/>
                <a:gd name="connsiteY2" fmla="*/ 328673 h 1312784"/>
                <a:gd name="connsiteX3" fmla="*/ 500996 w 2268938"/>
                <a:gd name="connsiteY3" fmla="*/ 309895 h 1312784"/>
                <a:gd name="connsiteX4" fmla="*/ 1291104 w 2268938"/>
                <a:gd name="connsiteY4" fmla="*/ 19157 h 1312784"/>
                <a:gd name="connsiteX5" fmla="*/ 1237570 w 2268938"/>
                <a:gd name="connsiteY5" fmla="*/ 185982 h 1312784"/>
                <a:gd name="connsiteX6" fmla="*/ 1609146 w 2268938"/>
                <a:gd name="connsiteY6" fmla="*/ 173929 h 1312784"/>
                <a:gd name="connsiteX7" fmla="*/ 2268938 w 2268938"/>
                <a:gd name="connsiteY7" fmla="*/ 554976 h 1312784"/>
                <a:gd name="connsiteX8" fmla="*/ 1345775 w 2268938"/>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27778 w 2078170"/>
                <a:gd name="connsiteY0" fmla="*/ 1281458 h 1281458"/>
                <a:gd name="connsiteX1" fmla="*/ 0 w 2078170"/>
                <a:gd name="connsiteY1" fmla="*/ 841351 h 1281458"/>
                <a:gd name="connsiteX2" fmla="*/ 886973 w 2078170"/>
                <a:gd name="connsiteY2" fmla="*/ 328673 h 1281458"/>
                <a:gd name="connsiteX3" fmla="*/ 500996 w 2078170"/>
                <a:gd name="connsiteY3" fmla="*/ 309895 h 1281458"/>
                <a:gd name="connsiteX4" fmla="*/ 1291104 w 2078170"/>
                <a:gd name="connsiteY4" fmla="*/ 19157 h 1281458"/>
                <a:gd name="connsiteX5" fmla="*/ 1237570 w 2078170"/>
                <a:gd name="connsiteY5" fmla="*/ 185982 h 1281458"/>
                <a:gd name="connsiteX6" fmla="*/ 1609146 w 2078170"/>
                <a:gd name="connsiteY6" fmla="*/ 173929 h 1281458"/>
                <a:gd name="connsiteX7" fmla="*/ 2078170 w 2078170"/>
                <a:gd name="connsiteY7" fmla="*/ 670884 h 1281458"/>
                <a:gd name="connsiteX8" fmla="*/ 1327778 w 2078170"/>
                <a:gd name="connsiteY8" fmla="*/ 1281458 h 1281458"/>
                <a:gd name="connsiteX0" fmla="*/ 1327778 w 2078170"/>
                <a:gd name="connsiteY0" fmla="*/ 1281458 h 1281458"/>
                <a:gd name="connsiteX1" fmla="*/ 0 w 2078170"/>
                <a:gd name="connsiteY1" fmla="*/ 841351 h 1281458"/>
                <a:gd name="connsiteX2" fmla="*/ 886973 w 2078170"/>
                <a:gd name="connsiteY2" fmla="*/ 328673 h 1281458"/>
                <a:gd name="connsiteX3" fmla="*/ 500996 w 2078170"/>
                <a:gd name="connsiteY3" fmla="*/ 309895 h 1281458"/>
                <a:gd name="connsiteX4" fmla="*/ 1291104 w 2078170"/>
                <a:gd name="connsiteY4" fmla="*/ 19157 h 1281458"/>
                <a:gd name="connsiteX5" fmla="*/ 1237570 w 2078170"/>
                <a:gd name="connsiteY5" fmla="*/ 185982 h 1281458"/>
                <a:gd name="connsiteX6" fmla="*/ 1609146 w 2078170"/>
                <a:gd name="connsiteY6" fmla="*/ 173929 h 1281458"/>
                <a:gd name="connsiteX7" fmla="*/ 2078170 w 2078170"/>
                <a:gd name="connsiteY7" fmla="*/ 670884 h 1281458"/>
                <a:gd name="connsiteX8" fmla="*/ 1327778 w 2078170"/>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15 w 1586607"/>
                <a:gd name="connsiteY0" fmla="*/ 1281528 h 1281528"/>
                <a:gd name="connsiteX1" fmla="*/ 167129 w 1586607"/>
                <a:gd name="connsiteY1" fmla="*/ 659727 h 1281528"/>
                <a:gd name="connsiteX2" fmla="*/ 395410 w 1586607"/>
                <a:gd name="connsiteY2" fmla="*/ 328743 h 1281528"/>
                <a:gd name="connsiteX3" fmla="*/ 9433 w 1586607"/>
                <a:gd name="connsiteY3" fmla="*/ 309965 h 1281528"/>
                <a:gd name="connsiteX4" fmla="*/ 799541 w 1586607"/>
                <a:gd name="connsiteY4" fmla="*/ 19227 h 1281528"/>
                <a:gd name="connsiteX5" fmla="*/ 746007 w 1586607"/>
                <a:gd name="connsiteY5" fmla="*/ 186052 h 1281528"/>
                <a:gd name="connsiteX6" fmla="*/ 1117583 w 1586607"/>
                <a:gd name="connsiteY6" fmla="*/ 173999 h 1281528"/>
                <a:gd name="connsiteX7" fmla="*/ 1586607 w 1586607"/>
                <a:gd name="connsiteY7" fmla="*/ 670954 h 1281528"/>
                <a:gd name="connsiteX8" fmla="*/ 836215 w 1586607"/>
                <a:gd name="connsiteY8" fmla="*/ 1281528 h 1281528"/>
                <a:gd name="connsiteX0" fmla="*/ 829420 w 1586607"/>
                <a:gd name="connsiteY0" fmla="*/ 1272658 h 1272658"/>
                <a:gd name="connsiteX1" fmla="*/ 167129 w 1586607"/>
                <a:gd name="connsiteY1" fmla="*/ 659727 h 1272658"/>
                <a:gd name="connsiteX2" fmla="*/ 395410 w 1586607"/>
                <a:gd name="connsiteY2" fmla="*/ 328743 h 1272658"/>
                <a:gd name="connsiteX3" fmla="*/ 9433 w 1586607"/>
                <a:gd name="connsiteY3" fmla="*/ 309965 h 1272658"/>
                <a:gd name="connsiteX4" fmla="*/ 799541 w 1586607"/>
                <a:gd name="connsiteY4" fmla="*/ 19227 h 1272658"/>
                <a:gd name="connsiteX5" fmla="*/ 746007 w 1586607"/>
                <a:gd name="connsiteY5" fmla="*/ 186052 h 1272658"/>
                <a:gd name="connsiteX6" fmla="*/ 1117583 w 1586607"/>
                <a:gd name="connsiteY6" fmla="*/ 173999 h 1272658"/>
                <a:gd name="connsiteX7" fmla="*/ 1586607 w 1586607"/>
                <a:gd name="connsiteY7" fmla="*/ 670954 h 1272658"/>
                <a:gd name="connsiteX8" fmla="*/ 829420 w 1586607"/>
                <a:gd name="connsiteY8" fmla="*/ 1272658 h 1272658"/>
                <a:gd name="connsiteX0" fmla="*/ 829420 w 1579812"/>
                <a:gd name="connsiteY0" fmla="*/ 1272658 h 1272658"/>
                <a:gd name="connsiteX1" fmla="*/ 167129 w 1579812"/>
                <a:gd name="connsiteY1" fmla="*/ 659727 h 1272658"/>
                <a:gd name="connsiteX2" fmla="*/ 395410 w 1579812"/>
                <a:gd name="connsiteY2" fmla="*/ 328743 h 1272658"/>
                <a:gd name="connsiteX3" fmla="*/ 9433 w 1579812"/>
                <a:gd name="connsiteY3" fmla="*/ 309965 h 1272658"/>
                <a:gd name="connsiteX4" fmla="*/ 799541 w 1579812"/>
                <a:gd name="connsiteY4" fmla="*/ 19227 h 1272658"/>
                <a:gd name="connsiteX5" fmla="*/ 746007 w 1579812"/>
                <a:gd name="connsiteY5" fmla="*/ 186052 h 1272658"/>
                <a:gd name="connsiteX6" fmla="*/ 1117583 w 1579812"/>
                <a:gd name="connsiteY6" fmla="*/ 173999 h 1272658"/>
                <a:gd name="connsiteX7" fmla="*/ 1579812 w 1579812"/>
                <a:gd name="connsiteY7" fmla="*/ 667997 h 1272658"/>
                <a:gd name="connsiteX8" fmla="*/ 829420 w 1579812"/>
                <a:gd name="connsiteY8" fmla="*/ 1272658 h 1272658"/>
                <a:gd name="connsiteX0" fmla="*/ 829420 w 1579812"/>
                <a:gd name="connsiteY0" fmla="*/ 1272658 h 1272658"/>
                <a:gd name="connsiteX1" fmla="*/ 167129 w 1579812"/>
                <a:gd name="connsiteY1" fmla="*/ 659727 h 1272658"/>
                <a:gd name="connsiteX2" fmla="*/ 395410 w 1579812"/>
                <a:gd name="connsiteY2" fmla="*/ 328743 h 1272658"/>
                <a:gd name="connsiteX3" fmla="*/ 9433 w 1579812"/>
                <a:gd name="connsiteY3" fmla="*/ 309965 h 1272658"/>
                <a:gd name="connsiteX4" fmla="*/ 799541 w 1579812"/>
                <a:gd name="connsiteY4" fmla="*/ 19227 h 1272658"/>
                <a:gd name="connsiteX5" fmla="*/ 746007 w 1579812"/>
                <a:gd name="connsiteY5" fmla="*/ 186052 h 1272658"/>
                <a:gd name="connsiteX6" fmla="*/ 1117583 w 1579812"/>
                <a:gd name="connsiteY6" fmla="*/ 173999 h 1272658"/>
                <a:gd name="connsiteX7" fmla="*/ 1579812 w 1579812"/>
                <a:gd name="connsiteY7" fmla="*/ 667997 h 1272658"/>
                <a:gd name="connsiteX8" fmla="*/ 829420 w 1579812"/>
                <a:gd name="connsiteY8" fmla="*/ 1272658 h 1272658"/>
                <a:gd name="connsiteX0" fmla="*/ 808472 w 1579812"/>
                <a:gd name="connsiteY0" fmla="*/ 1254427 h 1254427"/>
                <a:gd name="connsiteX1" fmla="*/ 167129 w 1579812"/>
                <a:gd name="connsiteY1" fmla="*/ 659727 h 1254427"/>
                <a:gd name="connsiteX2" fmla="*/ 395410 w 1579812"/>
                <a:gd name="connsiteY2" fmla="*/ 328743 h 1254427"/>
                <a:gd name="connsiteX3" fmla="*/ 9433 w 1579812"/>
                <a:gd name="connsiteY3" fmla="*/ 309965 h 1254427"/>
                <a:gd name="connsiteX4" fmla="*/ 799541 w 1579812"/>
                <a:gd name="connsiteY4" fmla="*/ 19227 h 1254427"/>
                <a:gd name="connsiteX5" fmla="*/ 746007 w 1579812"/>
                <a:gd name="connsiteY5" fmla="*/ 186052 h 1254427"/>
                <a:gd name="connsiteX6" fmla="*/ 1117583 w 1579812"/>
                <a:gd name="connsiteY6" fmla="*/ 173999 h 1254427"/>
                <a:gd name="connsiteX7" fmla="*/ 1579812 w 1579812"/>
                <a:gd name="connsiteY7" fmla="*/ 667997 h 1254427"/>
                <a:gd name="connsiteX8" fmla="*/ 808472 w 1579812"/>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04647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04647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090829 w 1553761"/>
                <a:gd name="connsiteY6" fmla="*/ 149732 h 1236173"/>
                <a:gd name="connsiteX7" fmla="*/ 1553761 w 1553761"/>
                <a:gd name="connsiteY7" fmla="*/ 623699 h 1236173"/>
                <a:gd name="connsiteX8" fmla="*/ 809354 w 1553761"/>
                <a:gd name="connsiteY8" fmla="*/ 1236173 h 1236173"/>
                <a:gd name="connsiteX0" fmla="*/ 808399 w 1552806"/>
                <a:gd name="connsiteY0" fmla="*/ 1173694 h 1173694"/>
                <a:gd name="connsiteX1" fmla="*/ 167056 w 1552806"/>
                <a:gd name="connsiteY1" fmla="*/ 578994 h 1173694"/>
                <a:gd name="connsiteX2" fmla="*/ 395337 w 1552806"/>
                <a:gd name="connsiteY2" fmla="*/ 248010 h 1173694"/>
                <a:gd name="connsiteX3" fmla="*/ 9360 w 1552806"/>
                <a:gd name="connsiteY3" fmla="*/ 229232 h 1173694"/>
                <a:gd name="connsiteX4" fmla="*/ 885830 w 1552806"/>
                <a:gd name="connsiteY4" fmla="*/ 1631 h 1173694"/>
                <a:gd name="connsiteX5" fmla="*/ 790842 w 1552806"/>
                <a:gd name="connsiteY5" fmla="*/ 144404 h 1173694"/>
                <a:gd name="connsiteX6" fmla="*/ 1089874 w 1552806"/>
                <a:gd name="connsiteY6" fmla="*/ 87253 h 1173694"/>
                <a:gd name="connsiteX7" fmla="*/ 1552806 w 1552806"/>
                <a:gd name="connsiteY7" fmla="*/ 561220 h 1173694"/>
                <a:gd name="connsiteX8" fmla="*/ 808399 w 1552806"/>
                <a:gd name="connsiteY8" fmla="*/ 1173694 h 11736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688633 w 1433040"/>
                <a:gd name="connsiteY0" fmla="*/ 1179061 h 1179061"/>
                <a:gd name="connsiteX1" fmla="*/ 47290 w 1433040"/>
                <a:gd name="connsiteY1" fmla="*/ 584361 h 1179061"/>
                <a:gd name="connsiteX2" fmla="*/ 348115 w 1433040"/>
                <a:gd name="connsiteY2" fmla="*/ 298473 h 1179061"/>
                <a:gd name="connsiteX3" fmla="*/ 10500 w 1433040"/>
                <a:gd name="connsiteY3" fmla="*/ 360872 h 1179061"/>
                <a:gd name="connsiteX4" fmla="*/ 766064 w 1433040"/>
                <a:gd name="connsiteY4" fmla="*/ 6998 h 1179061"/>
                <a:gd name="connsiteX5" fmla="*/ 671076 w 1433040"/>
                <a:gd name="connsiteY5" fmla="*/ 149771 h 1179061"/>
                <a:gd name="connsiteX6" fmla="*/ 970108 w 1433040"/>
                <a:gd name="connsiteY6" fmla="*/ 92620 h 1179061"/>
                <a:gd name="connsiteX7" fmla="*/ 1433040 w 1433040"/>
                <a:gd name="connsiteY7" fmla="*/ 566587 h 1179061"/>
                <a:gd name="connsiteX8" fmla="*/ 688633 w 1433040"/>
                <a:gd name="connsiteY8" fmla="*/ 1179061 h 1179061"/>
                <a:gd name="connsiteX0" fmla="*/ 688591 w 1432998"/>
                <a:gd name="connsiteY0" fmla="*/ 1172745 h 1172745"/>
                <a:gd name="connsiteX1" fmla="*/ 47248 w 1432998"/>
                <a:gd name="connsiteY1" fmla="*/ 578045 h 1172745"/>
                <a:gd name="connsiteX2" fmla="*/ 348073 w 1432998"/>
                <a:gd name="connsiteY2" fmla="*/ 292157 h 1172745"/>
                <a:gd name="connsiteX3" fmla="*/ 10458 w 1432998"/>
                <a:gd name="connsiteY3" fmla="*/ 354556 h 1172745"/>
                <a:gd name="connsiteX4" fmla="*/ 766022 w 1432998"/>
                <a:gd name="connsiteY4" fmla="*/ 682 h 1172745"/>
                <a:gd name="connsiteX5" fmla="*/ 671034 w 1432998"/>
                <a:gd name="connsiteY5" fmla="*/ 143455 h 1172745"/>
                <a:gd name="connsiteX6" fmla="*/ 970066 w 1432998"/>
                <a:gd name="connsiteY6" fmla="*/ 86304 h 1172745"/>
                <a:gd name="connsiteX7" fmla="*/ 1432998 w 1432998"/>
                <a:gd name="connsiteY7" fmla="*/ 560271 h 1172745"/>
                <a:gd name="connsiteX8" fmla="*/ 688591 w 1432998"/>
                <a:gd name="connsiteY8" fmla="*/ 1172745 h 1172745"/>
                <a:gd name="connsiteX0" fmla="*/ 688591 w 1432998"/>
                <a:gd name="connsiteY0" fmla="*/ 1172745 h 1172745"/>
                <a:gd name="connsiteX1" fmla="*/ 47248 w 1432998"/>
                <a:gd name="connsiteY1" fmla="*/ 578045 h 1172745"/>
                <a:gd name="connsiteX2" fmla="*/ 348073 w 1432998"/>
                <a:gd name="connsiteY2" fmla="*/ 292157 h 1172745"/>
                <a:gd name="connsiteX3" fmla="*/ 10458 w 1432998"/>
                <a:gd name="connsiteY3" fmla="*/ 354556 h 1172745"/>
                <a:gd name="connsiteX4" fmla="*/ 766022 w 1432998"/>
                <a:gd name="connsiteY4" fmla="*/ 682 h 1172745"/>
                <a:gd name="connsiteX5" fmla="*/ 671034 w 1432998"/>
                <a:gd name="connsiteY5" fmla="*/ 143455 h 1172745"/>
                <a:gd name="connsiteX6" fmla="*/ 970066 w 1432998"/>
                <a:gd name="connsiteY6" fmla="*/ 86304 h 1172745"/>
                <a:gd name="connsiteX7" fmla="*/ 1432998 w 1432998"/>
                <a:gd name="connsiteY7" fmla="*/ 560271 h 1172745"/>
                <a:gd name="connsiteX8" fmla="*/ 688591 w 1432998"/>
                <a:gd name="connsiteY8" fmla="*/ 1172745 h 11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998" h="1172745">
                  <a:moveTo>
                    <a:pt x="688591" y="1172745"/>
                  </a:moveTo>
                  <a:lnTo>
                    <a:pt x="47248" y="578045"/>
                  </a:lnTo>
                  <a:cubicBezTo>
                    <a:pt x="119598" y="495925"/>
                    <a:pt x="433045" y="392818"/>
                    <a:pt x="348073" y="292157"/>
                  </a:cubicBezTo>
                  <a:cubicBezTo>
                    <a:pt x="292459" y="242601"/>
                    <a:pt x="64232" y="400356"/>
                    <a:pt x="10458" y="354556"/>
                  </a:cubicBezTo>
                  <a:cubicBezTo>
                    <a:pt x="-97198" y="252114"/>
                    <a:pt x="659380" y="-15245"/>
                    <a:pt x="766022" y="682"/>
                  </a:cubicBezTo>
                  <a:cubicBezTo>
                    <a:pt x="880335" y="17755"/>
                    <a:pt x="720813" y="70749"/>
                    <a:pt x="671034" y="143455"/>
                  </a:cubicBezTo>
                  <a:cubicBezTo>
                    <a:pt x="591785" y="259204"/>
                    <a:pt x="904293" y="117545"/>
                    <a:pt x="970066" y="86304"/>
                  </a:cubicBezTo>
                  <a:lnTo>
                    <a:pt x="1432998" y="560271"/>
                  </a:lnTo>
                  <a:cubicBezTo>
                    <a:pt x="1049634" y="827189"/>
                    <a:pt x="806226" y="1060184"/>
                    <a:pt x="688591" y="1172745"/>
                  </a:cubicBezTo>
                  <a:close/>
                </a:path>
              </a:pathLst>
            </a:custGeom>
            <a:solidFill>
              <a:srgbClr val="8CC3D2">
                <a:alpha val="54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28" name="Freihandform 27"/>
            <p:cNvSpPr/>
            <p:nvPr/>
          </p:nvSpPr>
          <p:spPr bwMode="auto">
            <a:xfrm>
              <a:off x="5452442" y="3743839"/>
              <a:ext cx="1717088" cy="1728679"/>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2724695 w 5964568"/>
                <a:gd name="connsiteY9" fmla="*/ 648948 h 3227537"/>
                <a:gd name="connsiteX10" fmla="*/ 2671161 w 5964568"/>
                <a:gd name="connsiteY10" fmla="*/ 815773 h 3227537"/>
                <a:gd name="connsiteX11" fmla="*/ 3352287 w 5964568"/>
                <a:gd name="connsiteY11" fmla="*/ 521781 h 3227537"/>
                <a:gd name="connsiteX12" fmla="*/ 3086216 w 5964568"/>
                <a:gd name="connsiteY12" fmla="*/ 509932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2671161 w 5964568"/>
                <a:gd name="connsiteY9" fmla="*/ 815773 h 3227537"/>
                <a:gd name="connsiteX10" fmla="*/ 3352287 w 5964568"/>
                <a:gd name="connsiteY10" fmla="*/ 521781 h 3227537"/>
                <a:gd name="connsiteX11" fmla="*/ 3086216 w 5964568"/>
                <a:gd name="connsiteY11" fmla="*/ 509932 h 3227537"/>
                <a:gd name="connsiteX12" fmla="*/ 3698561 w 5964568"/>
                <a:gd name="connsiteY12" fmla="*/ 23271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352287 w 5964568"/>
                <a:gd name="connsiteY9" fmla="*/ 521781 h 3227537"/>
                <a:gd name="connsiteX10" fmla="*/ 3086216 w 5964568"/>
                <a:gd name="connsiteY10" fmla="*/ 509932 h 3227537"/>
                <a:gd name="connsiteX11" fmla="*/ 3698561 w 5964568"/>
                <a:gd name="connsiteY11" fmla="*/ 232711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086216 w 5964568"/>
                <a:gd name="connsiteY9" fmla="*/ 509932 h 3227537"/>
                <a:gd name="connsiteX10" fmla="*/ 3698561 w 5964568"/>
                <a:gd name="connsiteY10" fmla="*/ 232711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98561 w 5964568"/>
                <a:gd name="connsiteY9" fmla="*/ 232711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4788590 w 5964568"/>
                <a:gd name="connsiteY9" fmla="*/ 50815 h 3223934"/>
                <a:gd name="connsiteX10" fmla="*/ 5066181 w 5964568"/>
                <a:gd name="connsiteY10" fmla="*/ 91750 h 3223934"/>
                <a:gd name="connsiteX11" fmla="*/ 5478894 w 5964568"/>
                <a:gd name="connsiteY11" fmla="*/ 0 h 3223934"/>
                <a:gd name="connsiteX12" fmla="*/ 5964568 w 5964568"/>
                <a:gd name="connsiteY12" fmla="*/ 320593 h 3223934"/>
                <a:gd name="connsiteX13" fmla="*/ 1736389 w 5964568"/>
                <a:gd name="connsiteY13" fmla="*/ 3223934 h 3223934"/>
                <a:gd name="connsiteX14" fmla="*/ 212611 w 5964568"/>
                <a:gd name="connsiteY14"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5066181 w 5964568"/>
                <a:gd name="connsiteY9" fmla="*/ 91750 h 3223934"/>
                <a:gd name="connsiteX10" fmla="*/ 5478894 w 5964568"/>
                <a:gd name="connsiteY10" fmla="*/ 0 h 3223934"/>
                <a:gd name="connsiteX11" fmla="*/ 5964568 w 5964568"/>
                <a:gd name="connsiteY11" fmla="*/ 320593 h 3223934"/>
                <a:gd name="connsiteX12" fmla="*/ 1736389 w 5964568"/>
                <a:gd name="connsiteY12" fmla="*/ 3223934 h 3223934"/>
                <a:gd name="connsiteX13" fmla="*/ 212611 w 5964568"/>
                <a:gd name="connsiteY13"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5478894 w 5964568"/>
                <a:gd name="connsiteY9" fmla="*/ 0 h 3223934"/>
                <a:gd name="connsiteX10" fmla="*/ 5964568 w 5964568"/>
                <a:gd name="connsiteY10" fmla="*/ 320593 h 3223934"/>
                <a:gd name="connsiteX11" fmla="*/ 1736389 w 5964568"/>
                <a:gd name="connsiteY11" fmla="*/ 3223934 h 3223934"/>
                <a:gd name="connsiteX12" fmla="*/ 212611 w 5964568"/>
                <a:gd name="connsiteY12" fmla="*/ 2870244 h 3223934"/>
                <a:gd name="connsiteX0" fmla="*/ 212611 w 5966895"/>
                <a:gd name="connsiteY0" fmla="*/ 2647978 h 3001668"/>
                <a:gd name="connsiteX1" fmla="*/ 160498 w 5966895"/>
                <a:gd name="connsiteY1" fmla="*/ 2446368 h 3001668"/>
                <a:gd name="connsiteX2" fmla="*/ 418903 w 5966895"/>
                <a:gd name="connsiteY2" fmla="*/ 2145958 h 3001668"/>
                <a:gd name="connsiteX3" fmla="*/ 914255 w 5966895"/>
                <a:gd name="connsiteY3" fmla="*/ 1997552 h 3001668"/>
                <a:gd name="connsiteX4" fmla="*/ 1020177 w 5966895"/>
                <a:gd name="connsiteY4" fmla="*/ 1593714 h 3001668"/>
                <a:gd name="connsiteX5" fmla="*/ 714335 w 5966895"/>
                <a:gd name="connsiteY5" fmla="*/ 1687244 h 3001668"/>
                <a:gd name="connsiteX6" fmla="*/ 1523207 w 5966895"/>
                <a:gd name="connsiteY6" fmla="*/ 973526 h 3001668"/>
                <a:gd name="connsiteX7" fmla="*/ 1433591 w 5966895"/>
                <a:gd name="connsiteY7" fmla="*/ 1245273 h 3001668"/>
                <a:gd name="connsiteX8" fmla="*/ 2320564 w 5966895"/>
                <a:gd name="connsiteY8" fmla="*/ 732595 h 3001668"/>
                <a:gd name="connsiteX9" fmla="*/ 5964568 w 5966895"/>
                <a:gd name="connsiteY9" fmla="*/ 98327 h 3001668"/>
                <a:gd name="connsiteX10" fmla="*/ 1736389 w 5966895"/>
                <a:gd name="connsiteY10" fmla="*/ 3001668 h 3001668"/>
                <a:gd name="connsiteX11" fmla="*/ 212611 w 5966895"/>
                <a:gd name="connsiteY11" fmla="*/ 2647978 h 3001668"/>
                <a:gd name="connsiteX0" fmla="*/ 1736389 w 5966895"/>
                <a:gd name="connsiteY0" fmla="*/ 3001668 h 3001668"/>
                <a:gd name="connsiteX1" fmla="*/ 160498 w 5966895"/>
                <a:gd name="connsiteY1" fmla="*/ 2446368 h 3001668"/>
                <a:gd name="connsiteX2" fmla="*/ 418903 w 5966895"/>
                <a:gd name="connsiteY2" fmla="*/ 2145958 h 3001668"/>
                <a:gd name="connsiteX3" fmla="*/ 914255 w 5966895"/>
                <a:gd name="connsiteY3" fmla="*/ 1997552 h 3001668"/>
                <a:gd name="connsiteX4" fmla="*/ 1020177 w 5966895"/>
                <a:gd name="connsiteY4" fmla="*/ 1593714 h 3001668"/>
                <a:gd name="connsiteX5" fmla="*/ 714335 w 5966895"/>
                <a:gd name="connsiteY5" fmla="*/ 1687244 h 3001668"/>
                <a:gd name="connsiteX6" fmla="*/ 1523207 w 5966895"/>
                <a:gd name="connsiteY6" fmla="*/ 973526 h 3001668"/>
                <a:gd name="connsiteX7" fmla="*/ 1433591 w 5966895"/>
                <a:gd name="connsiteY7" fmla="*/ 1245273 h 3001668"/>
                <a:gd name="connsiteX8" fmla="*/ 2320564 w 5966895"/>
                <a:gd name="connsiteY8" fmla="*/ 732595 h 3001668"/>
                <a:gd name="connsiteX9" fmla="*/ 5964568 w 5966895"/>
                <a:gd name="connsiteY9" fmla="*/ 98327 h 3001668"/>
                <a:gd name="connsiteX10" fmla="*/ 1736389 w 5966895"/>
                <a:gd name="connsiteY10" fmla="*/ 3001668 h 3001668"/>
                <a:gd name="connsiteX0" fmla="*/ 1317486 w 5547992"/>
                <a:gd name="connsiteY0" fmla="*/ 3001668 h 3001668"/>
                <a:gd name="connsiteX1" fmla="*/ 0 w 5547992"/>
                <a:gd name="connsiteY1" fmla="*/ 2145958 h 3001668"/>
                <a:gd name="connsiteX2" fmla="*/ 495352 w 5547992"/>
                <a:gd name="connsiteY2" fmla="*/ 1997552 h 3001668"/>
                <a:gd name="connsiteX3" fmla="*/ 601274 w 5547992"/>
                <a:gd name="connsiteY3" fmla="*/ 1593714 h 3001668"/>
                <a:gd name="connsiteX4" fmla="*/ 295432 w 5547992"/>
                <a:gd name="connsiteY4" fmla="*/ 1687244 h 3001668"/>
                <a:gd name="connsiteX5" fmla="*/ 1104304 w 5547992"/>
                <a:gd name="connsiteY5" fmla="*/ 973526 h 3001668"/>
                <a:gd name="connsiteX6" fmla="*/ 1014688 w 5547992"/>
                <a:gd name="connsiteY6" fmla="*/ 1245273 h 3001668"/>
                <a:gd name="connsiteX7" fmla="*/ 1901661 w 5547992"/>
                <a:gd name="connsiteY7" fmla="*/ 732595 h 3001668"/>
                <a:gd name="connsiteX8" fmla="*/ 5545665 w 5547992"/>
                <a:gd name="connsiteY8" fmla="*/ 98327 h 3001668"/>
                <a:gd name="connsiteX9" fmla="*/ 1317486 w 5547992"/>
                <a:gd name="connsiteY9" fmla="*/ 3001668 h 3001668"/>
                <a:gd name="connsiteX0" fmla="*/ 1053179 w 5283685"/>
                <a:gd name="connsiteY0" fmla="*/ 3001668 h 3001668"/>
                <a:gd name="connsiteX1" fmla="*/ 231045 w 5283685"/>
                <a:gd name="connsiteY1" fmla="*/ 1997552 h 3001668"/>
                <a:gd name="connsiteX2" fmla="*/ 336967 w 5283685"/>
                <a:gd name="connsiteY2" fmla="*/ 1593714 h 3001668"/>
                <a:gd name="connsiteX3" fmla="*/ 31125 w 5283685"/>
                <a:gd name="connsiteY3" fmla="*/ 1687244 h 3001668"/>
                <a:gd name="connsiteX4" fmla="*/ 839997 w 5283685"/>
                <a:gd name="connsiteY4" fmla="*/ 973526 h 3001668"/>
                <a:gd name="connsiteX5" fmla="*/ 750381 w 5283685"/>
                <a:gd name="connsiteY5" fmla="*/ 1245273 h 3001668"/>
                <a:gd name="connsiteX6" fmla="*/ 1637354 w 5283685"/>
                <a:gd name="connsiteY6" fmla="*/ 732595 h 3001668"/>
                <a:gd name="connsiteX7" fmla="*/ 5281358 w 5283685"/>
                <a:gd name="connsiteY7" fmla="*/ 98327 h 3001668"/>
                <a:gd name="connsiteX8" fmla="*/ 1053179 w 5283685"/>
                <a:gd name="connsiteY8" fmla="*/ 3001668 h 3001668"/>
                <a:gd name="connsiteX0" fmla="*/ 1053179 w 2501562"/>
                <a:gd name="connsiteY0" fmla="*/ 2303910 h 2303910"/>
                <a:gd name="connsiteX1" fmla="*/ 231045 w 2501562"/>
                <a:gd name="connsiteY1" fmla="*/ 1299794 h 2303910"/>
                <a:gd name="connsiteX2" fmla="*/ 336967 w 2501562"/>
                <a:gd name="connsiteY2" fmla="*/ 895956 h 2303910"/>
                <a:gd name="connsiteX3" fmla="*/ 31125 w 2501562"/>
                <a:gd name="connsiteY3" fmla="*/ 989486 h 2303910"/>
                <a:gd name="connsiteX4" fmla="*/ 839997 w 2501562"/>
                <a:gd name="connsiteY4" fmla="*/ 275768 h 2303910"/>
                <a:gd name="connsiteX5" fmla="*/ 750381 w 2501562"/>
                <a:gd name="connsiteY5" fmla="*/ 547515 h 2303910"/>
                <a:gd name="connsiteX6" fmla="*/ 1637354 w 2501562"/>
                <a:gd name="connsiteY6" fmla="*/ 34837 h 2303910"/>
                <a:gd name="connsiteX7" fmla="*/ 2477511 w 2501562"/>
                <a:gd name="connsiteY7" fmla="*/ 862361 h 2303910"/>
                <a:gd name="connsiteX8" fmla="*/ 1053179 w 2501562"/>
                <a:gd name="connsiteY8" fmla="*/ 2303910 h 2303910"/>
                <a:gd name="connsiteX0" fmla="*/ 1185535 w 2501562"/>
                <a:gd name="connsiteY0" fmla="*/ 2076726 h 2076726"/>
                <a:gd name="connsiteX1" fmla="*/ 231045 w 2501562"/>
                <a:gd name="connsiteY1" fmla="*/ 1299794 h 2076726"/>
                <a:gd name="connsiteX2" fmla="*/ 336967 w 2501562"/>
                <a:gd name="connsiteY2" fmla="*/ 895956 h 2076726"/>
                <a:gd name="connsiteX3" fmla="*/ 31125 w 2501562"/>
                <a:gd name="connsiteY3" fmla="*/ 989486 h 2076726"/>
                <a:gd name="connsiteX4" fmla="*/ 839997 w 2501562"/>
                <a:gd name="connsiteY4" fmla="*/ 275768 h 2076726"/>
                <a:gd name="connsiteX5" fmla="*/ 750381 w 2501562"/>
                <a:gd name="connsiteY5" fmla="*/ 547515 h 2076726"/>
                <a:gd name="connsiteX6" fmla="*/ 1637354 w 2501562"/>
                <a:gd name="connsiteY6" fmla="*/ 34837 h 2076726"/>
                <a:gd name="connsiteX7" fmla="*/ 2477511 w 2501562"/>
                <a:gd name="connsiteY7" fmla="*/ 862361 h 2076726"/>
                <a:gd name="connsiteX8" fmla="*/ 1185535 w 2501562"/>
                <a:gd name="connsiteY8" fmla="*/ 2076726 h 2076726"/>
                <a:gd name="connsiteX0" fmla="*/ 1192889 w 2501562"/>
                <a:gd name="connsiteY0" fmla="*/ 2073526 h 2073526"/>
                <a:gd name="connsiteX1" fmla="*/ 231045 w 2501562"/>
                <a:gd name="connsiteY1" fmla="*/ 1299794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117197"/>
                <a:gd name="connsiteY0" fmla="*/ 2066272 h 2066272"/>
                <a:gd name="connsiteX1" fmla="*/ 186189 w 2117197"/>
                <a:gd name="connsiteY1" fmla="*/ 1327737 h 2066272"/>
                <a:gd name="connsiteX2" fmla="*/ 332554 w 2117197"/>
                <a:gd name="connsiteY2" fmla="*/ 888702 h 2066272"/>
                <a:gd name="connsiteX3" fmla="*/ 26712 w 2117197"/>
                <a:gd name="connsiteY3" fmla="*/ 982232 h 2066272"/>
                <a:gd name="connsiteX4" fmla="*/ 835584 w 2117197"/>
                <a:gd name="connsiteY4" fmla="*/ 268514 h 2066272"/>
                <a:gd name="connsiteX5" fmla="*/ 745968 w 2117197"/>
                <a:gd name="connsiteY5" fmla="*/ 540261 h 2066272"/>
                <a:gd name="connsiteX6" fmla="*/ 1632941 w 2117197"/>
                <a:gd name="connsiteY6" fmla="*/ 27583 h 2066272"/>
                <a:gd name="connsiteX7" fmla="*/ 1962059 w 2117197"/>
                <a:gd name="connsiteY7" fmla="*/ 1066292 h 2066272"/>
                <a:gd name="connsiteX8" fmla="*/ 1188476 w 2117197"/>
                <a:gd name="connsiteY8" fmla="*/ 2066272 h 2066272"/>
                <a:gd name="connsiteX0" fmla="*/ 1188476 w 2117197"/>
                <a:gd name="connsiteY0" fmla="*/ 2066272 h 2066272"/>
                <a:gd name="connsiteX1" fmla="*/ 186189 w 2117197"/>
                <a:gd name="connsiteY1" fmla="*/ 1327737 h 2066272"/>
                <a:gd name="connsiteX2" fmla="*/ 332554 w 2117197"/>
                <a:gd name="connsiteY2" fmla="*/ 888702 h 2066272"/>
                <a:gd name="connsiteX3" fmla="*/ 26712 w 2117197"/>
                <a:gd name="connsiteY3" fmla="*/ 982232 h 2066272"/>
                <a:gd name="connsiteX4" fmla="*/ 835584 w 2117197"/>
                <a:gd name="connsiteY4" fmla="*/ 268514 h 2066272"/>
                <a:gd name="connsiteX5" fmla="*/ 745968 w 2117197"/>
                <a:gd name="connsiteY5" fmla="*/ 540261 h 2066272"/>
                <a:gd name="connsiteX6" fmla="*/ 1632941 w 2117197"/>
                <a:gd name="connsiteY6" fmla="*/ 27583 h 2066272"/>
                <a:gd name="connsiteX7" fmla="*/ 1962059 w 2117197"/>
                <a:gd name="connsiteY7" fmla="*/ 1066292 h 2066272"/>
                <a:gd name="connsiteX8" fmla="*/ 1188476 w 2117197"/>
                <a:gd name="connsiteY8" fmla="*/ 2066272 h 2066272"/>
                <a:gd name="connsiteX0" fmla="*/ 1188476 w 2009921"/>
                <a:gd name="connsiteY0" fmla="*/ 2062087 h 2062087"/>
                <a:gd name="connsiteX1" fmla="*/ 186189 w 2009921"/>
                <a:gd name="connsiteY1" fmla="*/ 1323552 h 2062087"/>
                <a:gd name="connsiteX2" fmla="*/ 332554 w 2009921"/>
                <a:gd name="connsiteY2" fmla="*/ 884517 h 2062087"/>
                <a:gd name="connsiteX3" fmla="*/ 26712 w 2009921"/>
                <a:gd name="connsiteY3" fmla="*/ 978047 h 2062087"/>
                <a:gd name="connsiteX4" fmla="*/ 835584 w 2009921"/>
                <a:gd name="connsiteY4" fmla="*/ 264329 h 2062087"/>
                <a:gd name="connsiteX5" fmla="*/ 745968 w 2009921"/>
                <a:gd name="connsiteY5" fmla="*/ 536076 h 2062087"/>
                <a:gd name="connsiteX6" fmla="*/ 1632941 w 2009921"/>
                <a:gd name="connsiteY6" fmla="*/ 23398 h 2062087"/>
                <a:gd name="connsiteX7" fmla="*/ 1962059 w 2009921"/>
                <a:gd name="connsiteY7" fmla="*/ 1062107 h 2062087"/>
                <a:gd name="connsiteX8" fmla="*/ 1188476 w 2009921"/>
                <a:gd name="connsiteY8" fmla="*/ 2062087 h 2062087"/>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93851 w 1967434"/>
                <a:gd name="connsiteY0" fmla="*/ 1814436 h 1814436"/>
                <a:gd name="connsiteX1" fmla="*/ 191564 w 1967434"/>
                <a:gd name="connsiteY1" fmla="*/ 1075901 h 1814436"/>
                <a:gd name="connsiteX2" fmla="*/ 337929 w 1967434"/>
                <a:gd name="connsiteY2" fmla="*/ 636866 h 1814436"/>
                <a:gd name="connsiteX3" fmla="*/ 32087 w 1967434"/>
                <a:gd name="connsiteY3" fmla="*/ 730396 h 1814436"/>
                <a:gd name="connsiteX4" fmla="*/ 840959 w 1967434"/>
                <a:gd name="connsiteY4" fmla="*/ 16678 h 1814436"/>
                <a:gd name="connsiteX5" fmla="*/ 751343 w 1967434"/>
                <a:gd name="connsiteY5" fmla="*/ 288425 h 1814436"/>
                <a:gd name="connsiteX6" fmla="*/ 1237573 w 1967434"/>
                <a:gd name="connsiteY6" fmla="*/ 198117 h 1814436"/>
                <a:gd name="connsiteX7" fmla="*/ 1967434 w 1967434"/>
                <a:gd name="connsiteY7" fmla="*/ 814456 h 1814436"/>
                <a:gd name="connsiteX8" fmla="*/ 1193851 w 1967434"/>
                <a:gd name="connsiteY8" fmla="*/ 1814436 h 1814436"/>
                <a:gd name="connsiteX0" fmla="*/ 1195906 w 1969489"/>
                <a:gd name="connsiteY0" fmla="*/ 1814262 h 1814262"/>
                <a:gd name="connsiteX1" fmla="*/ 193619 w 1969489"/>
                <a:gd name="connsiteY1" fmla="*/ 1075727 h 1814262"/>
                <a:gd name="connsiteX2" fmla="*/ 339984 w 1969489"/>
                <a:gd name="connsiteY2" fmla="*/ 636692 h 1814262"/>
                <a:gd name="connsiteX3" fmla="*/ 34142 w 1969489"/>
                <a:gd name="connsiteY3" fmla="*/ 730222 h 1814262"/>
                <a:gd name="connsiteX4" fmla="*/ 843014 w 1969489"/>
                <a:gd name="connsiteY4" fmla="*/ 16504 h 1814262"/>
                <a:gd name="connsiteX5" fmla="*/ 753398 w 1969489"/>
                <a:gd name="connsiteY5" fmla="*/ 288251 h 1814262"/>
                <a:gd name="connsiteX6" fmla="*/ 1239628 w 1969489"/>
                <a:gd name="connsiteY6" fmla="*/ 197943 h 1814262"/>
                <a:gd name="connsiteX7" fmla="*/ 1969489 w 1969489"/>
                <a:gd name="connsiteY7" fmla="*/ 814282 h 1814262"/>
                <a:gd name="connsiteX8" fmla="*/ 1195906 w 1969489"/>
                <a:gd name="connsiteY8" fmla="*/ 1814262 h 1814262"/>
                <a:gd name="connsiteX0" fmla="*/ 1193853 w 1967436"/>
                <a:gd name="connsiteY0" fmla="*/ 1814435 h 1814435"/>
                <a:gd name="connsiteX1" fmla="*/ 191566 w 1967436"/>
                <a:gd name="connsiteY1" fmla="*/ 1075900 h 1814435"/>
                <a:gd name="connsiteX2" fmla="*/ 337931 w 1967436"/>
                <a:gd name="connsiteY2" fmla="*/ 636865 h 1814435"/>
                <a:gd name="connsiteX3" fmla="*/ 32089 w 1967436"/>
                <a:gd name="connsiteY3" fmla="*/ 730395 h 1814435"/>
                <a:gd name="connsiteX4" fmla="*/ 840961 w 1967436"/>
                <a:gd name="connsiteY4" fmla="*/ 16677 h 1814435"/>
                <a:gd name="connsiteX5" fmla="*/ 751345 w 1967436"/>
                <a:gd name="connsiteY5" fmla="*/ 288424 h 1814435"/>
                <a:gd name="connsiteX6" fmla="*/ 1237575 w 1967436"/>
                <a:gd name="connsiteY6" fmla="*/ 198116 h 1814435"/>
                <a:gd name="connsiteX7" fmla="*/ 1967436 w 1967436"/>
                <a:gd name="connsiteY7" fmla="*/ 814455 h 1814435"/>
                <a:gd name="connsiteX8" fmla="*/ 1193853 w 1967436"/>
                <a:gd name="connsiteY8" fmla="*/ 1814435 h 1814435"/>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78015 w 1972546"/>
                <a:gd name="connsiteY0" fmla="*/ 1798365 h 1798365"/>
                <a:gd name="connsiteX1" fmla="*/ 196676 w 1972546"/>
                <a:gd name="connsiteY1" fmla="*/ 1075457 h 1798365"/>
                <a:gd name="connsiteX2" fmla="*/ 343041 w 1972546"/>
                <a:gd name="connsiteY2" fmla="*/ 636422 h 1798365"/>
                <a:gd name="connsiteX3" fmla="*/ 37199 w 1972546"/>
                <a:gd name="connsiteY3" fmla="*/ 729952 h 1798365"/>
                <a:gd name="connsiteX4" fmla="*/ 846071 w 1972546"/>
                <a:gd name="connsiteY4" fmla="*/ 16234 h 1798365"/>
                <a:gd name="connsiteX5" fmla="*/ 756455 w 1972546"/>
                <a:gd name="connsiteY5" fmla="*/ 287981 h 1798365"/>
                <a:gd name="connsiteX6" fmla="*/ 1242685 w 1972546"/>
                <a:gd name="connsiteY6" fmla="*/ 197673 h 1798365"/>
                <a:gd name="connsiteX7" fmla="*/ 1972546 w 1972546"/>
                <a:gd name="connsiteY7" fmla="*/ 814012 h 1798365"/>
                <a:gd name="connsiteX8" fmla="*/ 1178015 w 1972546"/>
                <a:gd name="connsiteY8" fmla="*/ 1798365 h 1798365"/>
                <a:gd name="connsiteX0" fmla="*/ 1178015 w 1951598"/>
                <a:gd name="connsiteY0" fmla="*/ 1798365 h 1798365"/>
                <a:gd name="connsiteX1" fmla="*/ 196676 w 1951598"/>
                <a:gd name="connsiteY1" fmla="*/ 1075457 h 1798365"/>
                <a:gd name="connsiteX2" fmla="*/ 343041 w 1951598"/>
                <a:gd name="connsiteY2" fmla="*/ 636422 h 1798365"/>
                <a:gd name="connsiteX3" fmla="*/ 37199 w 1951598"/>
                <a:gd name="connsiteY3" fmla="*/ 729952 h 1798365"/>
                <a:gd name="connsiteX4" fmla="*/ 846071 w 1951598"/>
                <a:gd name="connsiteY4" fmla="*/ 16234 h 1798365"/>
                <a:gd name="connsiteX5" fmla="*/ 756455 w 1951598"/>
                <a:gd name="connsiteY5" fmla="*/ 287981 h 1798365"/>
                <a:gd name="connsiteX6" fmla="*/ 1242685 w 1951598"/>
                <a:gd name="connsiteY6" fmla="*/ 197673 h 1798365"/>
                <a:gd name="connsiteX7" fmla="*/ 1951598 w 1951598"/>
                <a:gd name="connsiteY7" fmla="*/ 800990 h 1798365"/>
                <a:gd name="connsiteX8" fmla="*/ 1178015 w 1951598"/>
                <a:gd name="connsiteY8" fmla="*/ 1798365 h 1798365"/>
                <a:gd name="connsiteX0" fmla="*/ 1178015 w 1951598"/>
                <a:gd name="connsiteY0" fmla="*/ 1798365 h 1798365"/>
                <a:gd name="connsiteX1" fmla="*/ 196676 w 1951598"/>
                <a:gd name="connsiteY1" fmla="*/ 1075457 h 1798365"/>
                <a:gd name="connsiteX2" fmla="*/ 343041 w 1951598"/>
                <a:gd name="connsiteY2" fmla="*/ 636422 h 1798365"/>
                <a:gd name="connsiteX3" fmla="*/ 37199 w 1951598"/>
                <a:gd name="connsiteY3" fmla="*/ 729952 h 1798365"/>
                <a:gd name="connsiteX4" fmla="*/ 846071 w 1951598"/>
                <a:gd name="connsiteY4" fmla="*/ 16234 h 1798365"/>
                <a:gd name="connsiteX5" fmla="*/ 756455 w 1951598"/>
                <a:gd name="connsiteY5" fmla="*/ 287981 h 1798365"/>
                <a:gd name="connsiteX6" fmla="*/ 1242685 w 1951598"/>
                <a:gd name="connsiteY6" fmla="*/ 197673 h 1798365"/>
                <a:gd name="connsiteX7" fmla="*/ 1951598 w 1951598"/>
                <a:gd name="connsiteY7" fmla="*/ 800990 h 1798365"/>
                <a:gd name="connsiteX8" fmla="*/ 1178015 w 1951598"/>
                <a:gd name="connsiteY8" fmla="*/ 1798365 h 1798365"/>
                <a:gd name="connsiteX0" fmla="*/ 1169038 w 1951598"/>
                <a:gd name="connsiteY0" fmla="*/ 1793156 h 1793156"/>
                <a:gd name="connsiteX1" fmla="*/ 196676 w 1951598"/>
                <a:gd name="connsiteY1" fmla="*/ 1075457 h 1793156"/>
                <a:gd name="connsiteX2" fmla="*/ 343041 w 1951598"/>
                <a:gd name="connsiteY2" fmla="*/ 636422 h 1793156"/>
                <a:gd name="connsiteX3" fmla="*/ 37199 w 1951598"/>
                <a:gd name="connsiteY3" fmla="*/ 729952 h 1793156"/>
                <a:gd name="connsiteX4" fmla="*/ 846071 w 1951598"/>
                <a:gd name="connsiteY4" fmla="*/ 16234 h 1793156"/>
                <a:gd name="connsiteX5" fmla="*/ 756455 w 1951598"/>
                <a:gd name="connsiteY5" fmla="*/ 287981 h 1793156"/>
                <a:gd name="connsiteX6" fmla="*/ 1242685 w 1951598"/>
                <a:gd name="connsiteY6" fmla="*/ 197673 h 1793156"/>
                <a:gd name="connsiteX7" fmla="*/ 1951598 w 1951598"/>
                <a:gd name="connsiteY7" fmla="*/ 800990 h 1793156"/>
                <a:gd name="connsiteX8" fmla="*/ 1169038 w 1951598"/>
                <a:gd name="connsiteY8" fmla="*/ 1793156 h 1793156"/>
                <a:gd name="connsiteX0" fmla="*/ 1169038 w 1951598"/>
                <a:gd name="connsiteY0" fmla="*/ 1793156 h 1793156"/>
                <a:gd name="connsiteX1" fmla="*/ 196676 w 1951598"/>
                <a:gd name="connsiteY1" fmla="*/ 1075457 h 1793156"/>
                <a:gd name="connsiteX2" fmla="*/ 343041 w 1951598"/>
                <a:gd name="connsiteY2" fmla="*/ 636422 h 1793156"/>
                <a:gd name="connsiteX3" fmla="*/ 37199 w 1951598"/>
                <a:gd name="connsiteY3" fmla="*/ 729952 h 1793156"/>
                <a:gd name="connsiteX4" fmla="*/ 846071 w 1951598"/>
                <a:gd name="connsiteY4" fmla="*/ 16234 h 1793156"/>
                <a:gd name="connsiteX5" fmla="*/ 756455 w 1951598"/>
                <a:gd name="connsiteY5" fmla="*/ 287981 h 1793156"/>
                <a:gd name="connsiteX6" fmla="*/ 1242685 w 1951598"/>
                <a:gd name="connsiteY6" fmla="*/ 197673 h 1793156"/>
                <a:gd name="connsiteX7" fmla="*/ 1951598 w 1951598"/>
                <a:gd name="connsiteY7" fmla="*/ 800990 h 1793156"/>
                <a:gd name="connsiteX8" fmla="*/ 1169038 w 1951598"/>
                <a:gd name="connsiteY8" fmla="*/ 1793156 h 1793156"/>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36630 w 1931773"/>
                <a:gd name="connsiteY5" fmla="*/ 197148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539 w 1932099"/>
                <a:gd name="connsiteY0" fmla="*/ 1693462 h 1693462"/>
                <a:gd name="connsiteX1" fmla="*/ 177177 w 1932099"/>
                <a:gd name="connsiteY1" fmla="*/ 975763 h 1693462"/>
                <a:gd name="connsiteX2" fmla="*/ 323542 w 1932099"/>
                <a:gd name="connsiteY2" fmla="*/ 536728 h 1693462"/>
                <a:gd name="connsiteX3" fmla="*/ 17700 w 1932099"/>
                <a:gd name="connsiteY3" fmla="*/ 630258 h 1693462"/>
                <a:gd name="connsiteX4" fmla="*/ 919844 w 1932099"/>
                <a:gd name="connsiteY4" fmla="*/ 15756 h 1693462"/>
                <a:gd name="connsiteX5" fmla="*/ 788773 w 1932099"/>
                <a:gd name="connsiteY5" fmla="*/ 233384 h 1693462"/>
                <a:gd name="connsiteX6" fmla="*/ 1223186 w 1932099"/>
                <a:gd name="connsiteY6" fmla="*/ 97979 h 1693462"/>
                <a:gd name="connsiteX7" fmla="*/ 1932099 w 1932099"/>
                <a:gd name="connsiteY7" fmla="*/ 701296 h 1693462"/>
                <a:gd name="connsiteX8" fmla="*/ 1149539 w 1932099"/>
                <a:gd name="connsiteY8" fmla="*/ 1693462 h 1693462"/>
                <a:gd name="connsiteX0" fmla="*/ 1149539 w 1932099"/>
                <a:gd name="connsiteY0" fmla="*/ 1693462 h 1693462"/>
                <a:gd name="connsiteX1" fmla="*/ 177177 w 1932099"/>
                <a:gd name="connsiteY1" fmla="*/ 975763 h 1693462"/>
                <a:gd name="connsiteX2" fmla="*/ 323542 w 1932099"/>
                <a:gd name="connsiteY2" fmla="*/ 536728 h 1693462"/>
                <a:gd name="connsiteX3" fmla="*/ 17700 w 1932099"/>
                <a:gd name="connsiteY3" fmla="*/ 630258 h 1693462"/>
                <a:gd name="connsiteX4" fmla="*/ 919844 w 1932099"/>
                <a:gd name="connsiteY4" fmla="*/ 15756 h 1693462"/>
                <a:gd name="connsiteX5" fmla="*/ 788773 w 1932099"/>
                <a:gd name="connsiteY5" fmla="*/ 233384 h 1693462"/>
                <a:gd name="connsiteX6" fmla="*/ 1223186 w 1932099"/>
                <a:gd name="connsiteY6" fmla="*/ 97979 h 1693462"/>
                <a:gd name="connsiteX7" fmla="*/ 1932099 w 1932099"/>
                <a:gd name="connsiteY7" fmla="*/ 701296 h 1693462"/>
                <a:gd name="connsiteX8" fmla="*/ 1149539 w 1932099"/>
                <a:gd name="connsiteY8" fmla="*/ 1693462 h 1693462"/>
                <a:gd name="connsiteX0" fmla="*/ 1132747 w 1915307"/>
                <a:gd name="connsiteY0" fmla="*/ 1692982 h 1692982"/>
                <a:gd name="connsiteX1" fmla="*/ 160385 w 1915307"/>
                <a:gd name="connsiteY1" fmla="*/ 975283 h 1692982"/>
                <a:gd name="connsiteX2" fmla="*/ 306750 w 1915307"/>
                <a:gd name="connsiteY2" fmla="*/ 536248 h 1692982"/>
                <a:gd name="connsiteX3" fmla="*/ 908 w 1915307"/>
                <a:gd name="connsiteY3" fmla="*/ 629778 h 1692982"/>
                <a:gd name="connsiteX4" fmla="*/ 903052 w 1915307"/>
                <a:gd name="connsiteY4" fmla="*/ 15276 h 1692982"/>
                <a:gd name="connsiteX5" fmla="*/ 771981 w 1915307"/>
                <a:gd name="connsiteY5" fmla="*/ 232904 h 1692982"/>
                <a:gd name="connsiteX6" fmla="*/ 1206394 w 1915307"/>
                <a:gd name="connsiteY6" fmla="*/ 97499 h 1692982"/>
                <a:gd name="connsiteX7" fmla="*/ 1915307 w 1915307"/>
                <a:gd name="connsiteY7" fmla="*/ 700816 h 1692982"/>
                <a:gd name="connsiteX8" fmla="*/ 1132747 w 1915307"/>
                <a:gd name="connsiteY8" fmla="*/ 1692982 h 1692982"/>
                <a:gd name="connsiteX0" fmla="*/ 1133368 w 1915928"/>
                <a:gd name="connsiteY0" fmla="*/ 1692863 h 1692863"/>
                <a:gd name="connsiteX1" fmla="*/ 161006 w 1915928"/>
                <a:gd name="connsiteY1" fmla="*/ 975164 h 1692863"/>
                <a:gd name="connsiteX2" fmla="*/ 307371 w 1915928"/>
                <a:gd name="connsiteY2" fmla="*/ 536129 h 1692863"/>
                <a:gd name="connsiteX3" fmla="*/ 1529 w 1915928"/>
                <a:gd name="connsiteY3" fmla="*/ 629659 h 1692863"/>
                <a:gd name="connsiteX4" fmla="*/ 903673 w 1915928"/>
                <a:gd name="connsiteY4" fmla="*/ 15157 h 1692863"/>
                <a:gd name="connsiteX5" fmla="*/ 772602 w 1915928"/>
                <a:gd name="connsiteY5" fmla="*/ 232785 h 1692863"/>
                <a:gd name="connsiteX6" fmla="*/ 1207015 w 1915928"/>
                <a:gd name="connsiteY6" fmla="*/ 97380 h 1692863"/>
                <a:gd name="connsiteX7" fmla="*/ 1915928 w 1915928"/>
                <a:gd name="connsiteY7" fmla="*/ 700697 h 1692863"/>
                <a:gd name="connsiteX8" fmla="*/ 1133368 w 1915928"/>
                <a:gd name="connsiteY8" fmla="*/ 1692863 h 1692863"/>
                <a:gd name="connsiteX0" fmla="*/ 1150540 w 1933100"/>
                <a:gd name="connsiteY0" fmla="*/ 1693774 h 1693774"/>
                <a:gd name="connsiteX1" fmla="*/ 178178 w 1933100"/>
                <a:gd name="connsiteY1" fmla="*/ 976075 h 1693774"/>
                <a:gd name="connsiteX2" fmla="*/ 324543 w 1933100"/>
                <a:gd name="connsiteY2" fmla="*/ 537040 h 1693774"/>
                <a:gd name="connsiteX3" fmla="*/ 18701 w 1933100"/>
                <a:gd name="connsiteY3" fmla="*/ 630570 h 1693774"/>
                <a:gd name="connsiteX4" fmla="*/ 920845 w 1933100"/>
                <a:gd name="connsiteY4" fmla="*/ 16068 h 1693774"/>
                <a:gd name="connsiteX5" fmla="*/ 789774 w 1933100"/>
                <a:gd name="connsiteY5" fmla="*/ 233696 h 1693774"/>
                <a:gd name="connsiteX6" fmla="*/ 1224187 w 1933100"/>
                <a:gd name="connsiteY6" fmla="*/ 98291 h 1693774"/>
                <a:gd name="connsiteX7" fmla="*/ 1933100 w 1933100"/>
                <a:gd name="connsiteY7" fmla="*/ 701608 h 1693774"/>
                <a:gd name="connsiteX8" fmla="*/ 1150540 w 1933100"/>
                <a:gd name="connsiteY8" fmla="*/ 1693774 h 1693774"/>
                <a:gd name="connsiteX0" fmla="*/ 1150540 w 1933100"/>
                <a:gd name="connsiteY0" fmla="*/ 1693774 h 1693774"/>
                <a:gd name="connsiteX1" fmla="*/ 178178 w 1933100"/>
                <a:gd name="connsiteY1" fmla="*/ 976075 h 1693774"/>
                <a:gd name="connsiteX2" fmla="*/ 324543 w 1933100"/>
                <a:gd name="connsiteY2" fmla="*/ 537040 h 1693774"/>
                <a:gd name="connsiteX3" fmla="*/ 18701 w 1933100"/>
                <a:gd name="connsiteY3" fmla="*/ 630570 h 1693774"/>
                <a:gd name="connsiteX4" fmla="*/ 920845 w 1933100"/>
                <a:gd name="connsiteY4" fmla="*/ 16068 h 1693774"/>
                <a:gd name="connsiteX5" fmla="*/ 789774 w 1933100"/>
                <a:gd name="connsiteY5" fmla="*/ 233696 h 1693774"/>
                <a:gd name="connsiteX6" fmla="*/ 1224187 w 1933100"/>
                <a:gd name="connsiteY6" fmla="*/ 98291 h 1693774"/>
                <a:gd name="connsiteX7" fmla="*/ 1933100 w 1933100"/>
                <a:gd name="connsiteY7" fmla="*/ 701608 h 1693774"/>
                <a:gd name="connsiteX8" fmla="*/ 1150540 w 1933100"/>
                <a:gd name="connsiteY8" fmla="*/ 1693774 h 169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3100" h="1693774">
                  <a:moveTo>
                    <a:pt x="1150540" y="1693774"/>
                  </a:moveTo>
                  <a:lnTo>
                    <a:pt x="178178" y="976075"/>
                  </a:lnTo>
                  <a:cubicBezTo>
                    <a:pt x="831512" y="340729"/>
                    <a:pt x="467383" y="454429"/>
                    <a:pt x="324543" y="537040"/>
                  </a:cubicBezTo>
                  <a:cubicBezTo>
                    <a:pt x="268334" y="569548"/>
                    <a:pt x="79350" y="668484"/>
                    <a:pt x="18701" y="630570"/>
                  </a:cubicBezTo>
                  <a:cubicBezTo>
                    <a:pt x="-144037" y="528836"/>
                    <a:pt x="805625" y="-108492"/>
                    <a:pt x="920845" y="16068"/>
                  </a:cubicBezTo>
                  <a:cubicBezTo>
                    <a:pt x="973201" y="51482"/>
                    <a:pt x="739217" y="219992"/>
                    <a:pt x="789774" y="233696"/>
                  </a:cubicBezTo>
                  <a:cubicBezTo>
                    <a:pt x="840331" y="247400"/>
                    <a:pt x="1028352" y="177269"/>
                    <a:pt x="1224187" y="98291"/>
                  </a:cubicBezTo>
                  <a:lnTo>
                    <a:pt x="1933100" y="701608"/>
                  </a:lnTo>
                  <a:cubicBezTo>
                    <a:pt x="1544645" y="1109687"/>
                    <a:pt x="1317888" y="1444885"/>
                    <a:pt x="1150540" y="1693774"/>
                  </a:cubicBezTo>
                  <a:close/>
                </a:path>
              </a:pathLst>
            </a:custGeom>
            <a:solidFill>
              <a:srgbClr val="8CC3D2">
                <a:alpha val="54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29" name="Freihandform 28"/>
            <p:cNvSpPr/>
            <p:nvPr/>
          </p:nvSpPr>
          <p:spPr bwMode="auto">
            <a:xfrm>
              <a:off x="7632915" y="2766174"/>
              <a:ext cx="1081476" cy="874975"/>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3086216 w 5964568"/>
                <a:gd name="connsiteY13" fmla="*/ 506329 h 3223934"/>
                <a:gd name="connsiteX14" fmla="*/ 3698561 w 5964568"/>
                <a:gd name="connsiteY14" fmla="*/ 229108 h 3223934"/>
                <a:gd name="connsiteX15" fmla="*/ 3623481 w 5964568"/>
                <a:gd name="connsiteY15" fmla="*/ 391636 h 3223934"/>
                <a:gd name="connsiteX16" fmla="*/ 4344358 w 5964568"/>
                <a:gd name="connsiteY16" fmla="*/ 191012 h 3223934"/>
                <a:gd name="connsiteX17" fmla="*/ 4788590 w 5964568"/>
                <a:gd name="connsiteY17" fmla="*/ 50815 h 3223934"/>
                <a:gd name="connsiteX18" fmla="*/ 5066181 w 5964568"/>
                <a:gd name="connsiteY18" fmla="*/ 91750 h 3223934"/>
                <a:gd name="connsiteX19" fmla="*/ 5478894 w 5964568"/>
                <a:gd name="connsiteY19" fmla="*/ 0 h 3223934"/>
                <a:gd name="connsiteX20" fmla="*/ 5964568 w 5964568"/>
                <a:gd name="connsiteY20" fmla="*/ 320593 h 3223934"/>
                <a:gd name="connsiteX21" fmla="*/ 1736389 w 5964568"/>
                <a:gd name="connsiteY21" fmla="*/ 3223934 h 3223934"/>
                <a:gd name="connsiteX22" fmla="*/ 212611 w 5964568"/>
                <a:gd name="connsiteY22"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3086216 w 5964568"/>
                <a:gd name="connsiteY13" fmla="*/ 506329 h 3223934"/>
                <a:gd name="connsiteX14" fmla="*/ 3698561 w 5964568"/>
                <a:gd name="connsiteY14" fmla="*/ 229108 h 3223934"/>
                <a:gd name="connsiteX15" fmla="*/ 3623481 w 5964568"/>
                <a:gd name="connsiteY15" fmla="*/ 391636 h 3223934"/>
                <a:gd name="connsiteX16" fmla="*/ 4344358 w 5964568"/>
                <a:gd name="connsiteY16" fmla="*/ 191012 h 3223934"/>
                <a:gd name="connsiteX17" fmla="*/ 5066181 w 5964568"/>
                <a:gd name="connsiteY17" fmla="*/ 91750 h 3223934"/>
                <a:gd name="connsiteX18" fmla="*/ 5478894 w 5964568"/>
                <a:gd name="connsiteY18" fmla="*/ 0 h 3223934"/>
                <a:gd name="connsiteX19" fmla="*/ 5964568 w 5964568"/>
                <a:gd name="connsiteY19" fmla="*/ 320593 h 3223934"/>
                <a:gd name="connsiteX20" fmla="*/ 1736389 w 5964568"/>
                <a:gd name="connsiteY20" fmla="*/ 3223934 h 3223934"/>
                <a:gd name="connsiteX21" fmla="*/ 212611 w 5964568"/>
                <a:gd name="connsiteY21" fmla="*/ 2870244 h 3223934"/>
                <a:gd name="connsiteX0" fmla="*/ 212611 w 5964568"/>
                <a:gd name="connsiteY0" fmla="*/ 2872385 h 3226075"/>
                <a:gd name="connsiteX1" fmla="*/ 160498 w 5964568"/>
                <a:gd name="connsiteY1" fmla="*/ 2670775 h 3226075"/>
                <a:gd name="connsiteX2" fmla="*/ 418903 w 5964568"/>
                <a:gd name="connsiteY2" fmla="*/ 2370365 h 3226075"/>
                <a:gd name="connsiteX3" fmla="*/ 914255 w 5964568"/>
                <a:gd name="connsiteY3" fmla="*/ 2221959 h 3226075"/>
                <a:gd name="connsiteX4" fmla="*/ 1020177 w 5964568"/>
                <a:gd name="connsiteY4" fmla="*/ 1818121 h 3226075"/>
                <a:gd name="connsiteX5" fmla="*/ 714335 w 5964568"/>
                <a:gd name="connsiteY5" fmla="*/ 1911651 h 3226075"/>
                <a:gd name="connsiteX6" fmla="*/ 1523207 w 5964568"/>
                <a:gd name="connsiteY6" fmla="*/ 1197933 h 3226075"/>
                <a:gd name="connsiteX7" fmla="*/ 1433591 w 5964568"/>
                <a:gd name="connsiteY7" fmla="*/ 1469680 h 3226075"/>
                <a:gd name="connsiteX8" fmla="*/ 2320564 w 5964568"/>
                <a:gd name="connsiteY8" fmla="*/ 957002 h 3226075"/>
                <a:gd name="connsiteX9" fmla="*/ 1934587 w 5964568"/>
                <a:gd name="connsiteY9" fmla="*/ 938224 h 3226075"/>
                <a:gd name="connsiteX10" fmla="*/ 2724695 w 5964568"/>
                <a:gd name="connsiteY10" fmla="*/ 647486 h 3226075"/>
                <a:gd name="connsiteX11" fmla="*/ 2671161 w 5964568"/>
                <a:gd name="connsiteY11" fmla="*/ 814311 h 3226075"/>
                <a:gd name="connsiteX12" fmla="*/ 3352287 w 5964568"/>
                <a:gd name="connsiteY12" fmla="*/ 520319 h 3226075"/>
                <a:gd name="connsiteX13" fmla="*/ 3086216 w 5964568"/>
                <a:gd name="connsiteY13" fmla="*/ 508470 h 3226075"/>
                <a:gd name="connsiteX14" fmla="*/ 3698561 w 5964568"/>
                <a:gd name="connsiteY14" fmla="*/ 231249 h 3226075"/>
                <a:gd name="connsiteX15" fmla="*/ 3623481 w 5964568"/>
                <a:gd name="connsiteY15" fmla="*/ 393777 h 3226075"/>
                <a:gd name="connsiteX16" fmla="*/ 4344358 w 5964568"/>
                <a:gd name="connsiteY16" fmla="*/ 193153 h 3226075"/>
                <a:gd name="connsiteX17" fmla="*/ 5478894 w 5964568"/>
                <a:gd name="connsiteY17" fmla="*/ 2141 h 3226075"/>
                <a:gd name="connsiteX18" fmla="*/ 5964568 w 5964568"/>
                <a:gd name="connsiteY18" fmla="*/ 322734 h 3226075"/>
                <a:gd name="connsiteX19" fmla="*/ 1736389 w 5964568"/>
                <a:gd name="connsiteY19" fmla="*/ 3226075 h 3226075"/>
                <a:gd name="connsiteX20" fmla="*/ 212611 w 5964568"/>
                <a:gd name="connsiteY20" fmla="*/ 2872385 h 3226075"/>
                <a:gd name="connsiteX0" fmla="*/ 212611 w 6036372"/>
                <a:gd name="connsiteY0" fmla="*/ 2817101 h 3170791"/>
                <a:gd name="connsiteX1" fmla="*/ 160498 w 6036372"/>
                <a:gd name="connsiteY1" fmla="*/ 2615491 h 3170791"/>
                <a:gd name="connsiteX2" fmla="*/ 418903 w 6036372"/>
                <a:gd name="connsiteY2" fmla="*/ 2315081 h 3170791"/>
                <a:gd name="connsiteX3" fmla="*/ 914255 w 6036372"/>
                <a:gd name="connsiteY3" fmla="*/ 2166675 h 3170791"/>
                <a:gd name="connsiteX4" fmla="*/ 1020177 w 6036372"/>
                <a:gd name="connsiteY4" fmla="*/ 1762837 h 3170791"/>
                <a:gd name="connsiteX5" fmla="*/ 714335 w 6036372"/>
                <a:gd name="connsiteY5" fmla="*/ 1856367 h 3170791"/>
                <a:gd name="connsiteX6" fmla="*/ 1523207 w 6036372"/>
                <a:gd name="connsiteY6" fmla="*/ 1142649 h 3170791"/>
                <a:gd name="connsiteX7" fmla="*/ 1433591 w 6036372"/>
                <a:gd name="connsiteY7" fmla="*/ 1414396 h 3170791"/>
                <a:gd name="connsiteX8" fmla="*/ 2320564 w 6036372"/>
                <a:gd name="connsiteY8" fmla="*/ 901718 h 3170791"/>
                <a:gd name="connsiteX9" fmla="*/ 1934587 w 6036372"/>
                <a:gd name="connsiteY9" fmla="*/ 882940 h 3170791"/>
                <a:gd name="connsiteX10" fmla="*/ 2724695 w 6036372"/>
                <a:gd name="connsiteY10" fmla="*/ 592202 h 3170791"/>
                <a:gd name="connsiteX11" fmla="*/ 2671161 w 6036372"/>
                <a:gd name="connsiteY11" fmla="*/ 759027 h 3170791"/>
                <a:gd name="connsiteX12" fmla="*/ 3352287 w 6036372"/>
                <a:gd name="connsiteY12" fmla="*/ 465035 h 3170791"/>
                <a:gd name="connsiteX13" fmla="*/ 3086216 w 6036372"/>
                <a:gd name="connsiteY13" fmla="*/ 453186 h 3170791"/>
                <a:gd name="connsiteX14" fmla="*/ 3698561 w 6036372"/>
                <a:gd name="connsiteY14" fmla="*/ 175965 h 3170791"/>
                <a:gd name="connsiteX15" fmla="*/ 3623481 w 6036372"/>
                <a:gd name="connsiteY15" fmla="*/ 338493 h 3170791"/>
                <a:gd name="connsiteX16" fmla="*/ 4344358 w 6036372"/>
                <a:gd name="connsiteY16" fmla="*/ 137869 h 3170791"/>
                <a:gd name="connsiteX17" fmla="*/ 5964568 w 6036372"/>
                <a:gd name="connsiteY17" fmla="*/ 267450 h 3170791"/>
                <a:gd name="connsiteX18" fmla="*/ 1736389 w 6036372"/>
                <a:gd name="connsiteY18" fmla="*/ 3170791 h 3170791"/>
                <a:gd name="connsiteX19" fmla="*/ 212611 w 6036372"/>
                <a:gd name="connsiteY19" fmla="*/ 2817101 h 3170791"/>
                <a:gd name="connsiteX0" fmla="*/ 1736389 w 6036371"/>
                <a:gd name="connsiteY0" fmla="*/ 3170791 h 3170791"/>
                <a:gd name="connsiteX1" fmla="*/ 160498 w 6036371"/>
                <a:gd name="connsiteY1" fmla="*/ 2615491 h 3170791"/>
                <a:gd name="connsiteX2" fmla="*/ 418903 w 6036371"/>
                <a:gd name="connsiteY2" fmla="*/ 2315081 h 3170791"/>
                <a:gd name="connsiteX3" fmla="*/ 914255 w 6036371"/>
                <a:gd name="connsiteY3" fmla="*/ 2166675 h 3170791"/>
                <a:gd name="connsiteX4" fmla="*/ 1020177 w 6036371"/>
                <a:gd name="connsiteY4" fmla="*/ 1762837 h 3170791"/>
                <a:gd name="connsiteX5" fmla="*/ 714335 w 6036371"/>
                <a:gd name="connsiteY5" fmla="*/ 1856367 h 3170791"/>
                <a:gd name="connsiteX6" fmla="*/ 1523207 w 6036371"/>
                <a:gd name="connsiteY6" fmla="*/ 1142649 h 3170791"/>
                <a:gd name="connsiteX7" fmla="*/ 1433591 w 6036371"/>
                <a:gd name="connsiteY7" fmla="*/ 1414396 h 3170791"/>
                <a:gd name="connsiteX8" fmla="*/ 2320564 w 6036371"/>
                <a:gd name="connsiteY8" fmla="*/ 901718 h 3170791"/>
                <a:gd name="connsiteX9" fmla="*/ 1934587 w 6036371"/>
                <a:gd name="connsiteY9" fmla="*/ 882940 h 3170791"/>
                <a:gd name="connsiteX10" fmla="*/ 2724695 w 6036371"/>
                <a:gd name="connsiteY10" fmla="*/ 592202 h 3170791"/>
                <a:gd name="connsiteX11" fmla="*/ 2671161 w 6036371"/>
                <a:gd name="connsiteY11" fmla="*/ 759027 h 3170791"/>
                <a:gd name="connsiteX12" fmla="*/ 3352287 w 6036371"/>
                <a:gd name="connsiteY12" fmla="*/ 465035 h 3170791"/>
                <a:gd name="connsiteX13" fmla="*/ 3086216 w 6036371"/>
                <a:gd name="connsiteY13" fmla="*/ 453186 h 3170791"/>
                <a:gd name="connsiteX14" fmla="*/ 3698561 w 6036371"/>
                <a:gd name="connsiteY14" fmla="*/ 175965 h 3170791"/>
                <a:gd name="connsiteX15" fmla="*/ 3623481 w 6036371"/>
                <a:gd name="connsiteY15" fmla="*/ 338493 h 3170791"/>
                <a:gd name="connsiteX16" fmla="*/ 4344358 w 6036371"/>
                <a:gd name="connsiteY16" fmla="*/ 137869 h 3170791"/>
                <a:gd name="connsiteX17" fmla="*/ 5964568 w 6036371"/>
                <a:gd name="connsiteY17" fmla="*/ 267450 h 3170791"/>
                <a:gd name="connsiteX18" fmla="*/ 1736389 w 6036371"/>
                <a:gd name="connsiteY18" fmla="*/ 3170791 h 3170791"/>
                <a:gd name="connsiteX0" fmla="*/ 1317486 w 5617468"/>
                <a:gd name="connsiteY0" fmla="*/ 3170791 h 3170791"/>
                <a:gd name="connsiteX1" fmla="*/ 0 w 5617468"/>
                <a:gd name="connsiteY1" fmla="*/ 2315081 h 3170791"/>
                <a:gd name="connsiteX2" fmla="*/ 495352 w 5617468"/>
                <a:gd name="connsiteY2" fmla="*/ 2166675 h 3170791"/>
                <a:gd name="connsiteX3" fmla="*/ 601274 w 5617468"/>
                <a:gd name="connsiteY3" fmla="*/ 1762837 h 3170791"/>
                <a:gd name="connsiteX4" fmla="*/ 295432 w 5617468"/>
                <a:gd name="connsiteY4" fmla="*/ 1856367 h 3170791"/>
                <a:gd name="connsiteX5" fmla="*/ 1104304 w 5617468"/>
                <a:gd name="connsiteY5" fmla="*/ 1142649 h 3170791"/>
                <a:gd name="connsiteX6" fmla="*/ 1014688 w 5617468"/>
                <a:gd name="connsiteY6" fmla="*/ 1414396 h 3170791"/>
                <a:gd name="connsiteX7" fmla="*/ 1901661 w 5617468"/>
                <a:gd name="connsiteY7" fmla="*/ 901718 h 3170791"/>
                <a:gd name="connsiteX8" fmla="*/ 1515684 w 5617468"/>
                <a:gd name="connsiteY8" fmla="*/ 882940 h 3170791"/>
                <a:gd name="connsiteX9" fmla="*/ 2305792 w 5617468"/>
                <a:gd name="connsiteY9" fmla="*/ 592202 h 3170791"/>
                <a:gd name="connsiteX10" fmla="*/ 2252258 w 5617468"/>
                <a:gd name="connsiteY10" fmla="*/ 759027 h 3170791"/>
                <a:gd name="connsiteX11" fmla="*/ 2933384 w 5617468"/>
                <a:gd name="connsiteY11" fmla="*/ 465035 h 3170791"/>
                <a:gd name="connsiteX12" fmla="*/ 2667313 w 5617468"/>
                <a:gd name="connsiteY12" fmla="*/ 453186 h 3170791"/>
                <a:gd name="connsiteX13" fmla="*/ 3279658 w 5617468"/>
                <a:gd name="connsiteY13" fmla="*/ 175965 h 3170791"/>
                <a:gd name="connsiteX14" fmla="*/ 3204578 w 5617468"/>
                <a:gd name="connsiteY14" fmla="*/ 338493 h 3170791"/>
                <a:gd name="connsiteX15" fmla="*/ 3925455 w 5617468"/>
                <a:gd name="connsiteY15" fmla="*/ 137869 h 3170791"/>
                <a:gd name="connsiteX16" fmla="*/ 5545665 w 5617468"/>
                <a:gd name="connsiteY16" fmla="*/ 267450 h 3170791"/>
                <a:gd name="connsiteX17" fmla="*/ 1317486 w 5617468"/>
                <a:gd name="connsiteY17" fmla="*/ 3170791 h 3170791"/>
                <a:gd name="connsiteX0" fmla="*/ 1053179 w 5353161"/>
                <a:gd name="connsiteY0" fmla="*/ 3170791 h 3170791"/>
                <a:gd name="connsiteX1" fmla="*/ 231045 w 5353161"/>
                <a:gd name="connsiteY1" fmla="*/ 2166675 h 3170791"/>
                <a:gd name="connsiteX2" fmla="*/ 336967 w 5353161"/>
                <a:gd name="connsiteY2" fmla="*/ 1762837 h 3170791"/>
                <a:gd name="connsiteX3" fmla="*/ 31125 w 5353161"/>
                <a:gd name="connsiteY3" fmla="*/ 1856367 h 3170791"/>
                <a:gd name="connsiteX4" fmla="*/ 839997 w 5353161"/>
                <a:gd name="connsiteY4" fmla="*/ 1142649 h 3170791"/>
                <a:gd name="connsiteX5" fmla="*/ 750381 w 5353161"/>
                <a:gd name="connsiteY5" fmla="*/ 1414396 h 3170791"/>
                <a:gd name="connsiteX6" fmla="*/ 1637354 w 5353161"/>
                <a:gd name="connsiteY6" fmla="*/ 901718 h 3170791"/>
                <a:gd name="connsiteX7" fmla="*/ 1251377 w 5353161"/>
                <a:gd name="connsiteY7" fmla="*/ 882940 h 3170791"/>
                <a:gd name="connsiteX8" fmla="*/ 2041485 w 5353161"/>
                <a:gd name="connsiteY8" fmla="*/ 592202 h 3170791"/>
                <a:gd name="connsiteX9" fmla="*/ 1987951 w 5353161"/>
                <a:gd name="connsiteY9" fmla="*/ 759027 h 3170791"/>
                <a:gd name="connsiteX10" fmla="*/ 2669077 w 5353161"/>
                <a:gd name="connsiteY10" fmla="*/ 465035 h 3170791"/>
                <a:gd name="connsiteX11" fmla="*/ 2403006 w 5353161"/>
                <a:gd name="connsiteY11" fmla="*/ 453186 h 3170791"/>
                <a:gd name="connsiteX12" fmla="*/ 3015351 w 5353161"/>
                <a:gd name="connsiteY12" fmla="*/ 175965 h 3170791"/>
                <a:gd name="connsiteX13" fmla="*/ 2940271 w 5353161"/>
                <a:gd name="connsiteY13" fmla="*/ 338493 h 3170791"/>
                <a:gd name="connsiteX14" fmla="*/ 3661148 w 5353161"/>
                <a:gd name="connsiteY14" fmla="*/ 137869 h 3170791"/>
                <a:gd name="connsiteX15" fmla="*/ 5281358 w 5353161"/>
                <a:gd name="connsiteY15" fmla="*/ 267450 h 3170791"/>
                <a:gd name="connsiteX16" fmla="*/ 1053179 w 5353161"/>
                <a:gd name="connsiteY16" fmla="*/ 3170791 h 3170791"/>
                <a:gd name="connsiteX0" fmla="*/ 1053179 w 5353161"/>
                <a:gd name="connsiteY0" fmla="*/ 3170791 h 3170791"/>
                <a:gd name="connsiteX1" fmla="*/ 336967 w 5353161"/>
                <a:gd name="connsiteY1" fmla="*/ 1762837 h 3170791"/>
                <a:gd name="connsiteX2" fmla="*/ 31125 w 5353161"/>
                <a:gd name="connsiteY2" fmla="*/ 1856367 h 3170791"/>
                <a:gd name="connsiteX3" fmla="*/ 839997 w 5353161"/>
                <a:gd name="connsiteY3" fmla="*/ 1142649 h 3170791"/>
                <a:gd name="connsiteX4" fmla="*/ 750381 w 5353161"/>
                <a:gd name="connsiteY4" fmla="*/ 1414396 h 3170791"/>
                <a:gd name="connsiteX5" fmla="*/ 1637354 w 5353161"/>
                <a:gd name="connsiteY5" fmla="*/ 901718 h 3170791"/>
                <a:gd name="connsiteX6" fmla="*/ 1251377 w 5353161"/>
                <a:gd name="connsiteY6" fmla="*/ 882940 h 3170791"/>
                <a:gd name="connsiteX7" fmla="*/ 2041485 w 5353161"/>
                <a:gd name="connsiteY7" fmla="*/ 592202 h 3170791"/>
                <a:gd name="connsiteX8" fmla="*/ 1987951 w 5353161"/>
                <a:gd name="connsiteY8" fmla="*/ 759027 h 3170791"/>
                <a:gd name="connsiteX9" fmla="*/ 2669077 w 5353161"/>
                <a:gd name="connsiteY9" fmla="*/ 465035 h 3170791"/>
                <a:gd name="connsiteX10" fmla="*/ 2403006 w 5353161"/>
                <a:gd name="connsiteY10" fmla="*/ 453186 h 3170791"/>
                <a:gd name="connsiteX11" fmla="*/ 3015351 w 5353161"/>
                <a:gd name="connsiteY11" fmla="*/ 175965 h 3170791"/>
                <a:gd name="connsiteX12" fmla="*/ 2940271 w 5353161"/>
                <a:gd name="connsiteY12" fmla="*/ 338493 h 3170791"/>
                <a:gd name="connsiteX13" fmla="*/ 3661148 w 5353161"/>
                <a:gd name="connsiteY13" fmla="*/ 137869 h 3170791"/>
                <a:gd name="connsiteX14" fmla="*/ 5281358 w 5353161"/>
                <a:gd name="connsiteY14" fmla="*/ 267450 h 3170791"/>
                <a:gd name="connsiteX15" fmla="*/ 1053179 w 5353161"/>
                <a:gd name="connsiteY15" fmla="*/ 3170791 h 3170791"/>
                <a:gd name="connsiteX0" fmla="*/ 1053179 w 5353161"/>
                <a:gd name="connsiteY0" fmla="*/ 3170791 h 3170791"/>
                <a:gd name="connsiteX1" fmla="*/ 31125 w 5353161"/>
                <a:gd name="connsiteY1" fmla="*/ 1856367 h 3170791"/>
                <a:gd name="connsiteX2" fmla="*/ 839997 w 5353161"/>
                <a:gd name="connsiteY2" fmla="*/ 1142649 h 3170791"/>
                <a:gd name="connsiteX3" fmla="*/ 750381 w 5353161"/>
                <a:gd name="connsiteY3" fmla="*/ 1414396 h 3170791"/>
                <a:gd name="connsiteX4" fmla="*/ 1637354 w 5353161"/>
                <a:gd name="connsiteY4" fmla="*/ 901718 h 3170791"/>
                <a:gd name="connsiteX5" fmla="*/ 1251377 w 5353161"/>
                <a:gd name="connsiteY5" fmla="*/ 882940 h 3170791"/>
                <a:gd name="connsiteX6" fmla="*/ 2041485 w 5353161"/>
                <a:gd name="connsiteY6" fmla="*/ 592202 h 3170791"/>
                <a:gd name="connsiteX7" fmla="*/ 1987951 w 5353161"/>
                <a:gd name="connsiteY7" fmla="*/ 759027 h 3170791"/>
                <a:gd name="connsiteX8" fmla="*/ 2669077 w 5353161"/>
                <a:gd name="connsiteY8" fmla="*/ 465035 h 3170791"/>
                <a:gd name="connsiteX9" fmla="*/ 2403006 w 5353161"/>
                <a:gd name="connsiteY9" fmla="*/ 453186 h 3170791"/>
                <a:gd name="connsiteX10" fmla="*/ 3015351 w 5353161"/>
                <a:gd name="connsiteY10" fmla="*/ 175965 h 3170791"/>
                <a:gd name="connsiteX11" fmla="*/ 2940271 w 5353161"/>
                <a:gd name="connsiteY11" fmla="*/ 338493 h 3170791"/>
                <a:gd name="connsiteX12" fmla="*/ 3661148 w 5353161"/>
                <a:gd name="connsiteY12" fmla="*/ 137869 h 3170791"/>
                <a:gd name="connsiteX13" fmla="*/ 5281358 w 5353161"/>
                <a:gd name="connsiteY13" fmla="*/ 267450 h 3170791"/>
                <a:gd name="connsiteX14" fmla="*/ 1053179 w 5353161"/>
                <a:gd name="connsiteY14" fmla="*/ 3170791 h 3170791"/>
                <a:gd name="connsiteX0" fmla="*/ 309073 w 4609055"/>
                <a:gd name="connsiteY0" fmla="*/ 3170791 h 3170791"/>
                <a:gd name="connsiteX1" fmla="*/ 95891 w 4609055"/>
                <a:gd name="connsiteY1" fmla="*/ 1142649 h 3170791"/>
                <a:gd name="connsiteX2" fmla="*/ 6275 w 4609055"/>
                <a:gd name="connsiteY2" fmla="*/ 1414396 h 3170791"/>
                <a:gd name="connsiteX3" fmla="*/ 893248 w 4609055"/>
                <a:gd name="connsiteY3" fmla="*/ 901718 h 3170791"/>
                <a:gd name="connsiteX4" fmla="*/ 507271 w 4609055"/>
                <a:gd name="connsiteY4" fmla="*/ 882940 h 3170791"/>
                <a:gd name="connsiteX5" fmla="*/ 1297379 w 4609055"/>
                <a:gd name="connsiteY5" fmla="*/ 592202 h 3170791"/>
                <a:gd name="connsiteX6" fmla="*/ 1243845 w 4609055"/>
                <a:gd name="connsiteY6" fmla="*/ 759027 h 3170791"/>
                <a:gd name="connsiteX7" fmla="*/ 1924971 w 4609055"/>
                <a:gd name="connsiteY7" fmla="*/ 465035 h 3170791"/>
                <a:gd name="connsiteX8" fmla="*/ 1658900 w 4609055"/>
                <a:gd name="connsiteY8" fmla="*/ 453186 h 3170791"/>
                <a:gd name="connsiteX9" fmla="*/ 2271245 w 4609055"/>
                <a:gd name="connsiteY9" fmla="*/ 175965 h 3170791"/>
                <a:gd name="connsiteX10" fmla="*/ 2196165 w 4609055"/>
                <a:gd name="connsiteY10" fmla="*/ 338493 h 3170791"/>
                <a:gd name="connsiteX11" fmla="*/ 2917042 w 4609055"/>
                <a:gd name="connsiteY11" fmla="*/ 137869 h 3170791"/>
                <a:gd name="connsiteX12" fmla="*/ 4537252 w 4609055"/>
                <a:gd name="connsiteY12" fmla="*/ 267450 h 3170791"/>
                <a:gd name="connsiteX13" fmla="*/ 309073 w 4609055"/>
                <a:gd name="connsiteY13" fmla="*/ 3170791 h 3170791"/>
                <a:gd name="connsiteX0" fmla="*/ 302798 w 4602780"/>
                <a:gd name="connsiteY0" fmla="*/ 3170791 h 3170791"/>
                <a:gd name="connsiteX1" fmla="*/ 0 w 4602780"/>
                <a:gd name="connsiteY1" fmla="*/ 1414396 h 3170791"/>
                <a:gd name="connsiteX2" fmla="*/ 886973 w 4602780"/>
                <a:gd name="connsiteY2" fmla="*/ 901718 h 3170791"/>
                <a:gd name="connsiteX3" fmla="*/ 500996 w 4602780"/>
                <a:gd name="connsiteY3" fmla="*/ 882940 h 3170791"/>
                <a:gd name="connsiteX4" fmla="*/ 1291104 w 4602780"/>
                <a:gd name="connsiteY4" fmla="*/ 592202 h 3170791"/>
                <a:gd name="connsiteX5" fmla="*/ 1237570 w 4602780"/>
                <a:gd name="connsiteY5" fmla="*/ 759027 h 3170791"/>
                <a:gd name="connsiteX6" fmla="*/ 1918696 w 4602780"/>
                <a:gd name="connsiteY6" fmla="*/ 465035 h 3170791"/>
                <a:gd name="connsiteX7" fmla="*/ 1652625 w 4602780"/>
                <a:gd name="connsiteY7" fmla="*/ 453186 h 3170791"/>
                <a:gd name="connsiteX8" fmla="*/ 2264970 w 4602780"/>
                <a:gd name="connsiteY8" fmla="*/ 175965 h 3170791"/>
                <a:gd name="connsiteX9" fmla="*/ 2189890 w 4602780"/>
                <a:gd name="connsiteY9" fmla="*/ 338493 h 3170791"/>
                <a:gd name="connsiteX10" fmla="*/ 2910767 w 4602780"/>
                <a:gd name="connsiteY10" fmla="*/ 137869 h 3170791"/>
                <a:gd name="connsiteX11" fmla="*/ 4530977 w 4602780"/>
                <a:gd name="connsiteY11" fmla="*/ 267450 h 3170791"/>
                <a:gd name="connsiteX12" fmla="*/ 302798 w 4602780"/>
                <a:gd name="connsiteY12" fmla="*/ 3170791 h 3170791"/>
                <a:gd name="connsiteX0" fmla="*/ 784030 w 4499837"/>
                <a:gd name="connsiteY0" fmla="*/ 901718 h 3170791"/>
                <a:gd name="connsiteX1" fmla="*/ 398053 w 4499837"/>
                <a:gd name="connsiteY1" fmla="*/ 882940 h 3170791"/>
                <a:gd name="connsiteX2" fmla="*/ 1188161 w 4499837"/>
                <a:gd name="connsiteY2" fmla="*/ 592202 h 3170791"/>
                <a:gd name="connsiteX3" fmla="*/ 1134627 w 4499837"/>
                <a:gd name="connsiteY3" fmla="*/ 759027 h 3170791"/>
                <a:gd name="connsiteX4" fmla="*/ 1815753 w 4499837"/>
                <a:gd name="connsiteY4" fmla="*/ 465035 h 3170791"/>
                <a:gd name="connsiteX5" fmla="*/ 1549682 w 4499837"/>
                <a:gd name="connsiteY5" fmla="*/ 453186 h 3170791"/>
                <a:gd name="connsiteX6" fmla="*/ 2162027 w 4499837"/>
                <a:gd name="connsiteY6" fmla="*/ 175965 h 3170791"/>
                <a:gd name="connsiteX7" fmla="*/ 2086947 w 4499837"/>
                <a:gd name="connsiteY7" fmla="*/ 338493 h 3170791"/>
                <a:gd name="connsiteX8" fmla="*/ 2807824 w 4499837"/>
                <a:gd name="connsiteY8" fmla="*/ 137869 h 3170791"/>
                <a:gd name="connsiteX9" fmla="*/ 4428034 w 4499837"/>
                <a:gd name="connsiteY9" fmla="*/ 267450 h 3170791"/>
                <a:gd name="connsiteX10" fmla="*/ 199855 w 4499837"/>
                <a:gd name="connsiteY10" fmla="*/ 3170791 h 3170791"/>
                <a:gd name="connsiteX11" fmla="*/ 0 w 4499837"/>
                <a:gd name="connsiteY11" fmla="*/ 1503990 h 3170791"/>
                <a:gd name="connsiteX0" fmla="*/ 584175 w 4299982"/>
                <a:gd name="connsiteY0" fmla="*/ 901718 h 3170791"/>
                <a:gd name="connsiteX1" fmla="*/ 198198 w 4299982"/>
                <a:gd name="connsiteY1" fmla="*/ 882940 h 3170791"/>
                <a:gd name="connsiteX2" fmla="*/ 988306 w 4299982"/>
                <a:gd name="connsiteY2" fmla="*/ 592202 h 3170791"/>
                <a:gd name="connsiteX3" fmla="*/ 934772 w 4299982"/>
                <a:gd name="connsiteY3" fmla="*/ 759027 h 3170791"/>
                <a:gd name="connsiteX4" fmla="*/ 1615898 w 4299982"/>
                <a:gd name="connsiteY4" fmla="*/ 465035 h 3170791"/>
                <a:gd name="connsiteX5" fmla="*/ 1349827 w 4299982"/>
                <a:gd name="connsiteY5" fmla="*/ 453186 h 3170791"/>
                <a:gd name="connsiteX6" fmla="*/ 1962172 w 4299982"/>
                <a:gd name="connsiteY6" fmla="*/ 175965 h 3170791"/>
                <a:gd name="connsiteX7" fmla="*/ 1887092 w 4299982"/>
                <a:gd name="connsiteY7" fmla="*/ 338493 h 3170791"/>
                <a:gd name="connsiteX8" fmla="*/ 2607969 w 4299982"/>
                <a:gd name="connsiteY8" fmla="*/ 137869 h 3170791"/>
                <a:gd name="connsiteX9" fmla="*/ 4228179 w 4299982"/>
                <a:gd name="connsiteY9" fmla="*/ 267450 h 3170791"/>
                <a:gd name="connsiteX10" fmla="*/ 0 w 4299982"/>
                <a:gd name="connsiteY10" fmla="*/ 3170791 h 3170791"/>
                <a:gd name="connsiteX0" fmla="*/ 198198 w 4299982"/>
                <a:gd name="connsiteY0" fmla="*/ 882940 h 3170791"/>
                <a:gd name="connsiteX1" fmla="*/ 988306 w 4299982"/>
                <a:gd name="connsiteY1" fmla="*/ 592202 h 3170791"/>
                <a:gd name="connsiteX2" fmla="*/ 934772 w 4299982"/>
                <a:gd name="connsiteY2" fmla="*/ 759027 h 3170791"/>
                <a:gd name="connsiteX3" fmla="*/ 1615898 w 4299982"/>
                <a:gd name="connsiteY3" fmla="*/ 465035 h 3170791"/>
                <a:gd name="connsiteX4" fmla="*/ 1349827 w 4299982"/>
                <a:gd name="connsiteY4" fmla="*/ 453186 h 3170791"/>
                <a:gd name="connsiteX5" fmla="*/ 1962172 w 4299982"/>
                <a:gd name="connsiteY5" fmla="*/ 175965 h 3170791"/>
                <a:gd name="connsiteX6" fmla="*/ 1887092 w 4299982"/>
                <a:gd name="connsiteY6" fmla="*/ 338493 h 3170791"/>
                <a:gd name="connsiteX7" fmla="*/ 2607969 w 4299982"/>
                <a:gd name="connsiteY7" fmla="*/ 137869 h 3170791"/>
                <a:gd name="connsiteX8" fmla="*/ 4228179 w 4299982"/>
                <a:gd name="connsiteY8" fmla="*/ 267450 h 3170791"/>
                <a:gd name="connsiteX9" fmla="*/ 0 w 4299982"/>
                <a:gd name="connsiteY9" fmla="*/ 3170791 h 3170791"/>
                <a:gd name="connsiteX0" fmla="*/ 988306 w 4299982"/>
                <a:gd name="connsiteY0" fmla="*/ 592202 h 3170791"/>
                <a:gd name="connsiteX1" fmla="*/ 934772 w 4299982"/>
                <a:gd name="connsiteY1" fmla="*/ 759027 h 3170791"/>
                <a:gd name="connsiteX2" fmla="*/ 1615898 w 4299982"/>
                <a:gd name="connsiteY2" fmla="*/ 465035 h 3170791"/>
                <a:gd name="connsiteX3" fmla="*/ 1349827 w 4299982"/>
                <a:gd name="connsiteY3" fmla="*/ 453186 h 3170791"/>
                <a:gd name="connsiteX4" fmla="*/ 1962172 w 4299982"/>
                <a:gd name="connsiteY4" fmla="*/ 175965 h 3170791"/>
                <a:gd name="connsiteX5" fmla="*/ 1887092 w 4299982"/>
                <a:gd name="connsiteY5" fmla="*/ 338493 h 3170791"/>
                <a:gd name="connsiteX6" fmla="*/ 2607969 w 4299982"/>
                <a:gd name="connsiteY6" fmla="*/ 137869 h 3170791"/>
                <a:gd name="connsiteX7" fmla="*/ 4228179 w 4299982"/>
                <a:gd name="connsiteY7" fmla="*/ 267450 h 3170791"/>
                <a:gd name="connsiteX8" fmla="*/ 0 w 4299982"/>
                <a:gd name="connsiteY8" fmla="*/ 3170791 h 3170791"/>
                <a:gd name="connsiteX0" fmla="*/ 934772 w 4299982"/>
                <a:gd name="connsiteY0" fmla="*/ 759027 h 3170791"/>
                <a:gd name="connsiteX1" fmla="*/ 1615898 w 4299982"/>
                <a:gd name="connsiteY1" fmla="*/ 465035 h 3170791"/>
                <a:gd name="connsiteX2" fmla="*/ 1349827 w 4299982"/>
                <a:gd name="connsiteY2" fmla="*/ 453186 h 3170791"/>
                <a:gd name="connsiteX3" fmla="*/ 1962172 w 4299982"/>
                <a:gd name="connsiteY3" fmla="*/ 175965 h 3170791"/>
                <a:gd name="connsiteX4" fmla="*/ 1887092 w 4299982"/>
                <a:gd name="connsiteY4" fmla="*/ 338493 h 3170791"/>
                <a:gd name="connsiteX5" fmla="*/ 2607969 w 4299982"/>
                <a:gd name="connsiteY5" fmla="*/ 137869 h 3170791"/>
                <a:gd name="connsiteX6" fmla="*/ 4228179 w 4299982"/>
                <a:gd name="connsiteY6" fmla="*/ 267450 h 3170791"/>
                <a:gd name="connsiteX7" fmla="*/ 0 w 4299982"/>
                <a:gd name="connsiteY7" fmla="*/ 3170791 h 3170791"/>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2100523"/>
                <a:gd name="connsiteY0" fmla="*/ 621677 h 1170835"/>
                <a:gd name="connsiteX1" fmla="*/ 706341 w 2100523"/>
                <a:gd name="connsiteY1" fmla="*/ 327685 h 1170835"/>
                <a:gd name="connsiteX2" fmla="*/ 440270 w 2100523"/>
                <a:gd name="connsiteY2" fmla="*/ 315836 h 1170835"/>
                <a:gd name="connsiteX3" fmla="*/ 1052615 w 2100523"/>
                <a:gd name="connsiteY3" fmla="*/ 38615 h 1170835"/>
                <a:gd name="connsiteX4" fmla="*/ 977535 w 2100523"/>
                <a:gd name="connsiteY4" fmla="*/ 201143 h 1170835"/>
                <a:gd name="connsiteX5" fmla="*/ 1698412 w 2100523"/>
                <a:gd name="connsiteY5" fmla="*/ 519 h 1170835"/>
                <a:gd name="connsiteX6" fmla="*/ 1855745 w 2100523"/>
                <a:gd name="connsiteY6" fmla="*/ 684166 h 1170835"/>
                <a:gd name="connsiteX7" fmla="*/ 851313 w 2100523"/>
                <a:gd name="connsiteY7" fmla="*/ 1170835 h 1170835"/>
                <a:gd name="connsiteX0" fmla="*/ 25215 w 2100522"/>
                <a:gd name="connsiteY0" fmla="*/ 621677 h 1170835"/>
                <a:gd name="connsiteX1" fmla="*/ 706341 w 2100522"/>
                <a:gd name="connsiteY1" fmla="*/ 327685 h 1170835"/>
                <a:gd name="connsiteX2" fmla="*/ 440270 w 2100522"/>
                <a:gd name="connsiteY2" fmla="*/ 315836 h 1170835"/>
                <a:gd name="connsiteX3" fmla="*/ 1052615 w 2100522"/>
                <a:gd name="connsiteY3" fmla="*/ 38615 h 1170835"/>
                <a:gd name="connsiteX4" fmla="*/ 977535 w 2100522"/>
                <a:gd name="connsiteY4" fmla="*/ 201143 h 1170835"/>
                <a:gd name="connsiteX5" fmla="*/ 1698412 w 2100522"/>
                <a:gd name="connsiteY5" fmla="*/ 519 h 1170835"/>
                <a:gd name="connsiteX6" fmla="*/ 1855745 w 2100522"/>
                <a:gd name="connsiteY6" fmla="*/ 684166 h 1170835"/>
                <a:gd name="connsiteX7" fmla="*/ 851313 w 2100522"/>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030458"/>
                <a:gd name="connsiteX1" fmla="*/ 275423 w 1669604"/>
                <a:gd name="connsiteY1" fmla="*/ 327685 h 1030458"/>
                <a:gd name="connsiteX2" fmla="*/ 9352 w 1669604"/>
                <a:gd name="connsiteY2" fmla="*/ 315836 h 1030458"/>
                <a:gd name="connsiteX3" fmla="*/ 621697 w 1669604"/>
                <a:gd name="connsiteY3" fmla="*/ 38615 h 1030458"/>
                <a:gd name="connsiteX4" fmla="*/ 546617 w 1669604"/>
                <a:gd name="connsiteY4" fmla="*/ 201143 h 1030458"/>
                <a:gd name="connsiteX5" fmla="*/ 1267494 w 1669604"/>
                <a:gd name="connsiteY5" fmla="*/ 519 h 1030458"/>
                <a:gd name="connsiteX6" fmla="*/ 1424827 w 1669604"/>
                <a:gd name="connsiteY6" fmla="*/ 684166 h 1030458"/>
                <a:gd name="connsiteX7" fmla="*/ 534249 w 1669604"/>
                <a:gd name="connsiteY7" fmla="*/ 1030458 h 1030458"/>
                <a:gd name="connsiteX0" fmla="*/ 92409 w 1669604"/>
                <a:gd name="connsiteY0" fmla="*/ 534974 h 1022200"/>
                <a:gd name="connsiteX1" fmla="*/ 275423 w 1669604"/>
                <a:gd name="connsiteY1" fmla="*/ 327685 h 1022200"/>
                <a:gd name="connsiteX2" fmla="*/ 9352 w 1669604"/>
                <a:gd name="connsiteY2" fmla="*/ 315836 h 1022200"/>
                <a:gd name="connsiteX3" fmla="*/ 621697 w 1669604"/>
                <a:gd name="connsiteY3" fmla="*/ 38615 h 1022200"/>
                <a:gd name="connsiteX4" fmla="*/ 546617 w 1669604"/>
                <a:gd name="connsiteY4" fmla="*/ 201143 h 1022200"/>
                <a:gd name="connsiteX5" fmla="*/ 1267494 w 1669604"/>
                <a:gd name="connsiteY5" fmla="*/ 519 h 1022200"/>
                <a:gd name="connsiteX6" fmla="*/ 1424827 w 1669604"/>
                <a:gd name="connsiteY6" fmla="*/ 684166 h 1022200"/>
                <a:gd name="connsiteX7" fmla="*/ 543736 w 1669604"/>
                <a:gd name="connsiteY7" fmla="*/ 1022200 h 1022200"/>
                <a:gd name="connsiteX0" fmla="*/ 92409 w 1669604"/>
                <a:gd name="connsiteY0" fmla="*/ 534974 h 1022200"/>
                <a:gd name="connsiteX1" fmla="*/ 275423 w 1669604"/>
                <a:gd name="connsiteY1" fmla="*/ 327685 h 1022200"/>
                <a:gd name="connsiteX2" fmla="*/ 9352 w 1669604"/>
                <a:gd name="connsiteY2" fmla="*/ 315836 h 1022200"/>
                <a:gd name="connsiteX3" fmla="*/ 621697 w 1669604"/>
                <a:gd name="connsiteY3" fmla="*/ 38615 h 1022200"/>
                <a:gd name="connsiteX4" fmla="*/ 546617 w 1669604"/>
                <a:gd name="connsiteY4" fmla="*/ 201143 h 1022200"/>
                <a:gd name="connsiteX5" fmla="*/ 1267494 w 1669604"/>
                <a:gd name="connsiteY5" fmla="*/ 519 h 1022200"/>
                <a:gd name="connsiteX6" fmla="*/ 1424827 w 1669604"/>
                <a:gd name="connsiteY6" fmla="*/ 684166 h 1022200"/>
                <a:gd name="connsiteX7" fmla="*/ 543736 w 1669604"/>
                <a:gd name="connsiteY7" fmla="*/ 1022200 h 1022200"/>
                <a:gd name="connsiteX0" fmla="*/ 92409 w 1619541"/>
                <a:gd name="connsiteY0" fmla="*/ 535189 h 1022415"/>
                <a:gd name="connsiteX1" fmla="*/ 275423 w 1619541"/>
                <a:gd name="connsiteY1" fmla="*/ 327900 h 1022415"/>
                <a:gd name="connsiteX2" fmla="*/ 9352 w 1619541"/>
                <a:gd name="connsiteY2" fmla="*/ 316051 h 1022415"/>
                <a:gd name="connsiteX3" fmla="*/ 621697 w 1619541"/>
                <a:gd name="connsiteY3" fmla="*/ 38830 h 1022415"/>
                <a:gd name="connsiteX4" fmla="*/ 546617 w 1619541"/>
                <a:gd name="connsiteY4" fmla="*/ 201358 h 1022415"/>
                <a:gd name="connsiteX5" fmla="*/ 1267494 w 1619541"/>
                <a:gd name="connsiteY5" fmla="*/ 734 h 1022415"/>
                <a:gd name="connsiteX6" fmla="*/ 1344180 w 1619541"/>
                <a:gd name="connsiteY6" fmla="*/ 622449 h 1022415"/>
                <a:gd name="connsiteX7" fmla="*/ 543736 w 1619541"/>
                <a:gd name="connsiteY7" fmla="*/ 1022415 h 1022415"/>
                <a:gd name="connsiteX0" fmla="*/ 92409 w 1422618"/>
                <a:gd name="connsiteY0" fmla="*/ 534683 h 1021909"/>
                <a:gd name="connsiteX1" fmla="*/ 275423 w 1422618"/>
                <a:gd name="connsiteY1" fmla="*/ 327394 h 1021909"/>
                <a:gd name="connsiteX2" fmla="*/ 9352 w 1422618"/>
                <a:gd name="connsiteY2" fmla="*/ 315545 h 1021909"/>
                <a:gd name="connsiteX3" fmla="*/ 621697 w 1422618"/>
                <a:gd name="connsiteY3" fmla="*/ 38324 h 1021909"/>
                <a:gd name="connsiteX4" fmla="*/ 546617 w 1422618"/>
                <a:gd name="connsiteY4" fmla="*/ 200852 h 1021909"/>
                <a:gd name="connsiteX5" fmla="*/ 1267494 w 1422618"/>
                <a:gd name="connsiteY5" fmla="*/ 228 h 1021909"/>
                <a:gd name="connsiteX6" fmla="*/ 1344180 w 1422618"/>
                <a:gd name="connsiteY6" fmla="*/ 621943 h 1021909"/>
                <a:gd name="connsiteX7" fmla="*/ 543736 w 1422618"/>
                <a:gd name="connsiteY7" fmla="*/ 1021909 h 1021909"/>
                <a:gd name="connsiteX0" fmla="*/ 92409 w 1420583"/>
                <a:gd name="connsiteY0" fmla="*/ 534681 h 1021907"/>
                <a:gd name="connsiteX1" fmla="*/ 275423 w 1420583"/>
                <a:gd name="connsiteY1" fmla="*/ 327392 h 1021907"/>
                <a:gd name="connsiteX2" fmla="*/ 9352 w 1420583"/>
                <a:gd name="connsiteY2" fmla="*/ 315543 h 1021907"/>
                <a:gd name="connsiteX3" fmla="*/ 621697 w 1420583"/>
                <a:gd name="connsiteY3" fmla="*/ 38322 h 1021907"/>
                <a:gd name="connsiteX4" fmla="*/ 546617 w 1420583"/>
                <a:gd name="connsiteY4" fmla="*/ 200850 h 1021907"/>
                <a:gd name="connsiteX5" fmla="*/ 1267494 w 1420583"/>
                <a:gd name="connsiteY5" fmla="*/ 226 h 1021907"/>
                <a:gd name="connsiteX6" fmla="*/ 1334692 w 1420583"/>
                <a:gd name="connsiteY6" fmla="*/ 626070 h 1021907"/>
                <a:gd name="connsiteX7" fmla="*/ 543736 w 1420583"/>
                <a:gd name="connsiteY7" fmla="*/ 1021907 h 1021907"/>
                <a:gd name="connsiteX0" fmla="*/ 92409 w 1417130"/>
                <a:gd name="connsiteY0" fmla="*/ 534699 h 1021925"/>
                <a:gd name="connsiteX1" fmla="*/ 275423 w 1417130"/>
                <a:gd name="connsiteY1" fmla="*/ 327410 h 1021925"/>
                <a:gd name="connsiteX2" fmla="*/ 9352 w 1417130"/>
                <a:gd name="connsiteY2" fmla="*/ 315561 h 1021925"/>
                <a:gd name="connsiteX3" fmla="*/ 621697 w 1417130"/>
                <a:gd name="connsiteY3" fmla="*/ 38340 h 1021925"/>
                <a:gd name="connsiteX4" fmla="*/ 546617 w 1417130"/>
                <a:gd name="connsiteY4" fmla="*/ 200868 h 1021925"/>
                <a:gd name="connsiteX5" fmla="*/ 1267494 w 1417130"/>
                <a:gd name="connsiteY5" fmla="*/ 244 h 1021925"/>
                <a:gd name="connsiteX6" fmla="*/ 1334692 w 1417130"/>
                <a:gd name="connsiteY6" fmla="*/ 626088 h 1021925"/>
                <a:gd name="connsiteX7" fmla="*/ 543736 w 1417130"/>
                <a:gd name="connsiteY7" fmla="*/ 1021925 h 1021925"/>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389 w 1334672"/>
                <a:gd name="connsiteY0" fmla="*/ 513498 h 1000724"/>
                <a:gd name="connsiteX1" fmla="*/ 275403 w 1334672"/>
                <a:gd name="connsiteY1" fmla="*/ 306209 h 1000724"/>
                <a:gd name="connsiteX2" fmla="*/ 9332 w 1334672"/>
                <a:gd name="connsiteY2" fmla="*/ 294360 h 1000724"/>
                <a:gd name="connsiteX3" fmla="*/ 621677 w 1334672"/>
                <a:gd name="connsiteY3" fmla="*/ 17139 h 1000724"/>
                <a:gd name="connsiteX4" fmla="*/ 546597 w 1334672"/>
                <a:gd name="connsiteY4" fmla="*/ 179667 h 1000724"/>
                <a:gd name="connsiteX5" fmla="*/ 935400 w 1334672"/>
                <a:gd name="connsiteY5" fmla="*/ 152450 h 1000724"/>
                <a:gd name="connsiteX6" fmla="*/ 1334672 w 1334672"/>
                <a:gd name="connsiteY6" fmla="*/ 604887 h 1000724"/>
                <a:gd name="connsiteX7" fmla="*/ 543716 w 1334672"/>
                <a:gd name="connsiteY7" fmla="*/ 1000724 h 1000724"/>
                <a:gd name="connsiteX0" fmla="*/ 92389 w 1334672"/>
                <a:gd name="connsiteY0" fmla="*/ 513498 h 1000724"/>
                <a:gd name="connsiteX1" fmla="*/ 275403 w 1334672"/>
                <a:gd name="connsiteY1" fmla="*/ 306209 h 1000724"/>
                <a:gd name="connsiteX2" fmla="*/ 9332 w 1334672"/>
                <a:gd name="connsiteY2" fmla="*/ 294360 h 1000724"/>
                <a:gd name="connsiteX3" fmla="*/ 621677 w 1334672"/>
                <a:gd name="connsiteY3" fmla="*/ 17139 h 1000724"/>
                <a:gd name="connsiteX4" fmla="*/ 546597 w 1334672"/>
                <a:gd name="connsiteY4" fmla="*/ 179667 h 1000724"/>
                <a:gd name="connsiteX5" fmla="*/ 935400 w 1334672"/>
                <a:gd name="connsiteY5" fmla="*/ 152450 h 1000724"/>
                <a:gd name="connsiteX6" fmla="*/ 1334672 w 1334672"/>
                <a:gd name="connsiteY6" fmla="*/ 604887 h 1000724"/>
                <a:gd name="connsiteX7" fmla="*/ 543716 w 1334672"/>
                <a:gd name="connsiteY7" fmla="*/ 1000724 h 1000724"/>
                <a:gd name="connsiteX0" fmla="*/ 92389 w 1334672"/>
                <a:gd name="connsiteY0" fmla="*/ 513498 h 966866"/>
                <a:gd name="connsiteX1" fmla="*/ 275403 w 1334672"/>
                <a:gd name="connsiteY1" fmla="*/ 306209 h 966866"/>
                <a:gd name="connsiteX2" fmla="*/ 9332 w 1334672"/>
                <a:gd name="connsiteY2" fmla="*/ 294360 h 966866"/>
                <a:gd name="connsiteX3" fmla="*/ 621677 w 1334672"/>
                <a:gd name="connsiteY3" fmla="*/ 17139 h 966866"/>
                <a:gd name="connsiteX4" fmla="*/ 546597 w 1334672"/>
                <a:gd name="connsiteY4" fmla="*/ 179667 h 966866"/>
                <a:gd name="connsiteX5" fmla="*/ 935400 w 1334672"/>
                <a:gd name="connsiteY5" fmla="*/ 152450 h 966866"/>
                <a:gd name="connsiteX6" fmla="*/ 1334672 w 1334672"/>
                <a:gd name="connsiteY6" fmla="*/ 604887 h 966866"/>
                <a:gd name="connsiteX7" fmla="*/ 513791 w 1334672"/>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74679"/>
                <a:gd name="connsiteX1" fmla="*/ 275403 w 1280806"/>
                <a:gd name="connsiteY1" fmla="*/ 306209 h 974679"/>
                <a:gd name="connsiteX2" fmla="*/ 9332 w 1280806"/>
                <a:gd name="connsiteY2" fmla="*/ 294360 h 974679"/>
                <a:gd name="connsiteX3" fmla="*/ 621677 w 1280806"/>
                <a:gd name="connsiteY3" fmla="*/ 17139 h 974679"/>
                <a:gd name="connsiteX4" fmla="*/ 546597 w 1280806"/>
                <a:gd name="connsiteY4" fmla="*/ 179667 h 974679"/>
                <a:gd name="connsiteX5" fmla="*/ 935400 w 1280806"/>
                <a:gd name="connsiteY5" fmla="*/ 152450 h 974679"/>
                <a:gd name="connsiteX6" fmla="*/ 1280806 w 1280806"/>
                <a:gd name="connsiteY6" fmla="*/ 547589 h 974679"/>
                <a:gd name="connsiteX7" fmla="*/ 507806 w 1280806"/>
                <a:gd name="connsiteY7" fmla="*/ 974679 h 974679"/>
                <a:gd name="connsiteX0" fmla="*/ 92389 w 1280806"/>
                <a:gd name="connsiteY0" fmla="*/ 513498 h 972075"/>
                <a:gd name="connsiteX1" fmla="*/ 275403 w 1280806"/>
                <a:gd name="connsiteY1" fmla="*/ 306209 h 972075"/>
                <a:gd name="connsiteX2" fmla="*/ 9332 w 1280806"/>
                <a:gd name="connsiteY2" fmla="*/ 294360 h 972075"/>
                <a:gd name="connsiteX3" fmla="*/ 621677 w 1280806"/>
                <a:gd name="connsiteY3" fmla="*/ 17139 h 972075"/>
                <a:gd name="connsiteX4" fmla="*/ 546597 w 1280806"/>
                <a:gd name="connsiteY4" fmla="*/ 179667 h 972075"/>
                <a:gd name="connsiteX5" fmla="*/ 935400 w 1280806"/>
                <a:gd name="connsiteY5" fmla="*/ 152450 h 972075"/>
                <a:gd name="connsiteX6" fmla="*/ 1280806 w 1280806"/>
                <a:gd name="connsiteY6" fmla="*/ 547589 h 972075"/>
                <a:gd name="connsiteX7" fmla="*/ 513791 w 1280806"/>
                <a:gd name="connsiteY7" fmla="*/ 972075 h 972075"/>
                <a:gd name="connsiteX0" fmla="*/ 92389 w 1280806"/>
                <a:gd name="connsiteY0" fmla="*/ 513498 h 972075"/>
                <a:gd name="connsiteX1" fmla="*/ 275403 w 1280806"/>
                <a:gd name="connsiteY1" fmla="*/ 306209 h 972075"/>
                <a:gd name="connsiteX2" fmla="*/ 9332 w 1280806"/>
                <a:gd name="connsiteY2" fmla="*/ 294360 h 972075"/>
                <a:gd name="connsiteX3" fmla="*/ 621677 w 1280806"/>
                <a:gd name="connsiteY3" fmla="*/ 17139 h 972075"/>
                <a:gd name="connsiteX4" fmla="*/ 546597 w 1280806"/>
                <a:gd name="connsiteY4" fmla="*/ 179667 h 972075"/>
                <a:gd name="connsiteX5" fmla="*/ 969944 w 1280806"/>
                <a:gd name="connsiteY5" fmla="*/ 197547 h 972075"/>
                <a:gd name="connsiteX6" fmla="*/ 1280806 w 1280806"/>
                <a:gd name="connsiteY6" fmla="*/ 547589 h 972075"/>
                <a:gd name="connsiteX7" fmla="*/ 513791 w 1280806"/>
                <a:gd name="connsiteY7" fmla="*/ 972075 h 972075"/>
                <a:gd name="connsiteX0" fmla="*/ 89028 w 1277445"/>
                <a:gd name="connsiteY0" fmla="*/ 511353 h 969930"/>
                <a:gd name="connsiteX1" fmla="*/ 316950 w 1277445"/>
                <a:gd name="connsiteY1" fmla="*/ 352169 h 969930"/>
                <a:gd name="connsiteX2" fmla="*/ 5971 w 1277445"/>
                <a:gd name="connsiteY2" fmla="*/ 292215 h 969930"/>
                <a:gd name="connsiteX3" fmla="*/ 618316 w 1277445"/>
                <a:gd name="connsiteY3" fmla="*/ 14994 h 969930"/>
                <a:gd name="connsiteX4" fmla="*/ 543236 w 1277445"/>
                <a:gd name="connsiteY4" fmla="*/ 177522 h 969930"/>
                <a:gd name="connsiteX5" fmla="*/ 966583 w 1277445"/>
                <a:gd name="connsiteY5" fmla="*/ 195402 h 969930"/>
                <a:gd name="connsiteX6" fmla="*/ 1277445 w 1277445"/>
                <a:gd name="connsiteY6" fmla="*/ 545444 h 969930"/>
                <a:gd name="connsiteX7" fmla="*/ 510430 w 1277445"/>
                <a:gd name="connsiteY7" fmla="*/ 969930 h 969930"/>
                <a:gd name="connsiteX0" fmla="*/ 23217 w 1211634"/>
                <a:gd name="connsiteY0" fmla="*/ 500174 h 958751"/>
                <a:gd name="connsiteX1" fmla="*/ 251139 w 1211634"/>
                <a:gd name="connsiteY1" fmla="*/ 340990 h 958751"/>
                <a:gd name="connsiteX2" fmla="*/ 5796 w 1211634"/>
                <a:gd name="connsiteY2" fmla="*/ 350186 h 958751"/>
                <a:gd name="connsiteX3" fmla="*/ 552505 w 1211634"/>
                <a:gd name="connsiteY3" fmla="*/ 3815 h 958751"/>
                <a:gd name="connsiteX4" fmla="*/ 477425 w 1211634"/>
                <a:gd name="connsiteY4" fmla="*/ 166343 h 958751"/>
                <a:gd name="connsiteX5" fmla="*/ 900772 w 1211634"/>
                <a:gd name="connsiteY5" fmla="*/ 184223 h 958751"/>
                <a:gd name="connsiteX6" fmla="*/ 1211634 w 1211634"/>
                <a:gd name="connsiteY6" fmla="*/ 534265 h 958751"/>
                <a:gd name="connsiteX7" fmla="*/ 444619 w 1211634"/>
                <a:gd name="connsiteY7" fmla="*/ 958751 h 958751"/>
                <a:gd name="connsiteX0" fmla="*/ 23217 w 1211634"/>
                <a:gd name="connsiteY0" fmla="*/ 498751 h 957328"/>
                <a:gd name="connsiteX1" fmla="*/ 251139 w 1211634"/>
                <a:gd name="connsiteY1" fmla="*/ 339567 h 957328"/>
                <a:gd name="connsiteX2" fmla="*/ 5796 w 1211634"/>
                <a:gd name="connsiteY2" fmla="*/ 348763 h 957328"/>
                <a:gd name="connsiteX3" fmla="*/ 552505 w 1211634"/>
                <a:gd name="connsiteY3" fmla="*/ 2392 h 957328"/>
                <a:gd name="connsiteX4" fmla="*/ 581060 w 1211634"/>
                <a:gd name="connsiteY4" fmla="*/ 194985 h 957328"/>
                <a:gd name="connsiteX5" fmla="*/ 900772 w 1211634"/>
                <a:gd name="connsiteY5" fmla="*/ 182800 h 957328"/>
                <a:gd name="connsiteX6" fmla="*/ 1211634 w 1211634"/>
                <a:gd name="connsiteY6" fmla="*/ 532842 h 957328"/>
                <a:gd name="connsiteX7" fmla="*/ 444619 w 1211634"/>
                <a:gd name="connsiteY7" fmla="*/ 957328 h 957328"/>
                <a:gd name="connsiteX0" fmla="*/ 26760 w 1215177"/>
                <a:gd name="connsiteY0" fmla="*/ 427582 h 886159"/>
                <a:gd name="connsiteX1" fmla="*/ 254682 w 1215177"/>
                <a:gd name="connsiteY1" fmla="*/ 268398 h 886159"/>
                <a:gd name="connsiteX2" fmla="*/ 9339 w 1215177"/>
                <a:gd name="connsiteY2" fmla="*/ 277594 h 886159"/>
                <a:gd name="connsiteX3" fmla="*/ 652773 w 1215177"/>
                <a:gd name="connsiteY3" fmla="*/ 3379 h 886159"/>
                <a:gd name="connsiteX4" fmla="*/ 584603 w 1215177"/>
                <a:gd name="connsiteY4" fmla="*/ 123816 h 886159"/>
                <a:gd name="connsiteX5" fmla="*/ 904315 w 1215177"/>
                <a:gd name="connsiteY5" fmla="*/ 111631 h 886159"/>
                <a:gd name="connsiteX6" fmla="*/ 1215177 w 1215177"/>
                <a:gd name="connsiteY6" fmla="*/ 461673 h 886159"/>
                <a:gd name="connsiteX7" fmla="*/ 448162 w 1215177"/>
                <a:gd name="connsiteY7" fmla="*/ 886159 h 886159"/>
                <a:gd name="connsiteX0" fmla="*/ 50436 w 1238853"/>
                <a:gd name="connsiteY0" fmla="*/ 426331 h 884908"/>
                <a:gd name="connsiteX1" fmla="*/ 278358 w 1238853"/>
                <a:gd name="connsiteY1" fmla="*/ 267147 h 884908"/>
                <a:gd name="connsiteX2" fmla="*/ 8833 w 1238853"/>
                <a:gd name="connsiteY2" fmla="*/ 240265 h 884908"/>
                <a:gd name="connsiteX3" fmla="*/ 676449 w 1238853"/>
                <a:gd name="connsiteY3" fmla="*/ 2128 h 884908"/>
                <a:gd name="connsiteX4" fmla="*/ 608279 w 1238853"/>
                <a:gd name="connsiteY4" fmla="*/ 122565 h 884908"/>
                <a:gd name="connsiteX5" fmla="*/ 927991 w 1238853"/>
                <a:gd name="connsiteY5" fmla="*/ 110380 h 884908"/>
                <a:gd name="connsiteX6" fmla="*/ 1238853 w 1238853"/>
                <a:gd name="connsiteY6" fmla="*/ 460422 h 884908"/>
                <a:gd name="connsiteX7" fmla="*/ 471838 w 1238853"/>
                <a:gd name="connsiteY7" fmla="*/ 884908 h 884908"/>
                <a:gd name="connsiteX0" fmla="*/ 41652 w 1230069"/>
                <a:gd name="connsiteY0" fmla="*/ 426331 h 884908"/>
                <a:gd name="connsiteX1" fmla="*/ 269574 w 1230069"/>
                <a:gd name="connsiteY1" fmla="*/ 267147 h 884908"/>
                <a:gd name="connsiteX2" fmla="*/ 49 w 1230069"/>
                <a:gd name="connsiteY2" fmla="*/ 240265 h 884908"/>
                <a:gd name="connsiteX3" fmla="*/ 667665 w 1230069"/>
                <a:gd name="connsiteY3" fmla="*/ 2128 h 884908"/>
                <a:gd name="connsiteX4" fmla="*/ 599495 w 1230069"/>
                <a:gd name="connsiteY4" fmla="*/ 122565 h 884908"/>
                <a:gd name="connsiteX5" fmla="*/ 919207 w 1230069"/>
                <a:gd name="connsiteY5" fmla="*/ 110380 h 884908"/>
                <a:gd name="connsiteX6" fmla="*/ 1230069 w 1230069"/>
                <a:gd name="connsiteY6" fmla="*/ 460422 h 884908"/>
                <a:gd name="connsiteX7" fmla="*/ 463054 w 1230069"/>
                <a:gd name="connsiteY7" fmla="*/ 884908 h 884908"/>
                <a:gd name="connsiteX0" fmla="*/ 24382 w 1212799"/>
                <a:gd name="connsiteY0" fmla="*/ 427359 h 885936"/>
                <a:gd name="connsiteX1" fmla="*/ 252304 w 1212799"/>
                <a:gd name="connsiteY1" fmla="*/ 268175 h 885936"/>
                <a:gd name="connsiteX2" fmla="*/ 52 w 1212799"/>
                <a:gd name="connsiteY2" fmla="*/ 271357 h 885936"/>
                <a:gd name="connsiteX3" fmla="*/ 650395 w 1212799"/>
                <a:gd name="connsiteY3" fmla="*/ 3156 h 885936"/>
                <a:gd name="connsiteX4" fmla="*/ 582225 w 1212799"/>
                <a:gd name="connsiteY4" fmla="*/ 123593 h 885936"/>
                <a:gd name="connsiteX5" fmla="*/ 901937 w 1212799"/>
                <a:gd name="connsiteY5" fmla="*/ 111408 h 885936"/>
                <a:gd name="connsiteX6" fmla="*/ 1212799 w 1212799"/>
                <a:gd name="connsiteY6" fmla="*/ 461450 h 885936"/>
                <a:gd name="connsiteX7" fmla="*/ 445784 w 1212799"/>
                <a:gd name="connsiteY7" fmla="*/ 885936 h 885936"/>
                <a:gd name="connsiteX0" fmla="*/ 24382 w 1212799"/>
                <a:gd name="connsiteY0" fmla="*/ 427359 h 885936"/>
                <a:gd name="connsiteX1" fmla="*/ 252304 w 1212799"/>
                <a:gd name="connsiteY1" fmla="*/ 268175 h 885936"/>
                <a:gd name="connsiteX2" fmla="*/ 52 w 1212799"/>
                <a:gd name="connsiteY2" fmla="*/ 271357 h 885936"/>
                <a:gd name="connsiteX3" fmla="*/ 650395 w 1212799"/>
                <a:gd name="connsiteY3" fmla="*/ 3156 h 885936"/>
                <a:gd name="connsiteX4" fmla="*/ 582225 w 1212799"/>
                <a:gd name="connsiteY4" fmla="*/ 123593 h 885936"/>
                <a:gd name="connsiteX5" fmla="*/ 901937 w 1212799"/>
                <a:gd name="connsiteY5" fmla="*/ 111408 h 885936"/>
                <a:gd name="connsiteX6" fmla="*/ 1212799 w 1212799"/>
                <a:gd name="connsiteY6" fmla="*/ 461450 h 885936"/>
                <a:gd name="connsiteX7" fmla="*/ 445784 w 1212799"/>
                <a:gd name="connsiteY7" fmla="*/ 885936 h 885936"/>
                <a:gd name="connsiteX0" fmla="*/ 24382 w 1212799"/>
                <a:gd name="connsiteY0" fmla="*/ 425330 h 883907"/>
                <a:gd name="connsiteX1" fmla="*/ 252304 w 1212799"/>
                <a:gd name="connsiteY1" fmla="*/ 266146 h 883907"/>
                <a:gd name="connsiteX2" fmla="*/ 52 w 1212799"/>
                <a:gd name="connsiteY2" fmla="*/ 269328 h 883907"/>
                <a:gd name="connsiteX3" fmla="*/ 650395 w 1212799"/>
                <a:gd name="connsiteY3" fmla="*/ 1127 h 883907"/>
                <a:gd name="connsiteX4" fmla="*/ 582225 w 1212799"/>
                <a:gd name="connsiteY4" fmla="*/ 121564 h 883907"/>
                <a:gd name="connsiteX5" fmla="*/ 901937 w 1212799"/>
                <a:gd name="connsiteY5" fmla="*/ 109379 h 883907"/>
                <a:gd name="connsiteX6" fmla="*/ 1212799 w 1212799"/>
                <a:gd name="connsiteY6" fmla="*/ 459421 h 883907"/>
                <a:gd name="connsiteX7" fmla="*/ 445784 w 1212799"/>
                <a:gd name="connsiteY7" fmla="*/ 883907 h 883907"/>
                <a:gd name="connsiteX0" fmla="*/ 24382 w 1212799"/>
                <a:gd name="connsiteY0" fmla="*/ 425836 h 884413"/>
                <a:gd name="connsiteX1" fmla="*/ 252304 w 1212799"/>
                <a:gd name="connsiteY1" fmla="*/ 266652 h 884413"/>
                <a:gd name="connsiteX2" fmla="*/ 52 w 1212799"/>
                <a:gd name="connsiteY2" fmla="*/ 269834 h 884413"/>
                <a:gd name="connsiteX3" fmla="*/ 650395 w 1212799"/>
                <a:gd name="connsiteY3" fmla="*/ 1633 h 884413"/>
                <a:gd name="connsiteX4" fmla="*/ 596042 w 1212799"/>
                <a:gd name="connsiteY4" fmla="*/ 155142 h 884413"/>
                <a:gd name="connsiteX5" fmla="*/ 901937 w 1212799"/>
                <a:gd name="connsiteY5" fmla="*/ 109885 h 884413"/>
                <a:gd name="connsiteX6" fmla="*/ 1212799 w 1212799"/>
                <a:gd name="connsiteY6" fmla="*/ 459927 h 884413"/>
                <a:gd name="connsiteX7" fmla="*/ 445784 w 1212799"/>
                <a:gd name="connsiteY7" fmla="*/ 884413 h 884413"/>
                <a:gd name="connsiteX0" fmla="*/ 24382 w 1212799"/>
                <a:gd name="connsiteY0" fmla="*/ 426194 h 884771"/>
                <a:gd name="connsiteX1" fmla="*/ 252304 w 1212799"/>
                <a:gd name="connsiteY1" fmla="*/ 267010 h 884771"/>
                <a:gd name="connsiteX2" fmla="*/ 52 w 1212799"/>
                <a:gd name="connsiteY2" fmla="*/ 270192 h 884771"/>
                <a:gd name="connsiteX3" fmla="*/ 650395 w 1212799"/>
                <a:gd name="connsiteY3" fmla="*/ 1991 h 884771"/>
                <a:gd name="connsiteX4" fmla="*/ 596042 w 1212799"/>
                <a:gd name="connsiteY4" fmla="*/ 155500 h 884771"/>
                <a:gd name="connsiteX5" fmla="*/ 901937 w 1212799"/>
                <a:gd name="connsiteY5" fmla="*/ 110243 h 884771"/>
                <a:gd name="connsiteX6" fmla="*/ 1212799 w 1212799"/>
                <a:gd name="connsiteY6" fmla="*/ 460285 h 884771"/>
                <a:gd name="connsiteX7" fmla="*/ 445784 w 1212799"/>
                <a:gd name="connsiteY7" fmla="*/ 884771 h 884771"/>
                <a:gd name="connsiteX0" fmla="*/ 34478 w 1222895"/>
                <a:gd name="connsiteY0" fmla="*/ 399038 h 857615"/>
                <a:gd name="connsiteX1" fmla="*/ 262400 w 1222895"/>
                <a:gd name="connsiteY1" fmla="*/ 239854 h 857615"/>
                <a:gd name="connsiteX2" fmla="*/ 10148 w 1222895"/>
                <a:gd name="connsiteY2" fmla="*/ 243036 h 857615"/>
                <a:gd name="connsiteX3" fmla="*/ 684672 w 1222895"/>
                <a:gd name="connsiteY3" fmla="*/ 1893 h 857615"/>
                <a:gd name="connsiteX4" fmla="*/ 606138 w 1222895"/>
                <a:gd name="connsiteY4" fmla="*/ 128344 h 857615"/>
                <a:gd name="connsiteX5" fmla="*/ 912033 w 1222895"/>
                <a:gd name="connsiteY5" fmla="*/ 83087 h 857615"/>
                <a:gd name="connsiteX6" fmla="*/ 1222895 w 1222895"/>
                <a:gd name="connsiteY6" fmla="*/ 433129 h 857615"/>
                <a:gd name="connsiteX7" fmla="*/ 455880 w 1222895"/>
                <a:gd name="connsiteY7" fmla="*/ 857615 h 857615"/>
                <a:gd name="connsiteX0" fmla="*/ 25670 w 1214087"/>
                <a:gd name="connsiteY0" fmla="*/ 399239 h 857816"/>
                <a:gd name="connsiteX1" fmla="*/ 253592 w 1214087"/>
                <a:gd name="connsiteY1" fmla="*/ 240055 h 857816"/>
                <a:gd name="connsiteX2" fmla="*/ 1340 w 1214087"/>
                <a:gd name="connsiteY2" fmla="*/ 243237 h 857816"/>
                <a:gd name="connsiteX3" fmla="*/ 675864 w 1214087"/>
                <a:gd name="connsiteY3" fmla="*/ 2094 h 857816"/>
                <a:gd name="connsiteX4" fmla="*/ 597330 w 1214087"/>
                <a:gd name="connsiteY4" fmla="*/ 128545 h 857816"/>
                <a:gd name="connsiteX5" fmla="*/ 903225 w 1214087"/>
                <a:gd name="connsiteY5" fmla="*/ 83288 h 857816"/>
                <a:gd name="connsiteX6" fmla="*/ 1214087 w 1214087"/>
                <a:gd name="connsiteY6" fmla="*/ 433330 h 857816"/>
                <a:gd name="connsiteX7" fmla="*/ 447072 w 1214087"/>
                <a:gd name="connsiteY7" fmla="*/ 857816 h 857816"/>
                <a:gd name="connsiteX0" fmla="*/ 29109 w 1217526"/>
                <a:gd name="connsiteY0" fmla="*/ 398614 h 857191"/>
                <a:gd name="connsiteX1" fmla="*/ 257031 w 1217526"/>
                <a:gd name="connsiteY1" fmla="*/ 239430 h 857191"/>
                <a:gd name="connsiteX2" fmla="*/ 1325 w 1217526"/>
                <a:gd name="connsiteY2" fmla="*/ 227580 h 857191"/>
                <a:gd name="connsiteX3" fmla="*/ 679303 w 1217526"/>
                <a:gd name="connsiteY3" fmla="*/ 1469 h 857191"/>
                <a:gd name="connsiteX4" fmla="*/ 600769 w 1217526"/>
                <a:gd name="connsiteY4" fmla="*/ 127920 h 857191"/>
                <a:gd name="connsiteX5" fmla="*/ 906664 w 1217526"/>
                <a:gd name="connsiteY5" fmla="*/ 82663 h 857191"/>
                <a:gd name="connsiteX6" fmla="*/ 1217526 w 1217526"/>
                <a:gd name="connsiteY6" fmla="*/ 432705 h 857191"/>
                <a:gd name="connsiteX7" fmla="*/ 450511 w 1217526"/>
                <a:gd name="connsiteY7" fmla="*/ 857191 h 857191"/>
                <a:gd name="connsiteX0" fmla="*/ 29109 w 1217526"/>
                <a:gd name="connsiteY0" fmla="*/ 398734 h 857311"/>
                <a:gd name="connsiteX1" fmla="*/ 257031 w 1217526"/>
                <a:gd name="connsiteY1" fmla="*/ 239550 h 857311"/>
                <a:gd name="connsiteX2" fmla="*/ 1325 w 1217526"/>
                <a:gd name="connsiteY2" fmla="*/ 227700 h 857311"/>
                <a:gd name="connsiteX3" fmla="*/ 679303 w 1217526"/>
                <a:gd name="connsiteY3" fmla="*/ 1589 h 857311"/>
                <a:gd name="connsiteX4" fmla="*/ 600769 w 1217526"/>
                <a:gd name="connsiteY4" fmla="*/ 128040 h 857311"/>
                <a:gd name="connsiteX5" fmla="*/ 906664 w 1217526"/>
                <a:gd name="connsiteY5" fmla="*/ 82783 h 857311"/>
                <a:gd name="connsiteX6" fmla="*/ 1217526 w 1217526"/>
                <a:gd name="connsiteY6" fmla="*/ 432825 h 857311"/>
                <a:gd name="connsiteX7" fmla="*/ 450511 w 1217526"/>
                <a:gd name="connsiteY7" fmla="*/ 857311 h 85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7526" h="857311">
                  <a:moveTo>
                    <a:pt x="29109" y="398734"/>
                  </a:moveTo>
                  <a:cubicBezTo>
                    <a:pt x="206864" y="299439"/>
                    <a:pt x="261662" y="268056"/>
                    <a:pt x="257031" y="239550"/>
                  </a:cubicBezTo>
                  <a:cubicBezTo>
                    <a:pt x="252400" y="211044"/>
                    <a:pt x="-21271" y="305260"/>
                    <a:pt x="1325" y="227700"/>
                  </a:cubicBezTo>
                  <a:cubicBezTo>
                    <a:pt x="19887" y="163988"/>
                    <a:pt x="579396" y="18199"/>
                    <a:pt x="679303" y="1589"/>
                  </a:cubicBezTo>
                  <a:cubicBezTo>
                    <a:pt x="779210" y="-15021"/>
                    <a:pt x="568915" y="103456"/>
                    <a:pt x="600769" y="128040"/>
                  </a:cubicBezTo>
                  <a:cubicBezTo>
                    <a:pt x="645572" y="162618"/>
                    <a:pt x="830830" y="102627"/>
                    <a:pt x="906664" y="82783"/>
                  </a:cubicBezTo>
                  <a:cubicBezTo>
                    <a:pt x="1050161" y="252608"/>
                    <a:pt x="1021244" y="216349"/>
                    <a:pt x="1217526" y="432825"/>
                  </a:cubicBezTo>
                  <a:cubicBezTo>
                    <a:pt x="858555" y="600516"/>
                    <a:pt x="608074" y="760353"/>
                    <a:pt x="450511" y="857311"/>
                  </a:cubicBezTo>
                </a:path>
              </a:pathLst>
            </a:custGeom>
            <a:solidFill>
              <a:srgbClr val="8CC3D2">
                <a:alpha val="54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30" name="Freihandform 29"/>
            <p:cNvSpPr/>
            <p:nvPr/>
          </p:nvSpPr>
          <p:spPr bwMode="auto">
            <a:xfrm>
              <a:off x="8597843" y="2498353"/>
              <a:ext cx="782775" cy="641187"/>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3623481 w 5964568"/>
                <a:gd name="connsiteY8" fmla="*/ 395239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3623481 w 5964568"/>
                <a:gd name="connsiteY7" fmla="*/ 395239 h 3227537"/>
                <a:gd name="connsiteX8" fmla="*/ 4344358 w 5964568"/>
                <a:gd name="connsiteY8" fmla="*/ 194615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3623481 w 5964568"/>
                <a:gd name="connsiteY6" fmla="*/ 395239 h 3227537"/>
                <a:gd name="connsiteX7" fmla="*/ 4344358 w 5964568"/>
                <a:gd name="connsiteY7" fmla="*/ 194615 h 3227537"/>
                <a:gd name="connsiteX8" fmla="*/ 4198661 w 5964568"/>
                <a:gd name="connsiteY8" fmla="*/ 170771 h 3227537"/>
                <a:gd name="connsiteX9" fmla="*/ 4788590 w 5964568"/>
                <a:gd name="connsiteY9" fmla="*/ 54418 h 3227537"/>
                <a:gd name="connsiteX10" fmla="*/ 5066181 w 5964568"/>
                <a:gd name="connsiteY10" fmla="*/ 95353 h 3227537"/>
                <a:gd name="connsiteX11" fmla="*/ 5478894 w 5964568"/>
                <a:gd name="connsiteY11" fmla="*/ 3603 h 3227537"/>
                <a:gd name="connsiteX12" fmla="*/ 5964568 w 5964568"/>
                <a:gd name="connsiteY12" fmla="*/ 324196 h 3227537"/>
                <a:gd name="connsiteX13" fmla="*/ 1736389 w 5964568"/>
                <a:gd name="connsiteY13" fmla="*/ 3227537 h 3227537"/>
                <a:gd name="connsiteX14" fmla="*/ 212611 w 5964568"/>
                <a:gd name="connsiteY14"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3623481 w 5964568"/>
                <a:gd name="connsiteY5" fmla="*/ 395239 h 3227537"/>
                <a:gd name="connsiteX6" fmla="*/ 4344358 w 5964568"/>
                <a:gd name="connsiteY6" fmla="*/ 194615 h 3227537"/>
                <a:gd name="connsiteX7" fmla="*/ 4198661 w 5964568"/>
                <a:gd name="connsiteY7" fmla="*/ 170771 h 3227537"/>
                <a:gd name="connsiteX8" fmla="*/ 4788590 w 5964568"/>
                <a:gd name="connsiteY8" fmla="*/ 54418 h 3227537"/>
                <a:gd name="connsiteX9" fmla="*/ 5066181 w 5964568"/>
                <a:gd name="connsiteY9" fmla="*/ 95353 h 3227537"/>
                <a:gd name="connsiteX10" fmla="*/ 5478894 w 5964568"/>
                <a:gd name="connsiteY10" fmla="*/ 3603 h 3227537"/>
                <a:gd name="connsiteX11" fmla="*/ 5964568 w 5964568"/>
                <a:gd name="connsiteY11" fmla="*/ 324196 h 3227537"/>
                <a:gd name="connsiteX12" fmla="*/ 1736389 w 5964568"/>
                <a:gd name="connsiteY12" fmla="*/ 3227537 h 3227537"/>
                <a:gd name="connsiteX13" fmla="*/ 212611 w 5964568"/>
                <a:gd name="connsiteY1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23481 w 5964568"/>
                <a:gd name="connsiteY4" fmla="*/ 395239 h 3227537"/>
                <a:gd name="connsiteX5" fmla="*/ 4344358 w 5964568"/>
                <a:gd name="connsiteY5" fmla="*/ 194615 h 3227537"/>
                <a:gd name="connsiteX6" fmla="*/ 4198661 w 5964568"/>
                <a:gd name="connsiteY6" fmla="*/ 170771 h 3227537"/>
                <a:gd name="connsiteX7" fmla="*/ 4788590 w 5964568"/>
                <a:gd name="connsiteY7" fmla="*/ 54418 h 3227537"/>
                <a:gd name="connsiteX8" fmla="*/ 5066181 w 5964568"/>
                <a:gd name="connsiteY8" fmla="*/ 95353 h 3227537"/>
                <a:gd name="connsiteX9" fmla="*/ 5478894 w 5964568"/>
                <a:gd name="connsiteY9" fmla="*/ 3603 h 3227537"/>
                <a:gd name="connsiteX10" fmla="*/ 5964568 w 5964568"/>
                <a:gd name="connsiteY10" fmla="*/ 324196 h 3227537"/>
                <a:gd name="connsiteX11" fmla="*/ 1736389 w 5964568"/>
                <a:gd name="connsiteY11" fmla="*/ 3227537 h 3227537"/>
                <a:gd name="connsiteX12" fmla="*/ 212611 w 5964568"/>
                <a:gd name="connsiteY1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3623481 w 5964568"/>
                <a:gd name="connsiteY3" fmla="*/ 395239 h 3227537"/>
                <a:gd name="connsiteX4" fmla="*/ 4344358 w 5964568"/>
                <a:gd name="connsiteY4" fmla="*/ 194615 h 3227537"/>
                <a:gd name="connsiteX5" fmla="*/ 4198661 w 5964568"/>
                <a:gd name="connsiteY5" fmla="*/ 170771 h 3227537"/>
                <a:gd name="connsiteX6" fmla="*/ 4788590 w 5964568"/>
                <a:gd name="connsiteY6" fmla="*/ 54418 h 3227537"/>
                <a:gd name="connsiteX7" fmla="*/ 5066181 w 5964568"/>
                <a:gd name="connsiteY7" fmla="*/ 95353 h 3227537"/>
                <a:gd name="connsiteX8" fmla="*/ 5478894 w 5964568"/>
                <a:gd name="connsiteY8" fmla="*/ 3603 h 3227537"/>
                <a:gd name="connsiteX9" fmla="*/ 5964568 w 5964568"/>
                <a:gd name="connsiteY9" fmla="*/ 324196 h 3227537"/>
                <a:gd name="connsiteX10" fmla="*/ 1736389 w 5964568"/>
                <a:gd name="connsiteY10" fmla="*/ 3227537 h 3227537"/>
                <a:gd name="connsiteX11" fmla="*/ 212611 w 5964568"/>
                <a:gd name="connsiteY11" fmla="*/ 2873847 h 3227537"/>
                <a:gd name="connsiteX0" fmla="*/ 234797 w 5986754"/>
                <a:gd name="connsiteY0" fmla="*/ 2873847 h 3227537"/>
                <a:gd name="connsiteX1" fmla="*/ 182684 w 5986754"/>
                <a:gd name="connsiteY1" fmla="*/ 2672237 h 3227537"/>
                <a:gd name="connsiteX2" fmla="*/ 3645667 w 5986754"/>
                <a:gd name="connsiteY2" fmla="*/ 395239 h 3227537"/>
                <a:gd name="connsiteX3" fmla="*/ 4366544 w 5986754"/>
                <a:gd name="connsiteY3" fmla="*/ 194615 h 3227537"/>
                <a:gd name="connsiteX4" fmla="*/ 4220847 w 5986754"/>
                <a:gd name="connsiteY4" fmla="*/ 170771 h 3227537"/>
                <a:gd name="connsiteX5" fmla="*/ 4810776 w 5986754"/>
                <a:gd name="connsiteY5" fmla="*/ 54418 h 3227537"/>
                <a:gd name="connsiteX6" fmla="*/ 5088367 w 5986754"/>
                <a:gd name="connsiteY6" fmla="*/ 95353 h 3227537"/>
                <a:gd name="connsiteX7" fmla="*/ 5501080 w 5986754"/>
                <a:gd name="connsiteY7" fmla="*/ 3603 h 3227537"/>
                <a:gd name="connsiteX8" fmla="*/ 5986754 w 5986754"/>
                <a:gd name="connsiteY8" fmla="*/ 324196 h 3227537"/>
                <a:gd name="connsiteX9" fmla="*/ 1758575 w 5986754"/>
                <a:gd name="connsiteY9" fmla="*/ 3227537 h 3227537"/>
                <a:gd name="connsiteX10" fmla="*/ 234797 w 5986754"/>
                <a:gd name="connsiteY10" fmla="*/ 2873847 h 3227537"/>
                <a:gd name="connsiteX0" fmla="*/ 0 w 5751957"/>
                <a:gd name="connsiteY0" fmla="*/ 2873847 h 3227537"/>
                <a:gd name="connsiteX1" fmla="*/ 3410870 w 5751957"/>
                <a:gd name="connsiteY1" fmla="*/ 395239 h 3227537"/>
                <a:gd name="connsiteX2" fmla="*/ 4131747 w 5751957"/>
                <a:gd name="connsiteY2" fmla="*/ 194615 h 3227537"/>
                <a:gd name="connsiteX3" fmla="*/ 3986050 w 5751957"/>
                <a:gd name="connsiteY3" fmla="*/ 170771 h 3227537"/>
                <a:gd name="connsiteX4" fmla="*/ 4575979 w 5751957"/>
                <a:gd name="connsiteY4" fmla="*/ 54418 h 3227537"/>
                <a:gd name="connsiteX5" fmla="*/ 4853570 w 5751957"/>
                <a:gd name="connsiteY5" fmla="*/ 95353 h 3227537"/>
                <a:gd name="connsiteX6" fmla="*/ 5266283 w 5751957"/>
                <a:gd name="connsiteY6" fmla="*/ 3603 h 3227537"/>
                <a:gd name="connsiteX7" fmla="*/ 5751957 w 5751957"/>
                <a:gd name="connsiteY7" fmla="*/ 324196 h 3227537"/>
                <a:gd name="connsiteX8" fmla="*/ 1523778 w 5751957"/>
                <a:gd name="connsiteY8" fmla="*/ 3227537 h 3227537"/>
                <a:gd name="connsiteX9" fmla="*/ 0 w 5751957"/>
                <a:gd name="connsiteY9" fmla="*/ 2873847 h 3227537"/>
                <a:gd name="connsiteX0" fmla="*/ 0 w 4228179"/>
                <a:gd name="connsiteY0" fmla="*/ 3227537 h 3227537"/>
                <a:gd name="connsiteX1" fmla="*/ 1887092 w 4228179"/>
                <a:gd name="connsiteY1" fmla="*/ 395239 h 3227537"/>
                <a:gd name="connsiteX2" fmla="*/ 2607969 w 4228179"/>
                <a:gd name="connsiteY2" fmla="*/ 194615 h 3227537"/>
                <a:gd name="connsiteX3" fmla="*/ 2462272 w 4228179"/>
                <a:gd name="connsiteY3" fmla="*/ 170771 h 3227537"/>
                <a:gd name="connsiteX4" fmla="*/ 3052201 w 4228179"/>
                <a:gd name="connsiteY4" fmla="*/ 54418 h 3227537"/>
                <a:gd name="connsiteX5" fmla="*/ 3329792 w 4228179"/>
                <a:gd name="connsiteY5" fmla="*/ 95353 h 3227537"/>
                <a:gd name="connsiteX6" fmla="*/ 3742505 w 4228179"/>
                <a:gd name="connsiteY6" fmla="*/ 3603 h 3227537"/>
                <a:gd name="connsiteX7" fmla="*/ 4228179 w 4228179"/>
                <a:gd name="connsiteY7" fmla="*/ 324196 h 3227537"/>
                <a:gd name="connsiteX8" fmla="*/ 0 w 4228179"/>
                <a:gd name="connsiteY8" fmla="*/ 3227537 h 3227537"/>
                <a:gd name="connsiteX0" fmla="*/ 0 w 2670487"/>
                <a:gd name="connsiteY0" fmla="*/ 1789322 h 1789322"/>
                <a:gd name="connsiteX1" fmla="*/ 329400 w 2670487"/>
                <a:gd name="connsiteY1" fmla="*/ 395239 h 1789322"/>
                <a:gd name="connsiteX2" fmla="*/ 1050277 w 2670487"/>
                <a:gd name="connsiteY2" fmla="*/ 194615 h 1789322"/>
                <a:gd name="connsiteX3" fmla="*/ 904580 w 2670487"/>
                <a:gd name="connsiteY3" fmla="*/ 170771 h 1789322"/>
                <a:gd name="connsiteX4" fmla="*/ 1494509 w 2670487"/>
                <a:gd name="connsiteY4" fmla="*/ 54418 h 1789322"/>
                <a:gd name="connsiteX5" fmla="*/ 1772100 w 2670487"/>
                <a:gd name="connsiteY5" fmla="*/ 95353 h 1789322"/>
                <a:gd name="connsiteX6" fmla="*/ 2184813 w 2670487"/>
                <a:gd name="connsiteY6" fmla="*/ 3603 h 1789322"/>
                <a:gd name="connsiteX7" fmla="*/ 2670487 w 2670487"/>
                <a:gd name="connsiteY7" fmla="*/ 324196 h 1789322"/>
                <a:gd name="connsiteX8" fmla="*/ 0 w 2670487"/>
                <a:gd name="connsiteY8" fmla="*/ 1789322 h 1789322"/>
                <a:gd name="connsiteX0" fmla="*/ 0 w 2670487"/>
                <a:gd name="connsiteY0" fmla="*/ 1789322 h 1789322"/>
                <a:gd name="connsiteX1" fmla="*/ 329400 w 2670487"/>
                <a:gd name="connsiteY1" fmla="*/ 395239 h 1789322"/>
                <a:gd name="connsiteX2" fmla="*/ 1050277 w 2670487"/>
                <a:gd name="connsiteY2" fmla="*/ 194615 h 1789322"/>
                <a:gd name="connsiteX3" fmla="*/ 904580 w 2670487"/>
                <a:gd name="connsiteY3" fmla="*/ 170771 h 1789322"/>
                <a:gd name="connsiteX4" fmla="*/ 1494509 w 2670487"/>
                <a:gd name="connsiteY4" fmla="*/ 54418 h 1789322"/>
                <a:gd name="connsiteX5" fmla="*/ 1772100 w 2670487"/>
                <a:gd name="connsiteY5" fmla="*/ 95353 h 1789322"/>
                <a:gd name="connsiteX6" fmla="*/ 2184813 w 2670487"/>
                <a:gd name="connsiteY6" fmla="*/ 3603 h 1789322"/>
                <a:gd name="connsiteX7" fmla="*/ 2670487 w 2670487"/>
                <a:gd name="connsiteY7" fmla="*/ 324196 h 1789322"/>
                <a:gd name="connsiteX8" fmla="*/ 0 w 2670487"/>
                <a:gd name="connsiteY8" fmla="*/ 1789322 h 1789322"/>
                <a:gd name="connsiteX0" fmla="*/ 429128 w 2341087"/>
                <a:gd name="connsiteY0" fmla="*/ 1046638 h 1046638"/>
                <a:gd name="connsiteX1" fmla="*/ 0 w 2341087"/>
                <a:gd name="connsiteY1" fmla="*/ 395239 h 1046638"/>
                <a:gd name="connsiteX2" fmla="*/ 720877 w 2341087"/>
                <a:gd name="connsiteY2" fmla="*/ 194615 h 1046638"/>
                <a:gd name="connsiteX3" fmla="*/ 575180 w 2341087"/>
                <a:gd name="connsiteY3" fmla="*/ 170771 h 1046638"/>
                <a:gd name="connsiteX4" fmla="*/ 1165109 w 2341087"/>
                <a:gd name="connsiteY4" fmla="*/ 54418 h 1046638"/>
                <a:gd name="connsiteX5" fmla="*/ 1442700 w 2341087"/>
                <a:gd name="connsiteY5" fmla="*/ 95353 h 1046638"/>
                <a:gd name="connsiteX6" fmla="*/ 1855413 w 2341087"/>
                <a:gd name="connsiteY6" fmla="*/ 3603 h 1046638"/>
                <a:gd name="connsiteX7" fmla="*/ 2341087 w 2341087"/>
                <a:gd name="connsiteY7" fmla="*/ 324196 h 1046638"/>
                <a:gd name="connsiteX8" fmla="*/ 429128 w 2341087"/>
                <a:gd name="connsiteY8" fmla="*/ 1046638 h 1046638"/>
                <a:gd name="connsiteX0" fmla="*/ 429128 w 2341087"/>
                <a:gd name="connsiteY0" fmla="*/ 1046638 h 1046638"/>
                <a:gd name="connsiteX1" fmla="*/ 0 w 2341087"/>
                <a:gd name="connsiteY1" fmla="*/ 395239 h 1046638"/>
                <a:gd name="connsiteX2" fmla="*/ 720877 w 2341087"/>
                <a:gd name="connsiteY2" fmla="*/ 194615 h 1046638"/>
                <a:gd name="connsiteX3" fmla="*/ 575180 w 2341087"/>
                <a:gd name="connsiteY3" fmla="*/ 170771 h 1046638"/>
                <a:gd name="connsiteX4" fmla="*/ 1165109 w 2341087"/>
                <a:gd name="connsiteY4" fmla="*/ 54418 h 1046638"/>
                <a:gd name="connsiteX5" fmla="*/ 1442700 w 2341087"/>
                <a:gd name="connsiteY5" fmla="*/ 95353 h 1046638"/>
                <a:gd name="connsiteX6" fmla="*/ 1855413 w 2341087"/>
                <a:gd name="connsiteY6" fmla="*/ 3603 h 1046638"/>
                <a:gd name="connsiteX7" fmla="*/ 2341087 w 2341087"/>
                <a:gd name="connsiteY7" fmla="*/ 324196 h 1046638"/>
                <a:gd name="connsiteX8" fmla="*/ 429128 w 2341087"/>
                <a:gd name="connsiteY8" fmla="*/ 1046638 h 1046638"/>
                <a:gd name="connsiteX0" fmla="*/ 1011569 w 2341087"/>
                <a:gd name="connsiteY0" fmla="*/ 775499 h 775499"/>
                <a:gd name="connsiteX1" fmla="*/ 0 w 2341087"/>
                <a:gd name="connsiteY1" fmla="*/ 395239 h 775499"/>
                <a:gd name="connsiteX2" fmla="*/ 720877 w 2341087"/>
                <a:gd name="connsiteY2" fmla="*/ 194615 h 775499"/>
                <a:gd name="connsiteX3" fmla="*/ 575180 w 2341087"/>
                <a:gd name="connsiteY3" fmla="*/ 170771 h 775499"/>
                <a:gd name="connsiteX4" fmla="*/ 1165109 w 2341087"/>
                <a:gd name="connsiteY4" fmla="*/ 54418 h 775499"/>
                <a:gd name="connsiteX5" fmla="*/ 1442700 w 2341087"/>
                <a:gd name="connsiteY5" fmla="*/ 95353 h 775499"/>
                <a:gd name="connsiteX6" fmla="*/ 1855413 w 2341087"/>
                <a:gd name="connsiteY6" fmla="*/ 3603 h 775499"/>
                <a:gd name="connsiteX7" fmla="*/ 2341087 w 2341087"/>
                <a:gd name="connsiteY7" fmla="*/ 324196 h 775499"/>
                <a:gd name="connsiteX8" fmla="*/ 1011569 w 2341087"/>
                <a:gd name="connsiteY8" fmla="*/ 775499 h 775499"/>
                <a:gd name="connsiteX0" fmla="*/ 1011569 w 2341087"/>
                <a:gd name="connsiteY0" fmla="*/ 775499 h 775499"/>
                <a:gd name="connsiteX1" fmla="*/ 0 w 2341087"/>
                <a:gd name="connsiteY1" fmla="*/ 395239 h 775499"/>
                <a:gd name="connsiteX2" fmla="*/ 720877 w 2341087"/>
                <a:gd name="connsiteY2" fmla="*/ 194615 h 775499"/>
                <a:gd name="connsiteX3" fmla="*/ 575180 w 2341087"/>
                <a:gd name="connsiteY3" fmla="*/ 170771 h 775499"/>
                <a:gd name="connsiteX4" fmla="*/ 1165109 w 2341087"/>
                <a:gd name="connsiteY4" fmla="*/ 54418 h 775499"/>
                <a:gd name="connsiteX5" fmla="*/ 1442700 w 2341087"/>
                <a:gd name="connsiteY5" fmla="*/ 95353 h 775499"/>
                <a:gd name="connsiteX6" fmla="*/ 1855413 w 2341087"/>
                <a:gd name="connsiteY6" fmla="*/ 3603 h 775499"/>
                <a:gd name="connsiteX7" fmla="*/ 2341087 w 2341087"/>
                <a:gd name="connsiteY7" fmla="*/ 324196 h 775499"/>
                <a:gd name="connsiteX8" fmla="*/ 1011569 w 2341087"/>
                <a:gd name="connsiteY8" fmla="*/ 775499 h 775499"/>
                <a:gd name="connsiteX0" fmla="*/ 1011569 w 1855412"/>
                <a:gd name="connsiteY0" fmla="*/ 775499 h 814960"/>
                <a:gd name="connsiteX1" fmla="*/ 0 w 1855412"/>
                <a:gd name="connsiteY1" fmla="*/ 395239 h 814960"/>
                <a:gd name="connsiteX2" fmla="*/ 720877 w 1855412"/>
                <a:gd name="connsiteY2" fmla="*/ 194615 h 814960"/>
                <a:gd name="connsiteX3" fmla="*/ 575180 w 1855412"/>
                <a:gd name="connsiteY3" fmla="*/ 170771 h 814960"/>
                <a:gd name="connsiteX4" fmla="*/ 1165109 w 1855412"/>
                <a:gd name="connsiteY4" fmla="*/ 54418 h 814960"/>
                <a:gd name="connsiteX5" fmla="*/ 1442700 w 1855412"/>
                <a:gd name="connsiteY5" fmla="*/ 95353 h 814960"/>
                <a:gd name="connsiteX6" fmla="*/ 1855413 w 1855412"/>
                <a:gd name="connsiteY6" fmla="*/ 3603 h 814960"/>
                <a:gd name="connsiteX7" fmla="*/ 1514833 w 1855412"/>
                <a:gd name="connsiteY7" fmla="*/ 571758 h 814960"/>
                <a:gd name="connsiteX8" fmla="*/ 1011569 w 1855412"/>
                <a:gd name="connsiteY8" fmla="*/ 775499 h 814960"/>
                <a:gd name="connsiteX0" fmla="*/ 1011569 w 1855413"/>
                <a:gd name="connsiteY0" fmla="*/ 775499 h 775499"/>
                <a:gd name="connsiteX1" fmla="*/ 0 w 1855413"/>
                <a:gd name="connsiteY1" fmla="*/ 395239 h 775499"/>
                <a:gd name="connsiteX2" fmla="*/ 720877 w 1855413"/>
                <a:gd name="connsiteY2" fmla="*/ 194615 h 775499"/>
                <a:gd name="connsiteX3" fmla="*/ 575180 w 1855413"/>
                <a:gd name="connsiteY3" fmla="*/ 170771 h 775499"/>
                <a:gd name="connsiteX4" fmla="*/ 1165109 w 1855413"/>
                <a:gd name="connsiteY4" fmla="*/ 54418 h 775499"/>
                <a:gd name="connsiteX5" fmla="*/ 1442700 w 1855413"/>
                <a:gd name="connsiteY5" fmla="*/ 95353 h 775499"/>
                <a:gd name="connsiteX6" fmla="*/ 1855413 w 1855413"/>
                <a:gd name="connsiteY6" fmla="*/ 3603 h 775499"/>
                <a:gd name="connsiteX7" fmla="*/ 1514833 w 1855413"/>
                <a:gd name="connsiteY7" fmla="*/ 571758 h 775499"/>
                <a:gd name="connsiteX8" fmla="*/ 1011569 w 1855413"/>
                <a:gd name="connsiteY8" fmla="*/ 775499 h 775499"/>
                <a:gd name="connsiteX0" fmla="*/ 1011569 w 1855413"/>
                <a:gd name="connsiteY0" fmla="*/ 775499 h 775499"/>
                <a:gd name="connsiteX1" fmla="*/ 0 w 1855413"/>
                <a:gd name="connsiteY1" fmla="*/ 395239 h 775499"/>
                <a:gd name="connsiteX2" fmla="*/ 720877 w 1855413"/>
                <a:gd name="connsiteY2" fmla="*/ 194615 h 775499"/>
                <a:gd name="connsiteX3" fmla="*/ 575180 w 1855413"/>
                <a:gd name="connsiteY3" fmla="*/ 170771 h 775499"/>
                <a:gd name="connsiteX4" fmla="*/ 1165109 w 1855413"/>
                <a:gd name="connsiteY4" fmla="*/ 54418 h 775499"/>
                <a:gd name="connsiteX5" fmla="*/ 1442700 w 1855413"/>
                <a:gd name="connsiteY5" fmla="*/ 95353 h 775499"/>
                <a:gd name="connsiteX6" fmla="*/ 1855413 w 1855413"/>
                <a:gd name="connsiteY6" fmla="*/ 3603 h 775499"/>
                <a:gd name="connsiteX7" fmla="*/ 1514833 w 1855413"/>
                <a:gd name="connsiteY7" fmla="*/ 571758 h 775499"/>
                <a:gd name="connsiteX8" fmla="*/ 1011569 w 1855413"/>
                <a:gd name="connsiteY8" fmla="*/ 775499 h 775499"/>
                <a:gd name="connsiteX0" fmla="*/ 1011569 w 1514833"/>
                <a:gd name="connsiteY0" fmla="*/ 775499 h 775499"/>
                <a:gd name="connsiteX1" fmla="*/ 0 w 1514833"/>
                <a:gd name="connsiteY1" fmla="*/ 395239 h 775499"/>
                <a:gd name="connsiteX2" fmla="*/ 720877 w 1514833"/>
                <a:gd name="connsiteY2" fmla="*/ 194615 h 775499"/>
                <a:gd name="connsiteX3" fmla="*/ 575180 w 1514833"/>
                <a:gd name="connsiteY3" fmla="*/ 170771 h 775499"/>
                <a:gd name="connsiteX4" fmla="*/ 1165109 w 1514833"/>
                <a:gd name="connsiteY4" fmla="*/ 54418 h 775499"/>
                <a:gd name="connsiteX5" fmla="*/ 1442700 w 1514833"/>
                <a:gd name="connsiteY5" fmla="*/ 95353 h 775499"/>
                <a:gd name="connsiteX6" fmla="*/ 1514833 w 1514833"/>
                <a:gd name="connsiteY6" fmla="*/ 571758 h 775499"/>
                <a:gd name="connsiteX7" fmla="*/ 1011569 w 1514833"/>
                <a:gd name="connsiteY7" fmla="*/ 775499 h 775499"/>
                <a:gd name="connsiteX0" fmla="*/ 954378 w 1514833"/>
                <a:gd name="connsiteY0" fmla="*/ 768389 h 768389"/>
                <a:gd name="connsiteX1" fmla="*/ 0 w 1514833"/>
                <a:gd name="connsiteY1" fmla="*/ 395239 h 768389"/>
                <a:gd name="connsiteX2" fmla="*/ 720877 w 1514833"/>
                <a:gd name="connsiteY2" fmla="*/ 194615 h 768389"/>
                <a:gd name="connsiteX3" fmla="*/ 575180 w 1514833"/>
                <a:gd name="connsiteY3" fmla="*/ 170771 h 768389"/>
                <a:gd name="connsiteX4" fmla="*/ 1165109 w 1514833"/>
                <a:gd name="connsiteY4" fmla="*/ 54418 h 768389"/>
                <a:gd name="connsiteX5" fmla="*/ 1442700 w 1514833"/>
                <a:gd name="connsiteY5" fmla="*/ 95353 h 768389"/>
                <a:gd name="connsiteX6" fmla="*/ 1514833 w 1514833"/>
                <a:gd name="connsiteY6" fmla="*/ 571758 h 768389"/>
                <a:gd name="connsiteX7" fmla="*/ 954378 w 1514833"/>
                <a:gd name="connsiteY7" fmla="*/ 768389 h 76838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442700 w 1514833"/>
                <a:gd name="connsiteY5" fmla="*/ 95353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442700 w 1514833"/>
                <a:gd name="connsiteY5" fmla="*/ 95353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271128 w 1514833"/>
                <a:gd name="connsiteY5" fmla="*/ 123795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271128 w 1514833"/>
                <a:gd name="connsiteY5" fmla="*/ 123795 h 761279"/>
                <a:gd name="connsiteX6" fmla="*/ 1514833 w 1514833"/>
                <a:gd name="connsiteY6" fmla="*/ 571758 h 761279"/>
                <a:gd name="connsiteX7" fmla="*/ 942124 w 1514833"/>
                <a:gd name="connsiteY7" fmla="*/ 761279 h 761279"/>
                <a:gd name="connsiteX0" fmla="*/ 378388 w 951097"/>
                <a:gd name="connsiteY0" fmla="*/ 761279 h 761279"/>
                <a:gd name="connsiteX1" fmla="*/ 0 w 951097"/>
                <a:gd name="connsiteY1" fmla="*/ 317021 h 761279"/>
                <a:gd name="connsiteX2" fmla="*/ 157141 w 951097"/>
                <a:gd name="connsiteY2" fmla="*/ 194615 h 761279"/>
                <a:gd name="connsiteX3" fmla="*/ 11444 w 951097"/>
                <a:gd name="connsiteY3" fmla="*/ 170771 h 761279"/>
                <a:gd name="connsiteX4" fmla="*/ 601373 w 951097"/>
                <a:gd name="connsiteY4" fmla="*/ 54418 h 761279"/>
                <a:gd name="connsiteX5" fmla="*/ 707392 w 951097"/>
                <a:gd name="connsiteY5" fmla="*/ 123795 h 761279"/>
                <a:gd name="connsiteX6" fmla="*/ 951097 w 951097"/>
                <a:gd name="connsiteY6" fmla="*/ 571758 h 761279"/>
                <a:gd name="connsiteX7" fmla="*/ 378388 w 951097"/>
                <a:gd name="connsiteY7" fmla="*/ 761279 h 761279"/>
                <a:gd name="connsiteX0" fmla="*/ 378388 w 951097"/>
                <a:gd name="connsiteY0" fmla="*/ 761279 h 761279"/>
                <a:gd name="connsiteX1" fmla="*/ 0 w 951097"/>
                <a:gd name="connsiteY1" fmla="*/ 317021 h 761279"/>
                <a:gd name="connsiteX2" fmla="*/ 157141 w 951097"/>
                <a:gd name="connsiteY2" fmla="*/ 194615 h 761279"/>
                <a:gd name="connsiteX3" fmla="*/ 11444 w 951097"/>
                <a:gd name="connsiteY3" fmla="*/ 170771 h 761279"/>
                <a:gd name="connsiteX4" fmla="*/ 601373 w 951097"/>
                <a:gd name="connsiteY4" fmla="*/ 54418 h 761279"/>
                <a:gd name="connsiteX5" fmla="*/ 707392 w 951097"/>
                <a:gd name="connsiteY5" fmla="*/ 123795 h 761279"/>
                <a:gd name="connsiteX6" fmla="*/ 951097 w 951097"/>
                <a:gd name="connsiteY6" fmla="*/ 571758 h 761279"/>
                <a:gd name="connsiteX7" fmla="*/ 378388 w 951097"/>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70219 w 942928"/>
                <a:gd name="connsiteY0" fmla="*/ 761279 h 761279"/>
                <a:gd name="connsiteX1" fmla="*/ 0 w 942928"/>
                <a:gd name="connsiteY1" fmla="*/ 324131 h 761279"/>
                <a:gd name="connsiteX2" fmla="*/ 148972 w 942928"/>
                <a:gd name="connsiteY2" fmla="*/ 194615 h 761279"/>
                <a:gd name="connsiteX3" fmla="*/ 3275 w 942928"/>
                <a:gd name="connsiteY3" fmla="*/ 170771 h 761279"/>
                <a:gd name="connsiteX4" fmla="*/ 593204 w 942928"/>
                <a:gd name="connsiteY4" fmla="*/ 54418 h 761279"/>
                <a:gd name="connsiteX5" fmla="*/ 699223 w 942928"/>
                <a:gd name="connsiteY5" fmla="*/ 123795 h 761279"/>
                <a:gd name="connsiteX6" fmla="*/ 942928 w 942928"/>
                <a:gd name="connsiteY6" fmla="*/ 571758 h 761279"/>
                <a:gd name="connsiteX7" fmla="*/ 370219 w 942928"/>
                <a:gd name="connsiteY7" fmla="*/ 761279 h 761279"/>
                <a:gd name="connsiteX0" fmla="*/ 370219 w 930673"/>
                <a:gd name="connsiteY0" fmla="*/ 761279 h 761279"/>
                <a:gd name="connsiteX1" fmla="*/ 0 w 930673"/>
                <a:gd name="connsiteY1" fmla="*/ 324131 h 761279"/>
                <a:gd name="connsiteX2" fmla="*/ 148972 w 930673"/>
                <a:gd name="connsiteY2" fmla="*/ 194615 h 761279"/>
                <a:gd name="connsiteX3" fmla="*/ 3275 w 930673"/>
                <a:gd name="connsiteY3" fmla="*/ 170771 h 761279"/>
                <a:gd name="connsiteX4" fmla="*/ 593204 w 930673"/>
                <a:gd name="connsiteY4" fmla="*/ 54418 h 761279"/>
                <a:gd name="connsiteX5" fmla="*/ 699223 w 930673"/>
                <a:gd name="connsiteY5" fmla="*/ 123795 h 761279"/>
                <a:gd name="connsiteX6" fmla="*/ 930673 w 930673"/>
                <a:gd name="connsiteY6" fmla="*/ 571758 h 761279"/>
                <a:gd name="connsiteX7" fmla="*/ 370219 w 930673"/>
                <a:gd name="connsiteY7" fmla="*/ 761279 h 761279"/>
                <a:gd name="connsiteX0" fmla="*/ 370219 w 926589"/>
                <a:gd name="connsiteY0" fmla="*/ 761279 h 761279"/>
                <a:gd name="connsiteX1" fmla="*/ 0 w 926589"/>
                <a:gd name="connsiteY1" fmla="*/ 324131 h 761279"/>
                <a:gd name="connsiteX2" fmla="*/ 148972 w 926589"/>
                <a:gd name="connsiteY2" fmla="*/ 194615 h 761279"/>
                <a:gd name="connsiteX3" fmla="*/ 3275 w 926589"/>
                <a:gd name="connsiteY3" fmla="*/ 170771 h 761279"/>
                <a:gd name="connsiteX4" fmla="*/ 593204 w 926589"/>
                <a:gd name="connsiteY4" fmla="*/ 54418 h 761279"/>
                <a:gd name="connsiteX5" fmla="*/ 699223 w 926589"/>
                <a:gd name="connsiteY5" fmla="*/ 123795 h 761279"/>
                <a:gd name="connsiteX6" fmla="*/ 926589 w 926589"/>
                <a:gd name="connsiteY6" fmla="*/ 561092 h 761279"/>
                <a:gd name="connsiteX7" fmla="*/ 370219 w 926589"/>
                <a:gd name="connsiteY7" fmla="*/ 761279 h 761279"/>
                <a:gd name="connsiteX0" fmla="*/ 370219 w 926589"/>
                <a:gd name="connsiteY0" fmla="*/ 761279 h 761279"/>
                <a:gd name="connsiteX1" fmla="*/ 0 w 926589"/>
                <a:gd name="connsiteY1" fmla="*/ 324131 h 761279"/>
                <a:gd name="connsiteX2" fmla="*/ 148972 w 926589"/>
                <a:gd name="connsiteY2" fmla="*/ 194615 h 761279"/>
                <a:gd name="connsiteX3" fmla="*/ 3275 w 926589"/>
                <a:gd name="connsiteY3" fmla="*/ 170771 h 761279"/>
                <a:gd name="connsiteX4" fmla="*/ 593204 w 926589"/>
                <a:gd name="connsiteY4" fmla="*/ 54418 h 761279"/>
                <a:gd name="connsiteX5" fmla="*/ 699223 w 926589"/>
                <a:gd name="connsiteY5" fmla="*/ 123795 h 761279"/>
                <a:gd name="connsiteX6" fmla="*/ 926589 w 926589"/>
                <a:gd name="connsiteY6" fmla="*/ 561092 h 761279"/>
                <a:gd name="connsiteX7" fmla="*/ 370219 w 926589"/>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699223 w 922505"/>
                <a:gd name="connsiteY5" fmla="*/ 123795 h 761279"/>
                <a:gd name="connsiteX6" fmla="*/ 922505 w 922505"/>
                <a:gd name="connsiteY6" fmla="*/ 564648 h 761279"/>
                <a:gd name="connsiteX7" fmla="*/ 370219 w 922505"/>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699223 w 922505"/>
                <a:gd name="connsiteY5" fmla="*/ 123795 h 761279"/>
                <a:gd name="connsiteX6" fmla="*/ 922505 w 922505"/>
                <a:gd name="connsiteY6" fmla="*/ 564648 h 761279"/>
                <a:gd name="connsiteX7" fmla="*/ 370219 w 922505"/>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723901 w 922505"/>
                <a:gd name="connsiteY5" fmla="*/ 117659 h 761279"/>
                <a:gd name="connsiteX6" fmla="*/ 922505 w 922505"/>
                <a:gd name="connsiteY6" fmla="*/ 564648 h 761279"/>
                <a:gd name="connsiteX7" fmla="*/ 370219 w 922505"/>
                <a:gd name="connsiteY7" fmla="*/ 761279 h 761279"/>
                <a:gd name="connsiteX0" fmla="*/ 370219 w 954235"/>
                <a:gd name="connsiteY0" fmla="*/ 761279 h 761279"/>
                <a:gd name="connsiteX1" fmla="*/ 0 w 954235"/>
                <a:gd name="connsiteY1" fmla="*/ 324131 h 761279"/>
                <a:gd name="connsiteX2" fmla="*/ 148972 w 954235"/>
                <a:gd name="connsiteY2" fmla="*/ 194615 h 761279"/>
                <a:gd name="connsiteX3" fmla="*/ 3275 w 954235"/>
                <a:gd name="connsiteY3" fmla="*/ 170771 h 761279"/>
                <a:gd name="connsiteX4" fmla="*/ 593204 w 954235"/>
                <a:gd name="connsiteY4" fmla="*/ 54418 h 761279"/>
                <a:gd name="connsiteX5" fmla="*/ 723901 w 954235"/>
                <a:gd name="connsiteY5" fmla="*/ 117659 h 761279"/>
                <a:gd name="connsiteX6" fmla="*/ 954235 w 954235"/>
                <a:gd name="connsiteY6" fmla="*/ 552375 h 761279"/>
                <a:gd name="connsiteX7" fmla="*/ 370219 w 954235"/>
                <a:gd name="connsiteY7" fmla="*/ 761279 h 761279"/>
                <a:gd name="connsiteX0" fmla="*/ 319346 w 954235"/>
                <a:gd name="connsiteY0" fmla="*/ 696168 h 696168"/>
                <a:gd name="connsiteX1" fmla="*/ 0 w 954235"/>
                <a:gd name="connsiteY1" fmla="*/ 324131 h 696168"/>
                <a:gd name="connsiteX2" fmla="*/ 148972 w 954235"/>
                <a:gd name="connsiteY2" fmla="*/ 194615 h 696168"/>
                <a:gd name="connsiteX3" fmla="*/ 3275 w 954235"/>
                <a:gd name="connsiteY3" fmla="*/ 170771 h 696168"/>
                <a:gd name="connsiteX4" fmla="*/ 593204 w 954235"/>
                <a:gd name="connsiteY4" fmla="*/ 54418 h 696168"/>
                <a:gd name="connsiteX5" fmla="*/ 723901 w 954235"/>
                <a:gd name="connsiteY5" fmla="*/ 117659 h 696168"/>
                <a:gd name="connsiteX6" fmla="*/ 954235 w 954235"/>
                <a:gd name="connsiteY6" fmla="*/ 552375 h 696168"/>
                <a:gd name="connsiteX7" fmla="*/ 319346 w 954235"/>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8264 w 911257"/>
                <a:gd name="connsiteY0" fmla="*/ 696168 h 696168"/>
                <a:gd name="connsiteX1" fmla="*/ 30008 w 911257"/>
                <a:gd name="connsiteY1" fmla="*/ 360210 h 696168"/>
                <a:gd name="connsiteX2" fmla="*/ 147890 w 911257"/>
                <a:gd name="connsiteY2" fmla="*/ 194615 h 696168"/>
                <a:gd name="connsiteX3" fmla="*/ 2193 w 911257"/>
                <a:gd name="connsiteY3" fmla="*/ 170771 h 696168"/>
                <a:gd name="connsiteX4" fmla="*/ 592122 w 911257"/>
                <a:gd name="connsiteY4" fmla="*/ 54418 h 696168"/>
                <a:gd name="connsiteX5" fmla="*/ 722819 w 911257"/>
                <a:gd name="connsiteY5" fmla="*/ 117659 h 696168"/>
                <a:gd name="connsiteX6" fmla="*/ 911257 w 911257"/>
                <a:gd name="connsiteY6" fmla="*/ 471637 h 696168"/>
                <a:gd name="connsiteX7" fmla="*/ 318264 w 911257"/>
                <a:gd name="connsiteY7" fmla="*/ 696168 h 696168"/>
                <a:gd name="connsiteX0" fmla="*/ 318264 w 911257"/>
                <a:gd name="connsiteY0" fmla="*/ 696168 h 696168"/>
                <a:gd name="connsiteX1" fmla="*/ 30008 w 911257"/>
                <a:gd name="connsiteY1" fmla="*/ 360210 h 696168"/>
                <a:gd name="connsiteX2" fmla="*/ 147890 w 911257"/>
                <a:gd name="connsiteY2" fmla="*/ 194615 h 696168"/>
                <a:gd name="connsiteX3" fmla="*/ 2193 w 911257"/>
                <a:gd name="connsiteY3" fmla="*/ 170771 h 696168"/>
                <a:gd name="connsiteX4" fmla="*/ 592122 w 911257"/>
                <a:gd name="connsiteY4" fmla="*/ 54418 h 696168"/>
                <a:gd name="connsiteX5" fmla="*/ 747002 w 911257"/>
                <a:gd name="connsiteY5" fmla="*/ 162756 h 696168"/>
                <a:gd name="connsiteX6" fmla="*/ 911257 w 911257"/>
                <a:gd name="connsiteY6" fmla="*/ 471637 h 696168"/>
                <a:gd name="connsiteX7" fmla="*/ 318264 w 911257"/>
                <a:gd name="connsiteY7" fmla="*/ 696168 h 696168"/>
                <a:gd name="connsiteX0" fmla="*/ 318255 w 911248"/>
                <a:gd name="connsiteY0" fmla="*/ 638868 h 638868"/>
                <a:gd name="connsiteX1" fmla="*/ 29999 w 911248"/>
                <a:gd name="connsiteY1" fmla="*/ 302910 h 638868"/>
                <a:gd name="connsiteX2" fmla="*/ 147881 w 911248"/>
                <a:gd name="connsiteY2" fmla="*/ 137315 h 638868"/>
                <a:gd name="connsiteX3" fmla="*/ 2184 w 911248"/>
                <a:gd name="connsiteY3" fmla="*/ 113471 h 638868"/>
                <a:gd name="connsiteX4" fmla="*/ 595567 w 911248"/>
                <a:gd name="connsiteY4" fmla="*/ 69274 h 638868"/>
                <a:gd name="connsiteX5" fmla="*/ 746993 w 911248"/>
                <a:gd name="connsiteY5" fmla="*/ 105456 h 638868"/>
                <a:gd name="connsiteX6" fmla="*/ 911248 w 911248"/>
                <a:gd name="connsiteY6" fmla="*/ 414337 h 638868"/>
                <a:gd name="connsiteX7" fmla="*/ 318255 w 911248"/>
                <a:gd name="connsiteY7" fmla="*/ 638868 h 638868"/>
                <a:gd name="connsiteX0" fmla="*/ 318255 w 911248"/>
                <a:gd name="connsiteY0" fmla="*/ 638868 h 638868"/>
                <a:gd name="connsiteX1" fmla="*/ 29999 w 911248"/>
                <a:gd name="connsiteY1" fmla="*/ 302910 h 638868"/>
                <a:gd name="connsiteX2" fmla="*/ 178971 w 911248"/>
                <a:gd name="connsiteY2" fmla="*/ 164373 h 638868"/>
                <a:gd name="connsiteX3" fmla="*/ 2184 w 911248"/>
                <a:gd name="connsiteY3" fmla="*/ 113471 h 638868"/>
                <a:gd name="connsiteX4" fmla="*/ 595567 w 911248"/>
                <a:gd name="connsiteY4" fmla="*/ 69274 h 638868"/>
                <a:gd name="connsiteX5" fmla="*/ 746993 w 911248"/>
                <a:gd name="connsiteY5" fmla="*/ 105456 h 638868"/>
                <a:gd name="connsiteX6" fmla="*/ 911248 w 911248"/>
                <a:gd name="connsiteY6" fmla="*/ 414337 h 638868"/>
                <a:gd name="connsiteX7" fmla="*/ 318255 w 911248"/>
                <a:gd name="connsiteY7" fmla="*/ 638868 h 638868"/>
                <a:gd name="connsiteX0" fmla="*/ 288256 w 881249"/>
                <a:gd name="connsiteY0" fmla="*/ 628242 h 628242"/>
                <a:gd name="connsiteX1" fmla="*/ 0 w 881249"/>
                <a:gd name="connsiteY1" fmla="*/ 292284 h 628242"/>
                <a:gd name="connsiteX2" fmla="*/ 148972 w 881249"/>
                <a:gd name="connsiteY2" fmla="*/ 153747 h 628242"/>
                <a:gd name="connsiteX3" fmla="*/ 3275 w 881249"/>
                <a:gd name="connsiteY3" fmla="*/ 150949 h 628242"/>
                <a:gd name="connsiteX4" fmla="*/ 565568 w 881249"/>
                <a:gd name="connsiteY4" fmla="*/ 58648 h 628242"/>
                <a:gd name="connsiteX5" fmla="*/ 716994 w 881249"/>
                <a:gd name="connsiteY5" fmla="*/ 94830 h 628242"/>
                <a:gd name="connsiteX6" fmla="*/ 881249 w 881249"/>
                <a:gd name="connsiteY6" fmla="*/ 403711 h 628242"/>
                <a:gd name="connsiteX7" fmla="*/ 288256 w 881249"/>
                <a:gd name="connsiteY7" fmla="*/ 628242 h 62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249" h="628242">
                  <a:moveTo>
                    <a:pt x="288256" y="628242"/>
                  </a:moveTo>
                  <a:cubicBezTo>
                    <a:pt x="164850" y="482526"/>
                    <a:pt x="123406" y="438000"/>
                    <a:pt x="0" y="292284"/>
                  </a:cubicBezTo>
                  <a:cubicBezTo>
                    <a:pt x="79035" y="264602"/>
                    <a:pt x="273700" y="176344"/>
                    <a:pt x="148972" y="153747"/>
                  </a:cubicBezTo>
                  <a:cubicBezTo>
                    <a:pt x="93557" y="144827"/>
                    <a:pt x="37886" y="185345"/>
                    <a:pt x="3275" y="150949"/>
                  </a:cubicBezTo>
                  <a:cubicBezTo>
                    <a:pt x="-46426" y="93141"/>
                    <a:pt x="739648" y="-94094"/>
                    <a:pt x="565568" y="58648"/>
                  </a:cubicBezTo>
                  <a:cubicBezTo>
                    <a:pt x="484209" y="145559"/>
                    <a:pt x="620173" y="105328"/>
                    <a:pt x="716994" y="94830"/>
                  </a:cubicBezTo>
                  <a:lnTo>
                    <a:pt x="881249" y="403711"/>
                  </a:lnTo>
                  <a:cubicBezTo>
                    <a:pt x="610743" y="494732"/>
                    <a:pt x="512831" y="534438"/>
                    <a:pt x="288256" y="628242"/>
                  </a:cubicBezTo>
                  <a:close/>
                </a:path>
              </a:pathLst>
            </a:custGeom>
            <a:solidFill>
              <a:srgbClr val="8CC3D2">
                <a:alpha val="54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grpSp>
      <p:grpSp>
        <p:nvGrpSpPr>
          <p:cNvPr id="4" name="Gruppieren 30"/>
          <p:cNvGrpSpPr/>
          <p:nvPr/>
        </p:nvGrpSpPr>
        <p:grpSpPr>
          <a:xfrm>
            <a:off x="4620302" y="2481797"/>
            <a:ext cx="5084407" cy="2699986"/>
            <a:chOff x="4843642" y="2498353"/>
            <a:chExt cx="4536976" cy="3214092"/>
          </a:xfrm>
        </p:grpSpPr>
        <p:sp>
          <p:nvSpPr>
            <p:cNvPr id="32" name="Freihandform 31"/>
            <p:cNvSpPr/>
            <p:nvPr/>
          </p:nvSpPr>
          <p:spPr bwMode="auto">
            <a:xfrm>
              <a:off x="4843642" y="4802827"/>
              <a:ext cx="1579543" cy="909618"/>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714335 w 5964568"/>
                <a:gd name="connsiteY4" fmla="*/ 1913113 h 3227537"/>
                <a:gd name="connsiteX5" fmla="*/ 1523207 w 5964568"/>
                <a:gd name="connsiteY5" fmla="*/ 1199395 h 3227537"/>
                <a:gd name="connsiteX6" fmla="*/ 1433591 w 5964568"/>
                <a:gd name="connsiteY6" fmla="*/ 1471142 h 3227537"/>
                <a:gd name="connsiteX7" fmla="*/ 2320564 w 5964568"/>
                <a:gd name="connsiteY7" fmla="*/ 958464 h 3227537"/>
                <a:gd name="connsiteX8" fmla="*/ 1934587 w 5964568"/>
                <a:gd name="connsiteY8" fmla="*/ 939686 h 3227537"/>
                <a:gd name="connsiteX9" fmla="*/ 2724695 w 5964568"/>
                <a:gd name="connsiteY9" fmla="*/ 648948 h 3227537"/>
                <a:gd name="connsiteX10" fmla="*/ 2671161 w 5964568"/>
                <a:gd name="connsiteY10" fmla="*/ 815773 h 3227537"/>
                <a:gd name="connsiteX11" fmla="*/ 3352287 w 5964568"/>
                <a:gd name="connsiteY11" fmla="*/ 521781 h 3227537"/>
                <a:gd name="connsiteX12" fmla="*/ 3086216 w 5964568"/>
                <a:gd name="connsiteY12" fmla="*/ 509932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523207 w 5964568"/>
                <a:gd name="connsiteY4" fmla="*/ 1199395 h 3227537"/>
                <a:gd name="connsiteX5" fmla="*/ 1433591 w 5964568"/>
                <a:gd name="connsiteY5" fmla="*/ 1471142 h 3227537"/>
                <a:gd name="connsiteX6" fmla="*/ 2320564 w 5964568"/>
                <a:gd name="connsiteY6" fmla="*/ 958464 h 3227537"/>
                <a:gd name="connsiteX7" fmla="*/ 1934587 w 5964568"/>
                <a:gd name="connsiteY7" fmla="*/ 939686 h 3227537"/>
                <a:gd name="connsiteX8" fmla="*/ 2724695 w 5964568"/>
                <a:gd name="connsiteY8" fmla="*/ 648948 h 3227537"/>
                <a:gd name="connsiteX9" fmla="*/ 2671161 w 5964568"/>
                <a:gd name="connsiteY9" fmla="*/ 815773 h 3227537"/>
                <a:gd name="connsiteX10" fmla="*/ 3352287 w 5964568"/>
                <a:gd name="connsiteY10" fmla="*/ 521781 h 3227537"/>
                <a:gd name="connsiteX11" fmla="*/ 3086216 w 5964568"/>
                <a:gd name="connsiteY11" fmla="*/ 509932 h 3227537"/>
                <a:gd name="connsiteX12" fmla="*/ 3698561 w 5964568"/>
                <a:gd name="connsiteY12" fmla="*/ 23271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433591 w 5964568"/>
                <a:gd name="connsiteY4" fmla="*/ 1471142 h 3227537"/>
                <a:gd name="connsiteX5" fmla="*/ 2320564 w 5964568"/>
                <a:gd name="connsiteY5" fmla="*/ 958464 h 3227537"/>
                <a:gd name="connsiteX6" fmla="*/ 1934587 w 5964568"/>
                <a:gd name="connsiteY6" fmla="*/ 939686 h 3227537"/>
                <a:gd name="connsiteX7" fmla="*/ 2724695 w 5964568"/>
                <a:gd name="connsiteY7" fmla="*/ 648948 h 3227537"/>
                <a:gd name="connsiteX8" fmla="*/ 2671161 w 5964568"/>
                <a:gd name="connsiteY8" fmla="*/ 815773 h 3227537"/>
                <a:gd name="connsiteX9" fmla="*/ 3352287 w 5964568"/>
                <a:gd name="connsiteY9" fmla="*/ 521781 h 3227537"/>
                <a:gd name="connsiteX10" fmla="*/ 3086216 w 5964568"/>
                <a:gd name="connsiteY10" fmla="*/ 509932 h 3227537"/>
                <a:gd name="connsiteX11" fmla="*/ 3698561 w 5964568"/>
                <a:gd name="connsiteY11" fmla="*/ 232711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320564 w 5964568"/>
                <a:gd name="connsiteY4" fmla="*/ 958464 h 3227537"/>
                <a:gd name="connsiteX5" fmla="*/ 1934587 w 5964568"/>
                <a:gd name="connsiteY5" fmla="*/ 939686 h 3227537"/>
                <a:gd name="connsiteX6" fmla="*/ 2724695 w 5964568"/>
                <a:gd name="connsiteY6" fmla="*/ 648948 h 3227537"/>
                <a:gd name="connsiteX7" fmla="*/ 2671161 w 5964568"/>
                <a:gd name="connsiteY7" fmla="*/ 815773 h 3227537"/>
                <a:gd name="connsiteX8" fmla="*/ 3352287 w 5964568"/>
                <a:gd name="connsiteY8" fmla="*/ 521781 h 3227537"/>
                <a:gd name="connsiteX9" fmla="*/ 3086216 w 5964568"/>
                <a:gd name="connsiteY9" fmla="*/ 509932 h 3227537"/>
                <a:gd name="connsiteX10" fmla="*/ 3698561 w 5964568"/>
                <a:gd name="connsiteY10" fmla="*/ 232711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934587 w 5964568"/>
                <a:gd name="connsiteY4" fmla="*/ 939686 h 3227537"/>
                <a:gd name="connsiteX5" fmla="*/ 2724695 w 5964568"/>
                <a:gd name="connsiteY5" fmla="*/ 648948 h 3227537"/>
                <a:gd name="connsiteX6" fmla="*/ 2671161 w 5964568"/>
                <a:gd name="connsiteY6" fmla="*/ 815773 h 3227537"/>
                <a:gd name="connsiteX7" fmla="*/ 3352287 w 5964568"/>
                <a:gd name="connsiteY7" fmla="*/ 521781 h 3227537"/>
                <a:gd name="connsiteX8" fmla="*/ 3086216 w 5964568"/>
                <a:gd name="connsiteY8" fmla="*/ 509932 h 3227537"/>
                <a:gd name="connsiteX9" fmla="*/ 3698561 w 5964568"/>
                <a:gd name="connsiteY9" fmla="*/ 232711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724695 w 5964568"/>
                <a:gd name="connsiteY4" fmla="*/ 648948 h 3227537"/>
                <a:gd name="connsiteX5" fmla="*/ 2671161 w 5964568"/>
                <a:gd name="connsiteY5" fmla="*/ 815773 h 3227537"/>
                <a:gd name="connsiteX6" fmla="*/ 3352287 w 5964568"/>
                <a:gd name="connsiteY6" fmla="*/ 521781 h 3227537"/>
                <a:gd name="connsiteX7" fmla="*/ 3086216 w 5964568"/>
                <a:gd name="connsiteY7" fmla="*/ 509932 h 3227537"/>
                <a:gd name="connsiteX8" fmla="*/ 3698561 w 5964568"/>
                <a:gd name="connsiteY8" fmla="*/ 232711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2671161 w 5964568"/>
                <a:gd name="connsiteY4" fmla="*/ 815773 h 3227537"/>
                <a:gd name="connsiteX5" fmla="*/ 3352287 w 5964568"/>
                <a:gd name="connsiteY5" fmla="*/ 521781 h 3227537"/>
                <a:gd name="connsiteX6" fmla="*/ 3086216 w 5964568"/>
                <a:gd name="connsiteY6" fmla="*/ 509932 h 3227537"/>
                <a:gd name="connsiteX7" fmla="*/ 3698561 w 5964568"/>
                <a:gd name="connsiteY7" fmla="*/ 232711 h 3227537"/>
                <a:gd name="connsiteX8" fmla="*/ 3623481 w 5964568"/>
                <a:gd name="connsiteY8" fmla="*/ 395239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352287 w 5964568"/>
                <a:gd name="connsiteY4" fmla="*/ 521781 h 3227537"/>
                <a:gd name="connsiteX5" fmla="*/ 3086216 w 5964568"/>
                <a:gd name="connsiteY5" fmla="*/ 509932 h 3227537"/>
                <a:gd name="connsiteX6" fmla="*/ 3698561 w 5964568"/>
                <a:gd name="connsiteY6" fmla="*/ 232711 h 3227537"/>
                <a:gd name="connsiteX7" fmla="*/ 3623481 w 5964568"/>
                <a:gd name="connsiteY7" fmla="*/ 395239 h 3227537"/>
                <a:gd name="connsiteX8" fmla="*/ 4344358 w 5964568"/>
                <a:gd name="connsiteY8" fmla="*/ 194615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086216 w 5964568"/>
                <a:gd name="connsiteY4" fmla="*/ 509932 h 3227537"/>
                <a:gd name="connsiteX5" fmla="*/ 3698561 w 5964568"/>
                <a:gd name="connsiteY5" fmla="*/ 232711 h 3227537"/>
                <a:gd name="connsiteX6" fmla="*/ 3623481 w 5964568"/>
                <a:gd name="connsiteY6" fmla="*/ 395239 h 3227537"/>
                <a:gd name="connsiteX7" fmla="*/ 4344358 w 5964568"/>
                <a:gd name="connsiteY7" fmla="*/ 194615 h 3227537"/>
                <a:gd name="connsiteX8" fmla="*/ 4198661 w 5964568"/>
                <a:gd name="connsiteY8" fmla="*/ 170771 h 3227537"/>
                <a:gd name="connsiteX9" fmla="*/ 4788590 w 5964568"/>
                <a:gd name="connsiteY9" fmla="*/ 54418 h 3227537"/>
                <a:gd name="connsiteX10" fmla="*/ 5066181 w 5964568"/>
                <a:gd name="connsiteY10" fmla="*/ 95353 h 3227537"/>
                <a:gd name="connsiteX11" fmla="*/ 5478894 w 5964568"/>
                <a:gd name="connsiteY11" fmla="*/ 3603 h 3227537"/>
                <a:gd name="connsiteX12" fmla="*/ 5964568 w 5964568"/>
                <a:gd name="connsiteY12" fmla="*/ 324196 h 3227537"/>
                <a:gd name="connsiteX13" fmla="*/ 1736389 w 5964568"/>
                <a:gd name="connsiteY13" fmla="*/ 3227537 h 3227537"/>
                <a:gd name="connsiteX14" fmla="*/ 212611 w 5964568"/>
                <a:gd name="connsiteY14"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98561 w 5964568"/>
                <a:gd name="connsiteY4" fmla="*/ 232711 h 3227537"/>
                <a:gd name="connsiteX5" fmla="*/ 3623481 w 5964568"/>
                <a:gd name="connsiteY5" fmla="*/ 395239 h 3227537"/>
                <a:gd name="connsiteX6" fmla="*/ 4344358 w 5964568"/>
                <a:gd name="connsiteY6" fmla="*/ 194615 h 3227537"/>
                <a:gd name="connsiteX7" fmla="*/ 4198661 w 5964568"/>
                <a:gd name="connsiteY7" fmla="*/ 170771 h 3227537"/>
                <a:gd name="connsiteX8" fmla="*/ 4788590 w 5964568"/>
                <a:gd name="connsiteY8" fmla="*/ 54418 h 3227537"/>
                <a:gd name="connsiteX9" fmla="*/ 5066181 w 5964568"/>
                <a:gd name="connsiteY9" fmla="*/ 95353 h 3227537"/>
                <a:gd name="connsiteX10" fmla="*/ 5478894 w 5964568"/>
                <a:gd name="connsiteY10" fmla="*/ 3603 h 3227537"/>
                <a:gd name="connsiteX11" fmla="*/ 5964568 w 5964568"/>
                <a:gd name="connsiteY11" fmla="*/ 324196 h 3227537"/>
                <a:gd name="connsiteX12" fmla="*/ 1736389 w 5964568"/>
                <a:gd name="connsiteY12" fmla="*/ 3227537 h 3227537"/>
                <a:gd name="connsiteX13" fmla="*/ 212611 w 5964568"/>
                <a:gd name="connsiteY1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23481 w 5964568"/>
                <a:gd name="connsiteY4" fmla="*/ 395239 h 3227537"/>
                <a:gd name="connsiteX5" fmla="*/ 4344358 w 5964568"/>
                <a:gd name="connsiteY5" fmla="*/ 194615 h 3227537"/>
                <a:gd name="connsiteX6" fmla="*/ 4198661 w 5964568"/>
                <a:gd name="connsiteY6" fmla="*/ 170771 h 3227537"/>
                <a:gd name="connsiteX7" fmla="*/ 4788590 w 5964568"/>
                <a:gd name="connsiteY7" fmla="*/ 54418 h 3227537"/>
                <a:gd name="connsiteX8" fmla="*/ 5066181 w 5964568"/>
                <a:gd name="connsiteY8" fmla="*/ 95353 h 3227537"/>
                <a:gd name="connsiteX9" fmla="*/ 5478894 w 5964568"/>
                <a:gd name="connsiteY9" fmla="*/ 3603 h 3227537"/>
                <a:gd name="connsiteX10" fmla="*/ 5964568 w 5964568"/>
                <a:gd name="connsiteY10" fmla="*/ 324196 h 3227537"/>
                <a:gd name="connsiteX11" fmla="*/ 1736389 w 5964568"/>
                <a:gd name="connsiteY11" fmla="*/ 3227537 h 3227537"/>
                <a:gd name="connsiteX12" fmla="*/ 212611 w 5964568"/>
                <a:gd name="connsiteY1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4344358 w 5964568"/>
                <a:gd name="connsiteY4" fmla="*/ 194615 h 3227537"/>
                <a:gd name="connsiteX5" fmla="*/ 4198661 w 5964568"/>
                <a:gd name="connsiteY5" fmla="*/ 170771 h 3227537"/>
                <a:gd name="connsiteX6" fmla="*/ 4788590 w 5964568"/>
                <a:gd name="connsiteY6" fmla="*/ 54418 h 3227537"/>
                <a:gd name="connsiteX7" fmla="*/ 5066181 w 5964568"/>
                <a:gd name="connsiteY7" fmla="*/ 95353 h 3227537"/>
                <a:gd name="connsiteX8" fmla="*/ 5478894 w 5964568"/>
                <a:gd name="connsiteY8" fmla="*/ 3603 h 3227537"/>
                <a:gd name="connsiteX9" fmla="*/ 5964568 w 5964568"/>
                <a:gd name="connsiteY9" fmla="*/ 324196 h 3227537"/>
                <a:gd name="connsiteX10" fmla="*/ 1736389 w 5964568"/>
                <a:gd name="connsiteY10" fmla="*/ 3227537 h 3227537"/>
                <a:gd name="connsiteX11" fmla="*/ 212611 w 5964568"/>
                <a:gd name="connsiteY1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4198661 w 5964568"/>
                <a:gd name="connsiteY4" fmla="*/ 170771 h 3227537"/>
                <a:gd name="connsiteX5" fmla="*/ 4788590 w 5964568"/>
                <a:gd name="connsiteY5" fmla="*/ 54418 h 3227537"/>
                <a:gd name="connsiteX6" fmla="*/ 5066181 w 5964568"/>
                <a:gd name="connsiteY6" fmla="*/ 95353 h 3227537"/>
                <a:gd name="connsiteX7" fmla="*/ 5478894 w 5964568"/>
                <a:gd name="connsiteY7" fmla="*/ 3603 h 3227537"/>
                <a:gd name="connsiteX8" fmla="*/ 5964568 w 5964568"/>
                <a:gd name="connsiteY8" fmla="*/ 324196 h 3227537"/>
                <a:gd name="connsiteX9" fmla="*/ 1736389 w 5964568"/>
                <a:gd name="connsiteY9" fmla="*/ 3227537 h 3227537"/>
                <a:gd name="connsiteX10" fmla="*/ 212611 w 5964568"/>
                <a:gd name="connsiteY10"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4788590 w 5964568"/>
                <a:gd name="connsiteY4" fmla="*/ 50815 h 3223934"/>
                <a:gd name="connsiteX5" fmla="*/ 5066181 w 5964568"/>
                <a:gd name="connsiteY5" fmla="*/ 91750 h 3223934"/>
                <a:gd name="connsiteX6" fmla="*/ 5478894 w 5964568"/>
                <a:gd name="connsiteY6" fmla="*/ 0 h 3223934"/>
                <a:gd name="connsiteX7" fmla="*/ 5964568 w 5964568"/>
                <a:gd name="connsiteY7" fmla="*/ 320593 h 3223934"/>
                <a:gd name="connsiteX8" fmla="*/ 1736389 w 5964568"/>
                <a:gd name="connsiteY8" fmla="*/ 3223934 h 3223934"/>
                <a:gd name="connsiteX9" fmla="*/ 212611 w 5964568"/>
                <a:gd name="connsiteY9"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5066181 w 5964568"/>
                <a:gd name="connsiteY4" fmla="*/ 91750 h 3223934"/>
                <a:gd name="connsiteX5" fmla="*/ 5478894 w 5964568"/>
                <a:gd name="connsiteY5" fmla="*/ 0 h 3223934"/>
                <a:gd name="connsiteX6" fmla="*/ 5964568 w 5964568"/>
                <a:gd name="connsiteY6" fmla="*/ 320593 h 3223934"/>
                <a:gd name="connsiteX7" fmla="*/ 1736389 w 5964568"/>
                <a:gd name="connsiteY7" fmla="*/ 3223934 h 3223934"/>
                <a:gd name="connsiteX8" fmla="*/ 212611 w 5964568"/>
                <a:gd name="connsiteY8"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5478894 w 5964568"/>
                <a:gd name="connsiteY4" fmla="*/ 0 h 3223934"/>
                <a:gd name="connsiteX5" fmla="*/ 5964568 w 5964568"/>
                <a:gd name="connsiteY5" fmla="*/ 320593 h 3223934"/>
                <a:gd name="connsiteX6" fmla="*/ 1736389 w 5964568"/>
                <a:gd name="connsiteY6" fmla="*/ 3223934 h 3223934"/>
                <a:gd name="connsiteX7" fmla="*/ 212611 w 5964568"/>
                <a:gd name="connsiteY7" fmla="*/ 2870244 h 3223934"/>
                <a:gd name="connsiteX0" fmla="*/ 212611 w 5964568"/>
                <a:gd name="connsiteY0" fmla="*/ 2561051 h 2914741"/>
                <a:gd name="connsiteX1" fmla="*/ 160498 w 5964568"/>
                <a:gd name="connsiteY1" fmla="*/ 2359441 h 2914741"/>
                <a:gd name="connsiteX2" fmla="*/ 418903 w 5964568"/>
                <a:gd name="connsiteY2" fmla="*/ 2059031 h 2914741"/>
                <a:gd name="connsiteX3" fmla="*/ 914255 w 5964568"/>
                <a:gd name="connsiteY3" fmla="*/ 1910625 h 2914741"/>
                <a:gd name="connsiteX4" fmla="*/ 5964568 w 5964568"/>
                <a:gd name="connsiteY4" fmla="*/ 11400 h 2914741"/>
                <a:gd name="connsiteX5" fmla="*/ 1736389 w 5964568"/>
                <a:gd name="connsiteY5" fmla="*/ 2914741 h 2914741"/>
                <a:gd name="connsiteX6" fmla="*/ 212611 w 5964568"/>
                <a:gd name="connsiteY6" fmla="*/ 2561051 h 2914741"/>
                <a:gd name="connsiteX0" fmla="*/ 212611 w 2686642"/>
                <a:gd name="connsiteY0" fmla="*/ 936448 h 1290138"/>
                <a:gd name="connsiteX1" fmla="*/ 160498 w 2686642"/>
                <a:gd name="connsiteY1" fmla="*/ 734838 h 1290138"/>
                <a:gd name="connsiteX2" fmla="*/ 418903 w 2686642"/>
                <a:gd name="connsiteY2" fmla="*/ 434428 h 1290138"/>
                <a:gd name="connsiteX3" fmla="*/ 914255 w 2686642"/>
                <a:gd name="connsiteY3" fmla="*/ 286022 h 1290138"/>
                <a:gd name="connsiteX4" fmla="*/ 2686642 w 2686642"/>
                <a:gd name="connsiteY4" fmla="*/ 107940 h 1290138"/>
                <a:gd name="connsiteX5" fmla="*/ 1736389 w 2686642"/>
                <a:gd name="connsiteY5" fmla="*/ 1290138 h 1290138"/>
                <a:gd name="connsiteX6" fmla="*/ 212611 w 2686642"/>
                <a:gd name="connsiteY6" fmla="*/ 936448 h 1290138"/>
                <a:gd name="connsiteX0" fmla="*/ 212611 w 3077179"/>
                <a:gd name="connsiteY0" fmla="*/ 936448 h 1290138"/>
                <a:gd name="connsiteX1" fmla="*/ 160498 w 3077179"/>
                <a:gd name="connsiteY1" fmla="*/ 734838 h 1290138"/>
                <a:gd name="connsiteX2" fmla="*/ 418903 w 3077179"/>
                <a:gd name="connsiteY2" fmla="*/ 434428 h 1290138"/>
                <a:gd name="connsiteX3" fmla="*/ 914255 w 3077179"/>
                <a:gd name="connsiteY3" fmla="*/ 286022 h 1290138"/>
                <a:gd name="connsiteX4" fmla="*/ 2686642 w 3077179"/>
                <a:gd name="connsiteY4" fmla="*/ 107940 h 1290138"/>
                <a:gd name="connsiteX5" fmla="*/ 1736389 w 3077179"/>
                <a:gd name="connsiteY5" fmla="*/ 1290138 h 1290138"/>
                <a:gd name="connsiteX6" fmla="*/ 212611 w 3077179"/>
                <a:gd name="connsiteY6" fmla="*/ 936448 h 1290138"/>
                <a:gd name="connsiteX0" fmla="*/ 212611 w 3077179"/>
                <a:gd name="connsiteY0" fmla="*/ 1060091 h 1413781"/>
                <a:gd name="connsiteX1" fmla="*/ 160498 w 3077179"/>
                <a:gd name="connsiteY1" fmla="*/ 858481 h 1413781"/>
                <a:gd name="connsiteX2" fmla="*/ 418903 w 3077179"/>
                <a:gd name="connsiteY2" fmla="*/ 558071 h 1413781"/>
                <a:gd name="connsiteX3" fmla="*/ 914255 w 3077179"/>
                <a:gd name="connsiteY3" fmla="*/ 409665 h 1413781"/>
                <a:gd name="connsiteX4" fmla="*/ 2686642 w 3077179"/>
                <a:gd name="connsiteY4" fmla="*/ 231583 h 1413781"/>
                <a:gd name="connsiteX5" fmla="*/ 1736389 w 3077179"/>
                <a:gd name="connsiteY5" fmla="*/ 1413781 h 1413781"/>
                <a:gd name="connsiteX6" fmla="*/ 212611 w 3077179"/>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686642"/>
                <a:gd name="connsiteY0" fmla="*/ 1060091 h 1413781"/>
                <a:gd name="connsiteX1" fmla="*/ 160498 w 2686642"/>
                <a:gd name="connsiteY1" fmla="*/ 858481 h 1413781"/>
                <a:gd name="connsiteX2" fmla="*/ 418903 w 2686642"/>
                <a:gd name="connsiteY2" fmla="*/ 558071 h 1413781"/>
                <a:gd name="connsiteX3" fmla="*/ 914255 w 2686642"/>
                <a:gd name="connsiteY3" fmla="*/ 409665 h 1413781"/>
                <a:gd name="connsiteX4" fmla="*/ 2686642 w 2686642"/>
                <a:gd name="connsiteY4" fmla="*/ 231583 h 1413781"/>
                <a:gd name="connsiteX5" fmla="*/ 1736389 w 2686642"/>
                <a:gd name="connsiteY5" fmla="*/ 1413781 h 1413781"/>
                <a:gd name="connsiteX6" fmla="*/ 212611 w 2686642"/>
                <a:gd name="connsiteY6" fmla="*/ 1060091 h 1413781"/>
                <a:gd name="connsiteX0" fmla="*/ 212611 w 2080528"/>
                <a:gd name="connsiteY0" fmla="*/ 772159 h 1125849"/>
                <a:gd name="connsiteX1" fmla="*/ 160498 w 2080528"/>
                <a:gd name="connsiteY1" fmla="*/ 570549 h 1125849"/>
                <a:gd name="connsiteX2" fmla="*/ 418903 w 2080528"/>
                <a:gd name="connsiteY2" fmla="*/ 270139 h 1125849"/>
                <a:gd name="connsiteX3" fmla="*/ 914255 w 2080528"/>
                <a:gd name="connsiteY3" fmla="*/ 121733 h 1125849"/>
                <a:gd name="connsiteX4" fmla="*/ 2080528 w 2080528"/>
                <a:gd name="connsiteY4" fmla="*/ 669333 h 1125849"/>
                <a:gd name="connsiteX5" fmla="*/ 1736389 w 2080528"/>
                <a:gd name="connsiteY5" fmla="*/ 1125849 h 1125849"/>
                <a:gd name="connsiteX6" fmla="*/ 212611 w 2080528"/>
                <a:gd name="connsiteY6" fmla="*/ 772159 h 1125849"/>
                <a:gd name="connsiteX0" fmla="*/ 212611 w 2080528"/>
                <a:gd name="connsiteY0" fmla="*/ 772159 h 1125849"/>
                <a:gd name="connsiteX1" fmla="*/ 160498 w 2080528"/>
                <a:gd name="connsiteY1" fmla="*/ 570549 h 1125849"/>
                <a:gd name="connsiteX2" fmla="*/ 418903 w 2080528"/>
                <a:gd name="connsiteY2" fmla="*/ 270139 h 1125849"/>
                <a:gd name="connsiteX3" fmla="*/ 914255 w 2080528"/>
                <a:gd name="connsiteY3" fmla="*/ 121733 h 1125849"/>
                <a:gd name="connsiteX4" fmla="*/ 2080528 w 2080528"/>
                <a:gd name="connsiteY4" fmla="*/ 669333 h 1125849"/>
                <a:gd name="connsiteX5" fmla="*/ 1736389 w 2080528"/>
                <a:gd name="connsiteY5" fmla="*/ 1125849 h 1125849"/>
                <a:gd name="connsiteX6" fmla="*/ 212611 w 2080528"/>
                <a:gd name="connsiteY6" fmla="*/ 772159 h 1125849"/>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34900 h 1088590"/>
                <a:gd name="connsiteX1" fmla="*/ 160498 w 1817558"/>
                <a:gd name="connsiteY1" fmla="*/ 533290 h 1088590"/>
                <a:gd name="connsiteX2" fmla="*/ 418903 w 1817558"/>
                <a:gd name="connsiteY2" fmla="*/ 232880 h 1088590"/>
                <a:gd name="connsiteX3" fmla="*/ 914255 w 1817558"/>
                <a:gd name="connsiteY3" fmla="*/ 84474 h 1088590"/>
                <a:gd name="connsiteX4" fmla="*/ 1817558 w 1817558"/>
                <a:gd name="connsiteY4" fmla="*/ 967004 h 1088590"/>
                <a:gd name="connsiteX5" fmla="*/ 1736389 w 1817558"/>
                <a:gd name="connsiteY5" fmla="*/ 1088590 h 1088590"/>
                <a:gd name="connsiteX6" fmla="*/ 212611 w 1817558"/>
                <a:gd name="connsiteY6" fmla="*/ 734900 h 1088590"/>
                <a:gd name="connsiteX0" fmla="*/ 212611 w 1817558"/>
                <a:gd name="connsiteY0" fmla="*/ 725632 h 1079322"/>
                <a:gd name="connsiteX1" fmla="*/ 160498 w 1817558"/>
                <a:gd name="connsiteY1" fmla="*/ 524022 h 1079322"/>
                <a:gd name="connsiteX2" fmla="*/ 418903 w 1817558"/>
                <a:gd name="connsiteY2" fmla="*/ 223612 h 1079322"/>
                <a:gd name="connsiteX3" fmla="*/ 914255 w 1817558"/>
                <a:gd name="connsiteY3" fmla="*/ 75206 h 1079322"/>
                <a:gd name="connsiteX4" fmla="*/ 1817558 w 1817558"/>
                <a:gd name="connsiteY4" fmla="*/ 957736 h 1079322"/>
                <a:gd name="connsiteX5" fmla="*/ 1736389 w 1817558"/>
                <a:gd name="connsiteY5" fmla="*/ 1079322 h 1079322"/>
                <a:gd name="connsiteX6" fmla="*/ 212611 w 1817558"/>
                <a:gd name="connsiteY6" fmla="*/ 725632 h 1079322"/>
                <a:gd name="connsiteX0" fmla="*/ 212611 w 1817558"/>
                <a:gd name="connsiteY0" fmla="*/ 583262 h 936952"/>
                <a:gd name="connsiteX1" fmla="*/ 160498 w 1817558"/>
                <a:gd name="connsiteY1" fmla="*/ 381652 h 936952"/>
                <a:gd name="connsiteX2" fmla="*/ 418903 w 1817558"/>
                <a:gd name="connsiteY2" fmla="*/ 81242 h 936952"/>
                <a:gd name="connsiteX3" fmla="*/ 718632 w 1817558"/>
                <a:gd name="connsiteY3" fmla="*/ 86345 h 936952"/>
                <a:gd name="connsiteX4" fmla="*/ 1817558 w 1817558"/>
                <a:gd name="connsiteY4" fmla="*/ 815366 h 936952"/>
                <a:gd name="connsiteX5" fmla="*/ 1736389 w 1817558"/>
                <a:gd name="connsiteY5" fmla="*/ 936952 h 936952"/>
                <a:gd name="connsiteX6" fmla="*/ 212611 w 1817558"/>
                <a:gd name="connsiteY6" fmla="*/ 583262 h 936952"/>
                <a:gd name="connsiteX0" fmla="*/ 212611 w 1817558"/>
                <a:gd name="connsiteY0" fmla="*/ 583262 h 936952"/>
                <a:gd name="connsiteX1" fmla="*/ 160498 w 1817558"/>
                <a:gd name="connsiteY1" fmla="*/ 381652 h 936952"/>
                <a:gd name="connsiteX2" fmla="*/ 418903 w 1817558"/>
                <a:gd name="connsiteY2" fmla="*/ 81242 h 936952"/>
                <a:gd name="connsiteX3" fmla="*/ 718632 w 1817558"/>
                <a:gd name="connsiteY3" fmla="*/ 86345 h 936952"/>
                <a:gd name="connsiteX4" fmla="*/ 1817558 w 1817558"/>
                <a:gd name="connsiteY4" fmla="*/ 815366 h 936952"/>
                <a:gd name="connsiteX5" fmla="*/ 1736389 w 1817558"/>
                <a:gd name="connsiteY5" fmla="*/ 936952 h 936952"/>
                <a:gd name="connsiteX6" fmla="*/ 212611 w 1817558"/>
                <a:gd name="connsiteY6" fmla="*/ 583262 h 936952"/>
                <a:gd name="connsiteX0" fmla="*/ 212611 w 1817558"/>
                <a:gd name="connsiteY0" fmla="*/ 547979 h 901669"/>
                <a:gd name="connsiteX1" fmla="*/ 160498 w 1817558"/>
                <a:gd name="connsiteY1" fmla="*/ 346369 h 901669"/>
                <a:gd name="connsiteX2" fmla="*/ 418903 w 1817558"/>
                <a:gd name="connsiteY2" fmla="*/ 45959 h 901669"/>
                <a:gd name="connsiteX3" fmla="*/ 718632 w 1817558"/>
                <a:gd name="connsiteY3" fmla="*/ 51062 h 901669"/>
                <a:gd name="connsiteX4" fmla="*/ 1817558 w 1817558"/>
                <a:gd name="connsiteY4" fmla="*/ 780083 h 901669"/>
                <a:gd name="connsiteX5" fmla="*/ 1736389 w 1817558"/>
                <a:gd name="connsiteY5" fmla="*/ 901669 h 901669"/>
                <a:gd name="connsiteX6" fmla="*/ 212611 w 1817558"/>
                <a:gd name="connsiteY6" fmla="*/ 547979 h 901669"/>
                <a:gd name="connsiteX0" fmla="*/ 212611 w 1814160"/>
                <a:gd name="connsiteY0" fmla="*/ 547979 h 901669"/>
                <a:gd name="connsiteX1" fmla="*/ 160498 w 1814160"/>
                <a:gd name="connsiteY1" fmla="*/ 346369 h 901669"/>
                <a:gd name="connsiteX2" fmla="*/ 418903 w 1814160"/>
                <a:gd name="connsiteY2" fmla="*/ 45959 h 901669"/>
                <a:gd name="connsiteX3" fmla="*/ 718632 w 1814160"/>
                <a:gd name="connsiteY3" fmla="*/ 51062 h 901669"/>
                <a:gd name="connsiteX4" fmla="*/ 1814160 w 1814160"/>
                <a:gd name="connsiteY4" fmla="*/ 774169 h 901669"/>
                <a:gd name="connsiteX5" fmla="*/ 1736389 w 1814160"/>
                <a:gd name="connsiteY5" fmla="*/ 901669 h 901669"/>
                <a:gd name="connsiteX6" fmla="*/ 212611 w 1814160"/>
                <a:gd name="connsiteY6" fmla="*/ 547979 h 901669"/>
                <a:gd name="connsiteX0" fmla="*/ 212611 w 1814160"/>
                <a:gd name="connsiteY0" fmla="*/ 547979 h 891252"/>
                <a:gd name="connsiteX1" fmla="*/ 160498 w 1814160"/>
                <a:gd name="connsiteY1" fmla="*/ 346369 h 891252"/>
                <a:gd name="connsiteX2" fmla="*/ 418903 w 1814160"/>
                <a:gd name="connsiteY2" fmla="*/ 45959 h 891252"/>
                <a:gd name="connsiteX3" fmla="*/ 718632 w 1814160"/>
                <a:gd name="connsiteY3" fmla="*/ 51062 h 891252"/>
                <a:gd name="connsiteX4" fmla="*/ 1814160 w 1814160"/>
                <a:gd name="connsiteY4" fmla="*/ 774169 h 891252"/>
                <a:gd name="connsiteX5" fmla="*/ 1709456 w 1814160"/>
                <a:gd name="connsiteY5" fmla="*/ 891252 h 891252"/>
                <a:gd name="connsiteX6" fmla="*/ 212611 w 1814160"/>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87227"/>
                <a:gd name="connsiteY0" fmla="*/ 547979 h 891252"/>
                <a:gd name="connsiteX1" fmla="*/ 160498 w 1787227"/>
                <a:gd name="connsiteY1" fmla="*/ 346369 h 891252"/>
                <a:gd name="connsiteX2" fmla="*/ 418903 w 1787227"/>
                <a:gd name="connsiteY2" fmla="*/ 45959 h 891252"/>
                <a:gd name="connsiteX3" fmla="*/ 718632 w 1787227"/>
                <a:gd name="connsiteY3" fmla="*/ 51062 h 891252"/>
                <a:gd name="connsiteX4" fmla="*/ 1787227 w 1787227"/>
                <a:gd name="connsiteY4" fmla="*/ 755937 h 891252"/>
                <a:gd name="connsiteX5" fmla="*/ 1709456 w 1787227"/>
                <a:gd name="connsiteY5" fmla="*/ 891252 h 891252"/>
                <a:gd name="connsiteX6" fmla="*/ 212611 w 1787227"/>
                <a:gd name="connsiteY6" fmla="*/ 547979 h 891252"/>
                <a:gd name="connsiteX0" fmla="*/ 212611 w 1778249"/>
                <a:gd name="connsiteY0" fmla="*/ 547979 h 891252"/>
                <a:gd name="connsiteX1" fmla="*/ 160498 w 1778249"/>
                <a:gd name="connsiteY1" fmla="*/ 346369 h 891252"/>
                <a:gd name="connsiteX2" fmla="*/ 418903 w 1778249"/>
                <a:gd name="connsiteY2" fmla="*/ 45959 h 891252"/>
                <a:gd name="connsiteX3" fmla="*/ 718632 w 1778249"/>
                <a:gd name="connsiteY3" fmla="*/ 51062 h 891252"/>
                <a:gd name="connsiteX4" fmla="*/ 1778249 w 1778249"/>
                <a:gd name="connsiteY4" fmla="*/ 750729 h 891252"/>
                <a:gd name="connsiteX5" fmla="*/ 1709456 w 1778249"/>
                <a:gd name="connsiteY5" fmla="*/ 891252 h 891252"/>
                <a:gd name="connsiteX6" fmla="*/ 212611 w 1778249"/>
                <a:gd name="connsiteY6" fmla="*/ 547979 h 891252"/>
                <a:gd name="connsiteX0" fmla="*/ 212611 w 1778249"/>
                <a:gd name="connsiteY0" fmla="*/ 547979 h 891252"/>
                <a:gd name="connsiteX1" fmla="*/ 160498 w 1778249"/>
                <a:gd name="connsiteY1" fmla="*/ 346369 h 891252"/>
                <a:gd name="connsiteX2" fmla="*/ 418903 w 1778249"/>
                <a:gd name="connsiteY2" fmla="*/ 45959 h 891252"/>
                <a:gd name="connsiteX3" fmla="*/ 718632 w 1778249"/>
                <a:gd name="connsiteY3" fmla="*/ 51062 h 891252"/>
                <a:gd name="connsiteX4" fmla="*/ 1778249 w 1778249"/>
                <a:gd name="connsiteY4" fmla="*/ 750729 h 891252"/>
                <a:gd name="connsiteX5" fmla="*/ 1700478 w 1778249"/>
                <a:gd name="connsiteY5" fmla="*/ 891252 h 891252"/>
                <a:gd name="connsiteX6" fmla="*/ 212611 w 1778249"/>
                <a:gd name="connsiteY6" fmla="*/ 547979 h 89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249" h="891252">
                  <a:moveTo>
                    <a:pt x="212611" y="547979"/>
                  </a:moveTo>
                  <a:cubicBezTo>
                    <a:pt x="564384" y="169698"/>
                    <a:pt x="327680" y="281848"/>
                    <a:pt x="160498" y="346369"/>
                  </a:cubicBezTo>
                  <a:cubicBezTo>
                    <a:pt x="-309276" y="522496"/>
                    <a:pt x="399850" y="-182200"/>
                    <a:pt x="418903" y="45959"/>
                  </a:cubicBezTo>
                  <a:cubicBezTo>
                    <a:pt x="433070" y="154217"/>
                    <a:pt x="534129" y="179410"/>
                    <a:pt x="718632" y="51062"/>
                  </a:cubicBezTo>
                  <a:cubicBezTo>
                    <a:pt x="1226005" y="388023"/>
                    <a:pt x="1319983" y="440003"/>
                    <a:pt x="1778249" y="750729"/>
                  </a:cubicBezTo>
                  <a:cubicBezTo>
                    <a:pt x="1760138" y="779775"/>
                    <a:pt x="1717857" y="850838"/>
                    <a:pt x="1700478" y="891252"/>
                  </a:cubicBezTo>
                  <a:lnTo>
                    <a:pt x="212611" y="547979"/>
                  </a:lnTo>
                  <a:close/>
                </a:path>
              </a:pathLst>
            </a:custGeom>
            <a:solidFill>
              <a:srgbClr val="DFE6ED">
                <a:alpha val="54000"/>
              </a:srgbClr>
            </a:solidFill>
            <a:ln>
              <a:noFill/>
            </a:ln>
            <a:effectLst>
              <a:outerShdw blurRad="279400" dist="38100" dir="2700000" algn="tl" rotWithShape="0">
                <a:prstClr val="black">
                  <a:alpha val="40000"/>
                </a:prstClr>
              </a:outerShdw>
            </a:effectLst>
            <a:scene3d>
              <a:camera prst="orthographicFront"/>
              <a:lightRig rig="sunset" dir="t"/>
            </a:scene3d>
            <a:sp3d prstMaterial="clear">
              <a:bevelT w="50800" h="133350"/>
              <a:bevelB w="25400" h="107950"/>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33" name="Freihandform 32"/>
            <p:cNvSpPr/>
            <p:nvPr/>
          </p:nvSpPr>
          <p:spPr bwMode="auto">
            <a:xfrm>
              <a:off x="6648127" y="3155088"/>
              <a:ext cx="1272871" cy="1196912"/>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4788590 w 5964568"/>
                <a:gd name="connsiteY13" fmla="*/ 50815 h 3223934"/>
                <a:gd name="connsiteX14" fmla="*/ 5066181 w 5964568"/>
                <a:gd name="connsiteY14" fmla="*/ 91750 h 3223934"/>
                <a:gd name="connsiteX15" fmla="*/ 5478894 w 5964568"/>
                <a:gd name="connsiteY15" fmla="*/ 0 h 3223934"/>
                <a:gd name="connsiteX16" fmla="*/ 5964568 w 5964568"/>
                <a:gd name="connsiteY16" fmla="*/ 320593 h 3223934"/>
                <a:gd name="connsiteX17" fmla="*/ 1736389 w 5964568"/>
                <a:gd name="connsiteY17" fmla="*/ 3223934 h 3223934"/>
                <a:gd name="connsiteX18" fmla="*/ 212611 w 5964568"/>
                <a:gd name="connsiteY18"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5066181 w 5964568"/>
                <a:gd name="connsiteY13" fmla="*/ 91750 h 3223934"/>
                <a:gd name="connsiteX14" fmla="*/ 5478894 w 5964568"/>
                <a:gd name="connsiteY14" fmla="*/ 0 h 3223934"/>
                <a:gd name="connsiteX15" fmla="*/ 5964568 w 5964568"/>
                <a:gd name="connsiteY15" fmla="*/ 320593 h 3223934"/>
                <a:gd name="connsiteX16" fmla="*/ 1736389 w 5964568"/>
                <a:gd name="connsiteY16" fmla="*/ 3223934 h 3223934"/>
                <a:gd name="connsiteX17" fmla="*/ 212611 w 5964568"/>
                <a:gd name="connsiteY17"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5478894 w 5964568"/>
                <a:gd name="connsiteY13" fmla="*/ 0 h 3223934"/>
                <a:gd name="connsiteX14" fmla="*/ 5964568 w 5964568"/>
                <a:gd name="connsiteY14" fmla="*/ 320593 h 3223934"/>
                <a:gd name="connsiteX15" fmla="*/ 1736389 w 5964568"/>
                <a:gd name="connsiteY15" fmla="*/ 3223934 h 3223934"/>
                <a:gd name="connsiteX16" fmla="*/ 212611 w 5964568"/>
                <a:gd name="connsiteY16" fmla="*/ 2870244 h 3223934"/>
                <a:gd name="connsiteX0" fmla="*/ 212611 w 5478895"/>
                <a:gd name="connsiteY0" fmla="*/ 2870244 h 3223934"/>
                <a:gd name="connsiteX1" fmla="*/ 160498 w 5478895"/>
                <a:gd name="connsiteY1" fmla="*/ 2668634 h 3223934"/>
                <a:gd name="connsiteX2" fmla="*/ 418903 w 5478895"/>
                <a:gd name="connsiteY2" fmla="*/ 2368224 h 3223934"/>
                <a:gd name="connsiteX3" fmla="*/ 914255 w 5478895"/>
                <a:gd name="connsiteY3" fmla="*/ 2219818 h 3223934"/>
                <a:gd name="connsiteX4" fmla="*/ 1020177 w 5478895"/>
                <a:gd name="connsiteY4" fmla="*/ 1815980 h 3223934"/>
                <a:gd name="connsiteX5" fmla="*/ 714335 w 5478895"/>
                <a:gd name="connsiteY5" fmla="*/ 1909510 h 3223934"/>
                <a:gd name="connsiteX6" fmla="*/ 1523207 w 5478895"/>
                <a:gd name="connsiteY6" fmla="*/ 1195792 h 3223934"/>
                <a:gd name="connsiteX7" fmla="*/ 1433591 w 5478895"/>
                <a:gd name="connsiteY7" fmla="*/ 1467539 h 3223934"/>
                <a:gd name="connsiteX8" fmla="*/ 2320564 w 5478895"/>
                <a:gd name="connsiteY8" fmla="*/ 954861 h 3223934"/>
                <a:gd name="connsiteX9" fmla="*/ 1934587 w 5478895"/>
                <a:gd name="connsiteY9" fmla="*/ 936083 h 3223934"/>
                <a:gd name="connsiteX10" fmla="*/ 2724695 w 5478895"/>
                <a:gd name="connsiteY10" fmla="*/ 645345 h 3223934"/>
                <a:gd name="connsiteX11" fmla="*/ 2671161 w 5478895"/>
                <a:gd name="connsiteY11" fmla="*/ 812170 h 3223934"/>
                <a:gd name="connsiteX12" fmla="*/ 3352287 w 5478895"/>
                <a:gd name="connsiteY12" fmla="*/ 518178 h 3223934"/>
                <a:gd name="connsiteX13" fmla="*/ 5478894 w 5478895"/>
                <a:gd name="connsiteY13" fmla="*/ 0 h 3223934"/>
                <a:gd name="connsiteX14" fmla="*/ 3702529 w 5478895"/>
                <a:gd name="connsiteY14" fmla="*/ 1181164 h 3223934"/>
                <a:gd name="connsiteX15" fmla="*/ 1736389 w 5478895"/>
                <a:gd name="connsiteY15" fmla="*/ 3223934 h 3223934"/>
                <a:gd name="connsiteX16" fmla="*/ 212611 w 5478895"/>
                <a:gd name="connsiteY16" fmla="*/ 2870244 h 3223934"/>
                <a:gd name="connsiteX0" fmla="*/ 212611 w 5478894"/>
                <a:gd name="connsiteY0" fmla="*/ 2870244 h 3223934"/>
                <a:gd name="connsiteX1" fmla="*/ 160498 w 5478894"/>
                <a:gd name="connsiteY1" fmla="*/ 2668634 h 3223934"/>
                <a:gd name="connsiteX2" fmla="*/ 418903 w 5478894"/>
                <a:gd name="connsiteY2" fmla="*/ 2368224 h 3223934"/>
                <a:gd name="connsiteX3" fmla="*/ 914255 w 5478894"/>
                <a:gd name="connsiteY3" fmla="*/ 2219818 h 3223934"/>
                <a:gd name="connsiteX4" fmla="*/ 1020177 w 5478894"/>
                <a:gd name="connsiteY4" fmla="*/ 1815980 h 3223934"/>
                <a:gd name="connsiteX5" fmla="*/ 714335 w 5478894"/>
                <a:gd name="connsiteY5" fmla="*/ 1909510 h 3223934"/>
                <a:gd name="connsiteX6" fmla="*/ 1523207 w 5478894"/>
                <a:gd name="connsiteY6" fmla="*/ 1195792 h 3223934"/>
                <a:gd name="connsiteX7" fmla="*/ 1433591 w 5478894"/>
                <a:gd name="connsiteY7" fmla="*/ 1467539 h 3223934"/>
                <a:gd name="connsiteX8" fmla="*/ 2320564 w 5478894"/>
                <a:gd name="connsiteY8" fmla="*/ 954861 h 3223934"/>
                <a:gd name="connsiteX9" fmla="*/ 1934587 w 5478894"/>
                <a:gd name="connsiteY9" fmla="*/ 936083 h 3223934"/>
                <a:gd name="connsiteX10" fmla="*/ 2724695 w 5478894"/>
                <a:gd name="connsiteY10" fmla="*/ 645345 h 3223934"/>
                <a:gd name="connsiteX11" fmla="*/ 2671161 w 5478894"/>
                <a:gd name="connsiteY11" fmla="*/ 812170 h 3223934"/>
                <a:gd name="connsiteX12" fmla="*/ 3352287 w 5478894"/>
                <a:gd name="connsiteY12" fmla="*/ 518178 h 3223934"/>
                <a:gd name="connsiteX13" fmla="*/ 5478894 w 5478894"/>
                <a:gd name="connsiteY13" fmla="*/ 0 h 3223934"/>
                <a:gd name="connsiteX14" fmla="*/ 3702529 w 5478894"/>
                <a:gd name="connsiteY14" fmla="*/ 1181164 h 3223934"/>
                <a:gd name="connsiteX15" fmla="*/ 1736389 w 5478894"/>
                <a:gd name="connsiteY15" fmla="*/ 3223934 h 3223934"/>
                <a:gd name="connsiteX16" fmla="*/ 212611 w 5478894"/>
                <a:gd name="connsiteY16" fmla="*/ 2870244 h 3223934"/>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714335 w 3786748"/>
                <a:gd name="connsiteY5" fmla="*/ 1395377 h 2709801"/>
                <a:gd name="connsiteX6" fmla="*/ 1523207 w 3786748"/>
                <a:gd name="connsiteY6" fmla="*/ 681659 h 2709801"/>
                <a:gd name="connsiteX7" fmla="*/ 1433591 w 3786748"/>
                <a:gd name="connsiteY7" fmla="*/ 953406 h 2709801"/>
                <a:gd name="connsiteX8" fmla="*/ 2320564 w 3786748"/>
                <a:gd name="connsiteY8" fmla="*/ 440728 h 2709801"/>
                <a:gd name="connsiteX9" fmla="*/ 1934587 w 3786748"/>
                <a:gd name="connsiteY9" fmla="*/ 421950 h 2709801"/>
                <a:gd name="connsiteX10" fmla="*/ 2724695 w 3786748"/>
                <a:gd name="connsiteY10" fmla="*/ 131212 h 2709801"/>
                <a:gd name="connsiteX11" fmla="*/ 2671161 w 3786748"/>
                <a:gd name="connsiteY11" fmla="*/ 298037 h 2709801"/>
                <a:gd name="connsiteX12" fmla="*/ 3352287 w 3786748"/>
                <a:gd name="connsiteY12" fmla="*/ 4045 h 2709801"/>
                <a:gd name="connsiteX13" fmla="*/ 3702529 w 3786748"/>
                <a:gd name="connsiteY13" fmla="*/ 667031 h 2709801"/>
                <a:gd name="connsiteX14" fmla="*/ 1736389 w 3786748"/>
                <a:gd name="connsiteY14" fmla="*/ 2709801 h 2709801"/>
                <a:gd name="connsiteX15" fmla="*/ 212611 w 3786748"/>
                <a:gd name="connsiteY15"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714335 w 3786748"/>
                <a:gd name="connsiteY5" fmla="*/ 1395377 h 2709801"/>
                <a:gd name="connsiteX6" fmla="*/ 1433591 w 3786748"/>
                <a:gd name="connsiteY6" fmla="*/ 953406 h 2709801"/>
                <a:gd name="connsiteX7" fmla="*/ 2320564 w 3786748"/>
                <a:gd name="connsiteY7" fmla="*/ 440728 h 2709801"/>
                <a:gd name="connsiteX8" fmla="*/ 1934587 w 3786748"/>
                <a:gd name="connsiteY8" fmla="*/ 421950 h 2709801"/>
                <a:gd name="connsiteX9" fmla="*/ 2724695 w 3786748"/>
                <a:gd name="connsiteY9" fmla="*/ 131212 h 2709801"/>
                <a:gd name="connsiteX10" fmla="*/ 2671161 w 3786748"/>
                <a:gd name="connsiteY10" fmla="*/ 298037 h 2709801"/>
                <a:gd name="connsiteX11" fmla="*/ 3352287 w 3786748"/>
                <a:gd name="connsiteY11" fmla="*/ 4045 h 2709801"/>
                <a:gd name="connsiteX12" fmla="*/ 3702529 w 3786748"/>
                <a:gd name="connsiteY12" fmla="*/ 667031 h 2709801"/>
                <a:gd name="connsiteX13" fmla="*/ 1736389 w 3786748"/>
                <a:gd name="connsiteY13" fmla="*/ 2709801 h 2709801"/>
                <a:gd name="connsiteX14" fmla="*/ 212611 w 3786748"/>
                <a:gd name="connsiteY14"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020177 w 3786748"/>
                <a:gd name="connsiteY4" fmla="*/ 1301847 h 2709801"/>
                <a:gd name="connsiteX5" fmla="*/ 1433591 w 3786748"/>
                <a:gd name="connsiteY5" fmla="*/ 953406 h 2709801"/>
                <a:gd name="connsiteX6" fmla="*/ 2320564 w 3786748"/>
                <a:gd name="connsiteY6" fmla="*/ 440728 h 2709801"/>
                <a:gd name="connsiteX7" fmla="*/ 1934587 w 3786748"/>
                <a:gd name="connsiteY7" fmla="*/ 421950 h 2709801"/>
                <a:gd name="connsiteX8" fmla="*/ 2724695 w 3786748"/>
                <a:gd name="connsiteY8" fmla="*/ 131212 h 2709801"/>
                <a:gd name="connsiteX9" fmla="*/ 2671161 w 3786748"/>
                <a:gd name="connsiteY9" fmla="*/ 298037 h 2709801"/>
                <a:gd name="connsiteX10" fmla="*/ 3352287 w 3786748"/>
                <a:gd name="connsiteY10" fmla="*/ 4045 h 2709801"/>
                <a:gd name="connsiteX11" fmla="*/ 3702529 w 3786748"/>
                <a:gd name="connsiteY11" fmla="*/ 667031 h 2709801"/>
                <a:gd name="connsiteX12" fmla="*/ 1736389 w 3786748"/>
                <a:gd name="connsiteY12" fmla="*/ 2709801 h 2709801"/>
                <a:gd name="connsiteX13" fmla="*/ 212611 w 3786748"/>
                <a:gd name="connsiteY13"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914255 w 3786748"/>
                <a:gd name="connsiteY3" fmla="*/ 1705685 h 2709801"/>
                <a:gd name="connsiteX4" fmla="*/ 1433591 w 3786748"/>
                <a:gd name="connsiteY4" fmla="*/ 953406 h 2709801"/>
                <a:gd name="connsiteX5" fmla="*/ 2320564 w 3786748"/>
                <a:gd name="connsiteY5" fmla="*/ 440728 h 2709801"/>
                <a:gd name="connsiteX6" fmla="*/ 1934587 w 3786748"/>
                <a:gd name="connsiteY6" fmla="*/ 421950 h 2709801"/>
                <a:gd name="connsiteX7" fmla="*/ 2724695 w 3786748"/>
                <a:gd name="connsiteY7" fmla="*/ 131212 h 2709801"/>
                <a:gd name="connsiteX8" fmla="*/ 2671161 w 3786748"/>
                <a:gd name="connsiteY8" fmla="*/ 298037 h 2709801"/>
                <a:gd name="connsiteX9" fmla="*/ 3352287 w 3786748"/>
                <a:gd name="connsiteY9" fmla="*/ 4045 h 2709801"/>
                <a:gd name="connsiteX10" fmla="*/ 3702529 w 3786748"/>
                <a:gd name="connsiteY10" fmla="*/ 667031 h 2709801"/>
                <a:gd name="connsiteX11" fmla="*/ 1736389 w 3786748"/>
                <a:gd name="connsiteY11" fmla="*/ 2709801 h 2709801"/>
                <a:gd name="connsiteX12" fmla="*/ 212611 w 3786748"/>
                <a:gd name="connsiteY12" fmla="*/ 2356111 h 2709801"/>
                <a:gd name="connsiteX0" fmla="*/ 212611 w 3786748"/>
                <a:gd name="connsiteY0" fmla="*/ 2356111 h 2709801"/>
                <a:gd name="connsiteX1" fmla="*/ 160498 w 3786748"/>
                <a:gd name="connsiteY1" fmla="*/ 2154501 h 2709801"/>
                <a:gd name="connsiteX2" fmla="*/ 418903 w 3786748"/>
                <a:gd name="connsiteY2" fmla="*/ 1854091 h 2709801"/>
                <a:gd name="connsiteX3" fmla="*/ 1433591 w 3786748"/>
                <a:gd name="connsiteY3" fmla="*/ 953406 h 2709801"/>
                <a:gd name="connsiteX4" fmla="*/ 2320564 w 3786748"/>
                <a:gd name="connsiteY4" fmla="*/ 440728 h 2709801"/>
                <a:gd name="connsiteX5" fmla="*/ 1934587 w 3786748"/>
                <a:gd name="connsiteY5" fmla="*/ 421950 h 2709801"/>
                <a:gd name="connsiteX6" fmla="*/ 2724695 w 3786748"/>
                <a:gd name="connsiteY6" fmla="*/ 131212 h 2709801"/>
                <a:gd name="connsiteX7" fmla="*/ 2671161 w 3786748"/>
                <a:gd name="connsiteY7" fmla="*/ 298037 h 2709801"/>
                <a:gd name="connsiteX8" fmla="*/ 3352287 w 3786748"/>
                <a:gd name="connsiteY8" fmla="*/ 4045 h 2709801"/>
                <a:gd name="connsiteX9" fmla="*/ 3702529 w 3786748"/>
                <a:gd name="connsiteY9" fmla="*/ 667031 h 2709801"/>
                <a:gd name="connsiteX10" fmla="*/ 1736389 w 3786748"/>
                <a:gd name="connsiteY10" fmla="*/ 2709801 h 2709801"/>
                <a:gd name="connsiteX11" fmla="*/ 212611 w 3786748"/>
                <a:gd name="connsiteY11" fmla="*/ 2356111 h 2709801"/>
                <a:gd name="connsiteX0" fmla="*/ 94927 w 3669064"/>
                <a:gd name="connsiteY0" fmla="*/ 2356111 h 2709801"/>
                <a:gd name="connsiteX1" fmla="*/ 42814 w 3669064"/>
                <a:gd name="connsiteY1" fmla="*/ 2154501 h 2709801"/>
                <a:gd name="connsiteX2" fmla="*/ 1315907 w 3669064"/>
                <a:gd name="connsiteY2" fmla="*/ 953406 h 2709801"/>
                <a:gd name="connsiteX3" fmla="*/ 2202880 w 3669064"/>
                <a:gd name="connsiteY3" fmla="*/ 440728 h 2709801"/>
                <a:gd name="connsiteX4" fmla="*/ 1816903 w 3669064"/>
                <a:gd name="connsiteY4" fmla="*/ 421950 h 2709801"/>
                <a:gd name="connsiteX5" fmla="*/ 2607011 w 3669064"/>
                <a:gd name="connsiteY5" fmla="*/ 131212 h 2709801"/>
                <a:gd name="connsiteX6" fmla="*/ 2553477 w 3669064"/>
                <a:gd name="connsiteY6" fmla="*/ 298037 h 2709801"/>
                <a:gd name="connsiteX7" fmla="*/ 3234603 w 3669064"/>
                <a:gd name="connsiteY7" fmla="*/ 4045 h 2709801"/>
                <a:gd name="connsiteX8" fmla="*/ 3584845 w 3669064"/>
                <a:gd name="connsiteY8" fmla="*/ 667031 h 2709801"/>
                <a:gd name="connsiteX9" fmla="*/ 1618705 w 3669064"/>
                <a:gd name="connsiteY9" fmla="*/ 2709801 h 2709801"/>
                <a:gd name="connsiteX10" fmla="*/ 94927 w 3669064"/>
                <a:gd name="connsiteY10" fmla="*/ 2356111 h 2709801"/>
                <a:gd name="connsiteX0" fmla="*/ 1996 w 3576133"/>
                <a:gd name="connsiteY0" fmla="*/ 2356111 h 2709801"/>
                <a:gd name="connsiteX1" fmla="*/ 1222976 w 3576133"/>
                <a:gd name="connsiteY1" fmla="*/ 953406 h 2709801"/>
                <a:gd name="connsiteX2" fmla="*/ 2109949 w 3576133"/>
                <a:gd name="connsiteY2" fmla="*/ 440728 h 2709801"/>
                <a:gd name="connsiteX3" fmla="*/ 1723972 w 3576133"/>
                <a:gd name="connsiteY3" fmla="*/ 421950 h 2709801"/>
                <a:gd name="connsiteX4" fmla="*/ 2514080 w 3576133"/>
                <a:gd name="connsiteY4" fmla="*/ 131212 h 2709801"/>
                <a:gd name="connsiteX5" fmla="*/ 2460546 w 3576133"/>
                <a:gd name="connsiteY5" fmla="*/ 298037 h 2709801"/>
                <a:gd name="connsiteX6" fmla="*/ 3141672 w 3576133"/>
                <a:gd name="connsiteY6" fmla="*/ 4045 h 2709801"/>
                <a:gd name="connsiteX7" fmla="*/ 3491914 w 3576133"/>
                <a:gd name="connsiteY7" fmla="*/ 667031 h 2709801"/>
                <a:gd name="connsiteX8" fmla="*/ 1525774 w 3576133"/>
                <a:gd name="connsiteY8" fmla="*/ 2709801 h 2709801"/>
                <a:gd name="connsiteX9" fmla="*/ 1996 w 3576133"/>
                <a:gd name="connsiteY9" fmla="*/ 2356111 h 2709801"/>
                <a:gd name="connsiteX0" fmla="*/ 302798 w 2353157"/>
                <a:gd name="connsiteY0" fmla="*/ 2709801 h 2709801"/>
                <a:gd name="connsiteX1" fmla="*/ 0 w 2353157"/>
                <a:gd name="connsiteY1" fmla="*/ 953406 h 2709801"/>
                <a:gd name="connsiteX2" fmla="*/ 886973 w 2353157"/>
                <a:gd name="connsiteY2" fmla="*/ 440728 h 2709801"/>
                <a:gd name="connsiteX3" fmla="*/ 500996 w 2353157"/>
                <a:gd name="connsiteY3" fmla="*/ 421950 h 2709801"/>
                <a:gd name="connsiteX4" fmla="*/ 1291104 w 2353157"/>
                <a:gd name="connsiteY4" fmla="*/ 131212 h 2709801"/>
                <a:gd name="connsiteX5" fmla="*/ 1237570 w 2353157"/>
                <a:gd name="connsiteY5" fmla="*/ 298037 h 2709801"/>
                <a:gd name="connsiteX6" fmla="*/ 1918696 w 2353157"/>
                <a:gd name="connsiteY6" fmla="*/ 4045 h 2709801"/>
                <a:gd name="connsiteX7" fmla="*/ 2268938 w 2353157"/>
                <a:gd name="connsiteY7" fmla="*/ 667031 h 2709801"/>
                <a:gd name="connsiteX8" fmla="*/ 302798 w 2353157"/>
                <a:gd name="connsiteY8" fmla="*/ 2709801 h 2709801"/>
                <a:gd name="connsiteX0" fmla="*/ 1345775 w 2353157"/>
                <a:gd name="connsiteY0" fmla="*/ 1424839 h 1424839"/>
                <a:gd name="connsiteX1" fmla="*/ 0 w 2353157"/>
                <a:gd name="connsiteY1" fmla="*/ 953406 h 1424839"/>
                <a:gd name="connsiteX2" fmla="*/ 886973 w 2353157"/>
                <a:gd name="connsiteY2" fmla="*/ 440728 h 1424839"/>
                <a:gd name="connsiteX3" fmla="*/ 500996 w 2353157"/>
                <a:gd name="connsiteY3" fmla="*/ 421950 h 1424839"/>
                <a:gd name="connsiteX4" fmla="*/ 1291104 w 2353157"/>
                <a:gd name="connsiteY4" fmla="*/ 131212 h 1424839"/>
                <a:gd name="connsiteX5" fmla="*/ 1237570 w 2353157"/>
                <a:gd name="connsiteY5" fmla="*/ 298037 h 1424839"/>
                <a:gd name="connsiteX6" fmla="*/ 1918696 w 2353157"/>
                <a:gd name="connsiteY6" fmla="*/ 4045 h 1424839"/>
                <a:gd name="connsiteX7" fmla="*/ 2268938 w 2353157"/>
                <a:gd name="connsiteY7" fmla="*/ 667031 h 1424839"/>
                <a:gd name="connsiteX8" fmla="*/ 1345775 w 2353157"/>
                <a:gd name="connsiteY8" fmla="*/ 1424839 h 1424839"/>
                <a:gd name="connsiteX0" fmla="*/ 1345775 w 2353157"/>
                <a:gd name="connsiteY0" fmla="*/ 1424839 h 1424839"/>
                <a:gd name="connsiteX1" fmla="*/ 0 w 2353157"/>
                <a:gd name="connsiteY1" fmla="*/ 953406 h 1424839"/>
                <a:gd name="connsiteX2" fmla="*/ 886973 w 2353157"/>
                <a:gd name="connsiteY2" fmla="*/ 440728 h 1424839"/>
                <a:gd name="connsiteX3" fmla="*/ 500996 w 2353157"/>
                <a:gd name="connsiteY3" fmla="*/ 421950 h 1424839"/>
                <a:gd name="connsiteX4" fmla="*/ 1291104 w 2353157"/>
                <a:gd name="connsiteY4" fmla="*/ 131212 h 1424839"/>
                <a:gd name="connsiteX5" fmla="*/ 1237570 w 2353157"/>
                <a:gd name="connsiteY5" fmla="*/ 298037 h 1424839"/>
                <a:gd name="connsiteX6" fmla="*/ 1918696 w 2353157"/>
                <a:gd name="connsiteY6" fmla="*/ 4045 h 1424839"/>
                <a:gd name="connsiteX7" fmla="*/ 2268938 w 2353157"/>
                <a:gd name="connsiteY7" fmla="*/ 667031 h 1424839"/>
                <a:gd name="connsiteX8" fmla="*/ 1345775 w 2353157"/>
                <a:gd name="connsiteY8" fmla="*/ 1424839 h 1424839"/>
                <a:gd name="connsiteX0" fmla="*/ 1345775 w 2326071"/>
                <a:gd name="connsiteY0" fmla="*/ 1312784 h 1312784"/>
                <a:gd name="connsiteX1" fmla="*/ 0 w 2326071"/>
                <a:gd name="connsiteY1" fmla="*/ 841351 h 1312784"/>
                <a:gd name="connsiteX2" fmla="*/ 886973 w 2326071"/>
                <a:gd name="connsiteY2" fmla="*/ 328673 h 1312784"/>
                <a:gd name="connsiteX3" fmla="*/ 500996 w 2326071"/>
                <a:gd name="connsiteY3" fmla="*/ 309895 h 1312784"/>
                <a:gd name="connsiteX4" fmla="*/ 1291104 w 2326071"/>
                <a:gd name="connsiteY4" fmla="*/ 19157 h 1312784"/>
                <a:gd name="connsiteX5" fmla="*/ 1237570 w 2326071"/>
                <a:gd name="connsiteY5" fmla="*/ 185982 h 1312784"/>
                <a:gd name="connsiteX6" fmla="*/ 1605547 w 2326071"/>
                <a:gd name="connsiteY6" fmla="*/ 183326 h 1312784"/>
                <a:gd name="connsiteX7" fmla="*/ 2268938 w 2326071"/>
                <a:gd name="connsiteY7" fmla="*/ 554976 h 1312784"/>
                <a:gd name="connsiteX8" fmla="*/ 1345775 w 2326071"/>
                <a:gd name="connsiteY8" fmla="*/ 1312784 h 1312784"/>
                <a:gd name="connsiteX0" fmla="*/ 1345775 w 2326191"/>
                <a:gd name="connsiteY0" fmla="*/ 1312784 h 1312784"/>
                <a:gd name="connsiteX1" fmla="*/ 0 w 2326191"/>
                <a:gd name="connsiteY1" fmla="*/ 841351 h 1312784"/>
                <a:gd name="connsiteX2" fmla="*/ 886973 w 2326191"/>
                <a:gd name="connsiteY2" fmla="*/ 328673 h 1312784"/>
                <a:gd name="connsiteX3" fmla="*/ 500996 w 2326191"/>
                <a:gd name="connsiteY3" fmla="*/ 309895 h 1312784"/>
                <a:gd name="connsiteX4" fmla="*/ 1291104 w 2326191"/>
                <a:gd name="connsiteY4" fmla="*/ 19157 h 1312784"/>
                <a:gd name="connsiteX5" fmla="*/ 1237570 w 2326191"/>
                <a:gd name="connsiteY5" fmla="*/ 185982 h 1312784"/>
                <a:gd name="connsiteX6" fmla="*/ 1605547 w 2326191"/>
                <a:gd name="connsiteY6" fmla="*/ 183326 h 1312784"/>
                <a:gd name="connsiteX7" fmla="*/ 2268938 w 2326191"/>
                <a:gd name="connsiteY7" fmla="*/ 554976 h 1312784"/>
                <a:gd name="connsiteX8" fmla="*/ 1345775 w 2326191"/>
                <a:gd name="connsiteY8" fmla="*/ 1312784 h 1312784"/>
                <a:gd name="connsiteX0" fmla="*/ 1345775 w 2322756"/>
                <a:gd name="connsiteY0" fmla="*/ 1312784 h 1312784"/>
                <a:gd name="connsiteX1" fmla="*/ 0 w 2322756"/>
                <a:gd name="connsiteY1" fmla="*/ 841351 h 1312784"/>
                <a:gd name="connsiteX2" fmla="*/ 886973 w 2322756"/>
                <a:gd name="connsiteY2" fmla="*/ 328673 h 1312784"/>
                <a:gd name="connsiteX3" fmla="*/ 500996 w 2322756"/>
                <a:gd name="connsiteY3" fmla="*/ 309895 h 1312784"/>
                <a:gd name="connsiteX4" fmla="*/ 1291104 w 2322756"/>
                <a:gd name="connsiteY4" fmla="*/ 19157 h 1312784"/>
                <a:gd name="connsiteX5" fmla="*/ 1237570 w 2322756"/>
                <a:gd name="connsiteY5" fmla="*/ 185982 h 1312784"/>
                <a:gd name="connsiteX6" fmla="*/ 1605547 w 2322756"/>
                <a:gd name="connsiteY6" fmla="*/ 183326 h 1312784"/>
                <a:gd name="connsiteX7" fmla="*/ 2268938 w 2322756"/>
                <a:gd name="connsiteY7" fmla="*/ 554976 h 1312784"/>
                <a:gd name="connsiteX8" fmla="*/ 1345775 w 2322756"/>
                <a:gd name="connsiteY8" fmla="*/ 1312784 h 1312784"/>
                <a:gd name="connsiteX0" fmla="*/ 1345775 w 2322756"/>
                <a:gd name="connsiteY0" fmla="*/ 1312784 h 1312784"/>
                <a:gd name="connsiteX1" fmla="*/ 0 w 2322756"/>
                <a:gd name="connsiteY1" fmla="*/ 841351 h 1312784"/>
                <a:gd name="connsiteX2" fmla="*/ 886973 w 2322756"/>
                <a:gd name="connsiteY2" fmla="*/ 328673 h 1312784"/>
                <a:gd name="connsiteX3" fmla="*/ 500996 w 2322756"/>
                <a:gd name="connsiteY3" fmla="*/ 309895 h 1312784"/>
                <a:gd name="connsiteX4" fmla="*/ 1291104 w 2322756"/>
                <a:gd name="connsiteY4" fmla="*/ 19157 h 1312784"/>
                <a:gd name="connsiteX5" fmla="*/ 1237570 w 2322756"/>
                <a:gd name="connsiteY5" fmla="*/ 185982 h 1312784"/>
                <a:gd name="connsiteX6" fmla="*/ 1605547 w 2322756"/>
                <a:gd name="connsiteY6" fmla="*/ 183326 h 1312784"/>
                <a:gd name="connsiteX7" fmla="*/ 2268938 w 2322756"/>
                <a:gd name="connsiteY7" fmla="*/ 554976 h 1312784"/>
                <a:gd name="connsiteX8" fmla="*/ 1345775 w 2322756"/>
                <a:gd name="connsiteY8" fmla="*/ 1312784 h 1312784"/>
                <a:gd name="connsiteX0" fmla="*/ 1345775 w 2322936"/>
                <a:gd name="connsiteY0" fmla="*/ 1312784 h 1312784"/>
                <a:gd name="connsiteX1" fmla="*/ 0 w 2322936"/>
                <a:gd name="connsiteY1" fmla="*/ 841351 h 1312784"/>
                <a:gd name="connsiteX2" fmla="*/ 886973 w 2322936"/>
                <a:gd name="connsiteY2" fmla="*/ 328673 h 1312784"/>
                <a:gd name="connsiteX3" fmla="*/ 500996 w 2322936"/>
                <a:gd name="connsiteY3" fmla="*/ 309895 h 1312784"/>
                <a:gd name="connsiteX4" fmla="*/ 1291104 w 2322936"/>
                <a:gd name="connsiteY4" fmla="*/ 19157 h 1312784"/>
                <a:gd name="connsiteX5" fmla="*/ 1237570 w 2322936"/>
                <a:gd name="connsiteY5" fmla="*/ 185982 h 1312784"/>
                <a:gd name="connsiteX6" fmla="*/ 1605547 w 2322936"/>
                <a:gd name="connsiteY6" fmla="*/ 183326 h 1312784"/>
                <a:gd name="connsiteX7" fmla="*/ 2268938 w 2322936"/>
                <a:gd name="connsiteY7" fmla="*/ 554976 h 1312784"/>
                <a:gd name="connsiteX8" fmla="*/ 1345775 w 2322936"/>
                <a:gd name="connsiteY8" fmla="*/ 1312784 h 1312784"/>
                <a:gd name="connsiteX0" fmla="*/ 1345775 w 2323129"/>
                <a:gd name="connsiteY0" fmla="*/ 1312784 h 1312784"/>
                <a:gd name="connsiteX1" fmla="*/ 0 w 2323129"/>
                <a:gd name="connsiteY1" fmla="*/ 841351 h 1312784"/>
                <a:gd name="connsiteX2" fmla="*/ 886973 w 2323129"/>
                <a:gd name="connsiteY2" fmla="*/ 328673 h 1312784"/>
                <a:gd name="connsiteX3" fmla="*/ 500996 w 2323129"/>
                <a:gd name="connsiteY3" fmla="*/ 309895 h 1312784"/>
                <a:gd name="connsiteX4" fmla="*/ 1291104 w 2323129"/>
                <a:gd name="connsiteY4" fmla="*/ 19157 h 1312784"/>
                <a:gd name="connsiteX5" fmla="*/ 1237570 w 2323129"/>
                <a:gd name="connsiteY5" fmla="*/ 185982 h 1312784"/>
                <a:gd name="connsiteX6" fmla="*/ 1609146 w 2323129"/>
                <a:gd name="connsiteY6" fmla="*/ 173929 h 1312784"/>
                <a:gd name="connsiteX7" fmla="*/ 2268938 w 2323129"/>
                <a:gd name="connsiteY7" fmla="*/ 554976 h 1312784"/>
                <a:gd name="connsiteX8" fmla="*/ 1345775 w 2323129"/>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323128"/>
                <a:gd name="connsiteY0" fmla="*/ 1312784 h 1312784"/>
                <a:gd name="connsiteX1" fmla="*/ 0 w 2323128"/>
                <a:gd name="connsiteY1" fmla="*/ 841351 h 1312784"/>
                <a:gd name="connsiteX2" fmla="*/ 886973 w 2323128"/>
                <a:gd name="connsiteY2" fmla="*/ 328673 h 1312784"/>
                <a:gd name="connsiteX3" fmla="*/ 500996 w 2323128"/>
                <a:gd name="connsiteY3" fmla="*/ 309895 h 1312784"/>
                <a:gd name="connsiteX4" fmla="*/ 1291104 w 2323128"/>
                <a:gd name="connsiteY4" fmla="*/ 19157 h 1312784"/>
                <a:gd name="connsiteX5" fmla="*/ 1237570 w 2323128"/>
                <a:gd name="connsiteY5" fmla="*/ 185982 h 1312784"/>
                <a:gd name="connsiteX6" fmla="*/ 1609146 w 2323128"/>
                <a:gd name="connsiteY6" fmla="*/ 173929 h 1312784"/>
                <a:gd name="connsiteX7" fmla="*/ 2268938 w 2323128"/>
                <a:gd name="connsiteY7" fmla="*/ 554976 h 1312784"/>
                <a:gd name="connsiteX8" fmla="*/ 1345775 w 2323128"/>
                <a:gd name="connsiteY8" fmla="*/ 1312784 h 1312784"/>
                <a:gd name="connsiteX0" fmla="*/ 1345775 w 2268938"/>
                <a:gd name="connsiteY0" fmla="*/ 1312784 h 1312784"/>
                <a:gd name="connsiteX1" fmla="*/ 0 w 2268938"/>
                <a:gd name="connsiteY1" fmla="*/ 841351 h 1312784"/>
                <a:gd name="connsiteX2" fmla="*/ 886973 w 2268938"/>
                <a:gd name="connsiteY2" fmla="*/ 328673 h 1312784"/>
                <a:gd name="connsiteX3" fmla="*/ 500996 w 2268938"/>
                <a:gd name="connsiteY3" fmla="*/ 309895 h 1312784"/>
                <a:gd name="connsiteX4" fmla="*/ 1291104 w 2268938"/>
                <a:gd name="connsiteY4" fmla="*/ 19157 h 1312784"/>
                <a:gd name="connsiteX5" fmla="*/ 1237570 w 2268938"/>
                <a:gd name="connsiteY5" fmla="*/ 185982 h 1312784"/>
                <a:gd name="connsiteX6" fmla="*/ 1609146 w 2268938"/>
                <a:gd name="connsiteY6" fmla="*/ 173929 h 1312784"/>
                <a:gd name="connsiteX7" fmla="*/ 2268938 w 2268938"/>
                <a:gd name="connsiteY7" fmla="*/ 554976 h 1312784"/>
                <a:gd name="connsiteX8" fmla="*/ 1345775 w 2268938"/>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45775 w 2078170"/>
                <a:gd name="connsiteY0" fmla="*/ 1312784 h 1312784"/>
                <a:gd name="connsiteX1" fmla="*/ 0 w 2078170"/>
                <a:gd name="connsiteY1" fmla="*/ 841351 h 1312784"/>
                <a:gd name="connsiteX2" fmla="*/ 886973 w 2078170"/>
                <a:gd name="connsiteY2" fmla="*/ 328673 h 1312784"/>
                <a:gd name="connsiteX3" fmla="*/ 500996 w 2078170"/>
                <a:gd name="connsiteY3" fmla="*/ 309895 h 1312784"/>
                <a:gd name="connsiteX4" fmla="*/ 1291104 w 2078170"/>
                <a:gd name="connsiteY4" fmla="*/ 19157 h 1312784"/>
                <a:gd name="connsiteX5" fmla="*/ 1237570 w 2078170"/>
                <a:gd name="connsiteY5" fmla="*/ 185982 h 1312784"/>
                <a:gd name="connsiteX6" fmla="*/ 1609146 w 2078170"/>
                <a:gd name="connsiteY6" fmla="*/ 173929 h 1312784"/>
                <a:gd name="connsiteX7" fmla="*/ 2078170 w 2078170"/>
                <a:gd name="connsiteY7" fmla="*/ 670884 h 1312784"/>
                <a:gd name="connsiteX8" fmla="*/ 1345775 w 2078170"/>
                <a:gd name="connsiteY8" fmla="*/ 1312784 h 1312784"/>
                <a:gd name="connsiteX0" fmla="*/ 1327778 w 2078170"/>
                <a:gd name="connsiteY0" fmla="*/ 1281458 h 1281458"/>
                <a:gd name="connsiteX1" fmla="*/ 0 w 2078170"/>
                <a:gd name="connsiteY1" fmla="*/ 841351 h 1281458"/>
                <a:gd name="connsiteX2" fmla="*/ 886973 w 2078170"/>
                <a:gd name="connsiteY2" fmla="*/ 328673 h 1281458"/>
                <a:gd name="connsiteX3" fmla="*/ 500996 w 2078170"/>
                <a:gd name="connsiteY3" fmla="*/ 309895 h 1281458"/>
                <a:gd name="connsiteX4" fmla="*/ 1291104 w 2078170"/>
                <a:gd name="connsiteY4" fmla="*/ 19157 h 1281458"/>
                <a:gd name="connsiteX5" fmla="*/ 1237570 w 2078170"/>
                <a:gd name="connsiteY5" fmla="*/ 185982 h 1281458"/>
                <a:gd name="connsiteX6" fmla="*/ 1609146 w 2078170"/>
                <a:gd name="connsiteY6" fmla="*/ 173929 h 1281458"/>
                <a:gd name="connsiteX7" fmla="*/ 2078170 w 2078170"/>
                <a:gd name="connsiteY7" fmla="*/ 670884 h 1281458"/>
                <a:gd name="connsiteX8" fmla="*/ 1327778 w 2078170"/>
                <a:gd name="connsiteY8" fmla="*/ 1281458 h 1281458"/>
                <a:gd name="connsiteX0" fmla="*/ 1327778 w 2078170"/>
                <a:gd name="connsiteY0" fmla="*/ 1281458 h 1281458"/>
                <a:gd name="connsiteX1" fmla="*/ 0 w 2078170"/>
                <a:gd name="connsiteY1" fmla="*/ 841351 h 1281458"/>
                <a:gd name="connsiteX2" fmla="*/ 886973 w 2078170"/>
                <a:gd name="connsiteY2" fmla="*/ 328673 h 1281458"/>
                <a:gd name="connsiteX3" fmla="*/ 500996 w 2078170"/>
                <a:gd name="connsiteY3" fmla="*/ 309895 h 1281458"/>
                <a:gd name="connsiteX4" fmla="*/ 1291104 w 2078170"/>
                <a:gd name="connsiteY4" fmla="*/ 19157 h 1281458"/>
                <a:gd name="connsiteX5" fmla="*/ 1237570 w 2078170"/>
                <a:gd name="connsiteY5" fmla="*/ 185982 h 1281458"/>
                <a:gd name="connsiteX6" fmla="*/ 1609146 w 2078170"/>
                <a:gd name="connsiteY6" fmla="*/ 173929 h 1281458"/>
                <a:gd name="connsiteX7" fmla="*/ 2078170 w 2078170"/>
                <a:gd name="connsiteY7" fmla="*/ 670884 h 1281458"/>
                <a:gd name="connsiteX8" fmla="*/ 1327778 w 2078170"/>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20 w 1586612"/>
                <a:gd name="connsiteY0" fmla="*/ 1281458 h 1281458"/>
                <a:gd name="connsiteX1" fmla="*/ 167134 w 1586612"/>
                <a:gd name="connsiteY1" fmla="*/ 659657 h 1281458"/>
                <a:gd name="connsiteX2" fmla="*/ 395415 w 1586612"/>
                <a:gd name="connsiteY2" fmla="*/ 328673 h 1281458"/>
                <a:gd name="connsiteX3" fmla="*/ 9438 w 1586612"/>
                <a:gd name="connsiteY3" fmla="*/ 309895 h 1281458"/>
                <a:gd name="connsiteX4" fmla="*/ 799546 w 1586612"/>
                <a:gd name="connsiteY4" fmla="*/ 19157 h 1281458"/>
                <a:gd name="connsiteX5" fmla="*/ 746012 w 1586612"/>
                <a:gd name="connsiteY5" fmla="*/ 185982 h 1281458"/>
                <a:gd name="connsiteX6" fmla="*/ 1117588 w 1586612"/>
                <a:gd name="connsiteY6" fmla="*/ 173929 h 1281458"/>
                <a:gd name="connsiteX7" fmla="*/ 1586612 w 1586612"/>
                <a:gd name="connsiteY7" fmla="*/ 670884 h 1281458"/>
                <a:gd name="connsiteX8" fmla="*/ 836220 w 1586612"/>
                <a:gd name="connsiteY8" fmla="*/ 1281458 h 1281458"/>
                <a:gd name="connsiteX0" fmla="*/ 836215 w 1586607"/>
                <a:gd name="connsiteY0" fmla="*/ 1281528 h 1281528"/>
                <a:gd name="connsiteX1" fmla="*/ 167129 w 1586607"/>
                <a:gd name="connsiteY1" fmla="*/ 659727 h 1281528"/>
                <a:gd name="connsiteX2" fmla="*/ 395410 w 1586607"/>
                <a:gd name="connsiteY2" fmla="*/ 328743 h 1281528"/>
                <a:gd name="connsiteX3" fmla="*/ 9433 w 1586607"/>
                <a:gd name="connsiteY3" fmla="*/ 309965 h 1281528"/>
                <a:gd name="connsiteX4" fmla="*/ 799541 w 1586607"/>
                <a:gd name="connsiteY4" fmla="*/ 19227 h 1281528"/>
                <a:gd name="connsiteX5" fmla="*/ 746007 w 1586607"/>
                <a:gd name="connsiteY5" fmla="*/ 186052 h 1281528"/>
                <a:gd name="connsiteX6" fmla="*/ 1117583 w 1586607"/>
                <a:gd name="connsiteY6" fmla="*/ 173999 h 1281528"/>
                <a:gd name="connsiteX7" fmla="*/ 1586607 w 1586607"/>
                <a:gd name="connsiteY7" fmla="*/ 670954 h 1281528"/>
                <a:gd name="connsiteX8" fmla="*/ 836215 w 1586607"/>
                <a:gd name="connsiteY8" fmla="*/ 1281528 h 1281528"/>
                <a:gd name="connsiteX0" fmla="*/ 829420 w 1586607"/>
                <a:gd name="connsiteY0" fmla="*/ 1272658 h 1272658"/>
                <a:gd name="connsiteX1" fmla="*/ 167129 w 1586607"/>
                <a:gd name="connsiteY1" fmla="*/ 659727 h 1272658"/>
                <a:gd name="connsiteX2" fmla="*/ 395410 w 1586607"/>
                <a:gd name="connsiteY2" fmla="*/ 328743 h 1272658"/>
                <a:gd name="connsiteX3" fmla="*/ 9433 w 1586607"/>
                <a:gd name="connsiteY3" fmla="*/ 309965 h 1272658"/>
                <a:gd name="connsiteX4" fmla="*/ 799541 w 1586607"/>
                <a:gd name="connsiteY4" fmla="*/ 19227 h 1272658"/>
                <a:gd name="connsiteX5" fmla="*/ 746007 w 1586607"/>
                <a:gd name="connsiteY5" fmla="*/ 186052 h 1272658"/>
                <a:gd name="connsiteX6" fmla="*/ 1117583 w 1586607"/>
                <a:gd name="connsiteY6" fmla="*/ 173999 h 1272658"/>
                <a:gd name="connsiteX7" fmla="*/ 1586607 w 1586607"/>
                <a:gd name="connsiteY7" fmla="*/ 670954 h 1272658"/>
                <a:gd name="connsiteX8" fmla="*/ 829420 w 1586607"/>
                <a:gd name="connsiteY8" fmla="*/ 1272658 h 1272658"/>
                <a:gd name="connsiteX0" fmla="*/ 829420 w 1579812"/>
                <a:gd name="connsiteY0" fmla="*/ 1272658 h 1272658"/>
                <a:gd name="connsiteX1" fmla="*/ 167129 w 1579812"/>
                <a:gd name="connsiteY1" fmla="*/ 659727 h 1272658"/>
                <a:gd name="connsiteX2" fmla="*/ 395410 w 1579812"/>
                <a:gd name="connsiteY2" fmla="*/ 328743 h 1272658"/>
                <a:gd name="connsiteX3" fmla="*/ 9433 w 1579812"/>
                <a:gd name="connsiteY3" fmla="*/ 309965 h 1272658"/>
                <a:gd name="connsiteX4" fmla="*/ 799541 w 1579812"/>
                <a:gd name="connsiteY4" fmla="*/ 19227 h 1272658"/>
                <a:gd name="connsiteX5" fmla="*/ 746007 w 1579812"/>
                <a:gd name="connsiteY5" fmla="*/ 186052 h 1272658"/>
                <a:gd name="connsiteX6" fmla="*/ 1117583 w 1579812"/>
                <a:gd name="connsiteY6" fmla="*/ 173999 h 1272658"/>
                <a:gd name="connsiteX7" fmla="*/ 1579812 w 1579812"/>
                <a:gd name="connsiteY7" fmla="*/ 667997 h 1272658"/>
                <a:gd name="connsiteX8" fmla="*/ 829420 w 1579812"/>
                <a:gd name="connsiteY8" fmla="*/ 1272658 h 1272658"/>
                <a:gd name="connsiteX0" fmla="*/ 829420 w 1579812"/>
                <a:gd name="connsiteY0" fmla="*/ 1272658 h 1272658"/>
                <a:gd name="connsiteX1" fmla="*/ 167129 w 1579812"/>
                <a:gd name="connsiteY1" fmla="*/ 659727 h 1272658"/>
                <a:gd name="connsiteX2" fmla="*/ 395410 w 1579812"/>
                <a:gd name="connsiteY2" fmla="*/ 328743 h 1272658"/>
                <a:gd name="connsiteX3" fmla="*/ 9433 w 1579812"/>
                <a:gd name="connsiteY3" fmla="*/ 309965 h 1272658"/>
                <a:gd name="connsiteX4" fmla="*/ 799541 w 1579812"/>
                <a:gd name="connsiteY4" fmla="*/ 19227 h 1272658"/>
                <a:gd name="connsiteX5" fmla="*/ 746007 w 1579812"/>
                <a:gd name="connsiteY5" fmla="*/ 186052 h 1272658"/>
                <a:gd name="connsiteX6" fmla="*/ 1117583 w 1579812"/>
                <a:gd name="connsiteY6" fmla="*/ 173999 h 1272658"/>
                <a:gd name="connsiteX7" fmla="*/ 1579812 w 1579812"/>
                <a:gd name="connsiteY7" fmla="*/ 667997 h 1272658"/>
                <a:gd name="connsiteX8" fmla="*/ 829420 w 1579812"/>
                <a:gd name="connsiteY8" fmla="*/ 1272658 h 1272658"/>
                <a:gd name="connsiteX0" fmla="*/ 808472 w 1579812"/>
                <a:gd name="connsiteY0" fmla="*/ 1254427 h 1254427"/>
                <a:gd name="connsiteX1" fmla="*/ 167129 w 1579812"/>
                <a:gd name="connsiteY1" fmla="*/ 659727 h 1254427"/>
                <a:gd name="connsiteX2" fmla="*/ 395410 w 1579812"/>
                <a:gd name="connsiteY2" fmla="*/ 328743 h 1254427"/>
                <a:gd name="connsiteX3" fmla="*/ 9433 w 1579812"/>
                <a:gd name="connsiteY3" fmla="*/ 309965 h 1254427"/>
                <a:gd name="connsiteX4" fmla="*/ 799541 w 1579812"/>
                <a:gd name="connsiteY4" fmla="*/ 19227 h 1254427"/>
                <a:gd name="connsiteX5" fmla="*/ 746007 w 1579812"/>
                <a:gd name="connsiteY5" fmla="*/ 186052 h 1254427"/>
                <a:gd name="connsiteX6" fmla="*/ 1117583 w 1579812"/>
                <a:gd name="connsiteY6" fmla="*/ 173999 h 1254427"/>
                <a:gd name="connsiteX7" fmla="*/ 1579812 w 1579812"/>
                <a:gd name="connsiteY7" fmla="*/ 667997 h 1254427"/>
                <a:gd name="connsiteX8" fmla="*/ 808472 w 1579812"/>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8472 w 1552879"/>
                <a:gd name="connsiteY0" fmla="*/ 1254427 h 1254427"/>
                <a:gd name="connsiteX1" fmla="*/ 167129 w 1552879"/>
                <a:gd name="connsiteY1" fmla="*/ 659727 h 1254427"/>
                <a:gd name="connsiteX2" fmla="*/ 395410 w 1552879"/>
                <a:gd name="connsiteY2" fmla="*/ 328743 h 1254427"/>
                <a:gd name="connsiteX3" fmla="*/ 9433 w 1552879"/>
                <a:gd name="connsiteY3" fmla="*/ 309965 h 1254427"/>
                <a:gd name="connsiteX4" fmla="*/ 799541 w 1552879"/>
                <a:gd name="connsiteY4" fmla="*/ 19227 h 1254427"/>
                <a:gd name="connsiteX5" fmla="*/ 746007 w 1552879"/>
                <a:gd name="connsiteY5" fmla="*/ 186052 h 1254427"/>
                <a:gd name="connsiteX6" fmla="*/ 1117583 w 1552879"/>
                <a:gd name="connsiteY6" fmla="*/ 173999 h 1254427"/>
                <a:gd name="connsiteX7" fmla="*/ 1552879 w 1552879"/>
                <a:gd name="connsiteY7" fmla="*/ 641953 h 1254427"/>
                <a:gd name="connsiteX8" fmla="*/ 808472 w 1552879"/>
                <a:gd name="connsiteY8" fmla="*/ 1254427 h 1254427"/>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18465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04647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104647 w 1553761"/>
                <a:gd name="connsiteY6" fmla="*/ 155745 h 1236173"/>
                <a:gd name="connsiteX7" fmla="*/ 1553761 w 1553761"/>
                <a:gd name="connsiteY7" fmla="*/ 623699 h 1236173"/>
                <a:gd name="connsiteX8" fmla="*/ 809354 w 1553761"/>
                <a:gd name="connsiteY8" fmla="*/ 1236173 h 1236173"/>
                <a:gd name="connsiteX0" fmla="*/ 809354 w 1553761"/>
                <a:gd name="connsiteY0" fmla="*/ 1236173 h 1236173"/>
                <a:gd name="connsiteX1" fmla="*/ 168011 w 1553761"/>
                <a:gd name="connsiteY1" fmla="*/ 641473 h 1236173"/>
                <a:gd name="connsiteX2" fmla="*/ 396292 w 1553761"/>
                <a:gd name="connsiteY2" fmla="*/ 310489 h 1236173"/>
                <a:gd name="connsiteX3" fmla="*/ 10315 w 1553761"/>
                <a:gd name="connsiteY3" fmla="*/ 291711 h 1236173"/>
                <a:gd name="connsiteX4" fmla="*/ 800423 w 1553761"/>
                <a:gd name="connsiteY4" fmla="*/ 973 h 1236173"/>
                <a:gd name="connsiteX5" fmla="*/ 791797 w 1553761"/>
                <a:gd name="connsiteY5" fmla="*/ 206883 h 1236173"/>
                <a:gd name="connsiteX6" fmla="*/ 1090829 w 1553761"/>
                <a:gd name="connsiteY6" fmla="*/ 149732 h 1236173"/>
                <a:gd name="connsiteX7" fmla="*/ 1553761 w 1553761"/>
                <a:gd name="connsiteY7" fmla="*/ 623699 h 1236173"/>
                <a:gd name="connsiteX8" fmla="*/ 809354 w 1553761"/>
                <a:gd name="connsiteY8" fmla="*/ 1236173 h 1236173"/>
                <a:gd name="connsiteX0" fmla="*/ 808399 w 1552806"/>
                <a:gd name="connsiteY0" fmla="*/ 1173694 h 1173694"/>
                <a:gd name="connsiteX1" fmla="*/ 167056 w 1552806"/>
                <a:gd name="connsiteY1" fmla="*/ 578994 h 1173694"/>
                <a:gd name="connsiteX2" fmla="*/ 395337 w 1552806"/>
                <a:gd name="connsiteY2" fmla="*/ 248010 h 1173694"/>
                <a:gd name="connsiteX3" fmla="*/ 9360 w 1552806"/>
                <a:gd name="connsiteY3" fmla="*/ 229232 h 1173694"/>
                <a:gd name="connsiteX4" fmla="*/ 885830 w 1552806"/>
                <a:gd name="connsiteY4" fmla="*/ 1631 h 1173694"/>
                <a:gd name="connsiteX5" fmla="*/ 790842 w 1552806"/>
                <a:gd name="connsiteY5" fmla="*/ 144404 h 1173694"/>
                <a:gd name="connsiteX6" fmla="*/ 1089874 w 1552806"/>
                <a:gd name="connsiteY6" fmla="*/ 87253 h 1173694"/>
                <a:gd name="connsiteX7" fmla="*/ 1552806 w 1552806"/>
                <a:gd name="connsiteY7" fmla="*/ 561220 h 1173694"/>
                <a:gd name="connsiteX8" fmla="*/ 808399 w 1552806"/>
                <a:gd name="connsiteY8" fmla="*/ 1173694 h 11736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395219 w 1552688"/>
                <a:gd name="connsiteY2" fmla="*/ 257110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808281 w 1552688"/>
                <a:gd name="connsiteY0" fmla="*/ 1182794 h 1182794"/>
                <a:gd name="connsiteX1" fmla="*/ 166938 w 1552688"/>
                <a:gd name="connsiteY1" fmla="*/ 588094 h 1182794"/>
                <a:gd name="connsiteX2" fmla="*/ 467763 w 1552688"/>
                <a:gd name="connsiteY2" fmla="*/ 302206 h 1182794"/>
                <a:gd name="connsiteX3" fmla="*/ 9242 w 1552688"/>
                <a:gd name="connsiteY3" fmla="*/ 238332 h 1182794"/>
                <a:gd name="connsiteX4" fmla="*/ 885712 w 1552688"/>
                <a:gd name="connsiteY4" fmla="*/ 10731 h 1182794"/>
                <a:gd name="connsiteX5" fmla="*/ 790724 w 1552688"/>
                <a:gd name="connsiteY5" fmla="*/ 153504 h 1182794"/>
                <a:gd name="connsiteX6" fmla="*/ 1089756 w 1552688"/>
                <a:gd name="connsiteY6" fmla="*/ 96353 h 1182794"/>
                <a:gd name="connsiteX7" fmla="*/ 1552688 w 1552688"/>
                <a:gd name="connsiteY7" fmla="*/ 570320 h 1182794"/>
                <a:gd name="connsiteX8" fmla="*/ 808281 w 1552688"/>
                <a:gd name="connsiteY8" fmla="*/ 1182794 h 1182794"/>
                <a:gd name="connsiteX0" fmla="*/ 688633 w 1433040"/>
                <a:gd name="connsiteY0" fmla="*/ 1179061 h 1179061"/>
                <a:gd name="connsiteX1" fmla="*/ 47290 w 1433040"/>
                <a:gd name="connsiteY1" fmla="*/ 584361 h 1179061"/>
                <a:gd name="connsiteX2" fmla="*/ 348115 w 1433040"/>
                <a:gd name="connsiteY2" fmla="*/ 298473 h 1179061"/>
                <a:gd name="connsiteX3" fmla="*/ 10500 w 1433040"/>
                <a:gd name="connsiteY3" fmla="*/ 360872 h 1179061"/>
                <a:gd name="connsiteX4" fmla="*/ 766064 w 1433040"/>
                <a:gd name="connsiteY4" fmla="*/ 6998 h 1179061"/>
                <a:gd name="connsiteX5" fmla="*/ 671076 w 1433040"/>
                <a:gd name="connsiteY5" fmla="*/ 149771 h 1179061"/>
                <a:gd name="connsiteX6" fmla="*/ 970108 w 1433040"/>
                <a:gd name="connsiteY6" fmla="*/ 92620 h 1179061"/>
                <a:gd name="connsiteX7" fmla="*/ 1433040 w 1433040"/>
                <a:gd name="connsiteY7" fmla="*/ 566587 h 1179061"/>
                <a:gd name="connsiteX8" fmla="*/ 688633 w 1433040"/>
                <a:gd name="connsiteY8" fmla="*/ 1179061 h 1179061"/>
                <a:gd name="connsiteX0" fmla="*/ 688591 w 1432998"/>
                <a:gd name="connsiteY0" fmla="*/ 1172745 h 1172745"/>
                <a:gd name="connsiteX1" fmla="*/ 47248 w 1432998"/>
                <a:gd name="connsiteY1" fmla="*/ 578045 h 1172745"/>
                <a:gd name="connsiteX2" fmla="*/ 348073 w 1432998"/>
                <a:gd name="connsiteY2" fmla="*/ 292157 h 1172745"/>
                <a:gd name="connsiteX3" fmla="*/ 10458 w 1432998"/>
                <a:gd name="connsiteY3" fmla="*/ 354556 h 1172745"/>
                <a:gd name="connsiteX4" fmla="*/ 766022 w 1432998"/>
                <a:gd name="connsiteY4" fmla="*/ 682 h 1172745"/>
                <a:gd name="connsiteX5" fmla="*/ 671034 w 1432998"/>
                <a:gd name="connsiteY5" fmla="*/ 143455 h 1172745"/>
                <a:gd name="connsiteX6" fmla="*/ 970066 w 1432998"/>
                <a:gd name="connsiteY6" fmla="*/ 86304 h 1172745"/>
                <a:gd name="connsiteX7" fmla="*/ 1432998 w 1432998"/>
                <a:gd name="connsiteY7" fmla="*/ 560271 h 1172745"/>
                <a:gd name="connsiteX8" fmla="*/ 688591 w 1432998"/>
                <a:gd name="connsiteY8" fmla="*/ 1172745 h 1172745"/>
                <a:gd name="connsiteX0" fmla="*/ 688591 w 1432998"/>
                <a:gd name="connsiteY0" fmla="*/ 1172745 h 1172745"/>
                <a:gd name="connsiteX1" fmla="*/ 47248 w 1432998"/>
                <a:gd name="connsiteY1" fmla="*/ 578045 h 1172745"/>
                <a:gd name="connsiteX2" fmla="*/ 348073 w 1432998"/>
                <a:gd name="connsiteY2" fmla="*/ 292157 h 1172745"/>
                <a:gd name="connsiteX3" fmla="*/ 10458 w 1432998"/>
                <a:gd name="connsiteY3" fmla="*/ 354556 h 1172745"/>
                <a:gd name="connsiteX4" fmla="*/ 766022 w 1432998"/>
                <a:gd name="connsiteY4" fmla="*/ 682 h 1172745"/>
                <a:gd name="connsiteX5" fmla="*/ 671034 w 1432998"/>
                <a:gd name="connsiteY5" fmla="*/ 143455 h 1172745"/>
                <a:gd name="connsiteX6" fmla="*/ 970066 w 1432998"/>
                <a:gd name="connsiteY6" fmla="*/ 86304 h 1172745"/>
                <a:gd name="connsiteX7" fmla="*/ 1432998 w 1432998"/>
                <a:gd name="connsiteY7" fmla="*/ 560271 h 1172745"/>
                <a:gd name="connsiteX8" fmla="*/ 688591 w 1432998"/>
                <a:gd name="connsiteY8" fmla="*/ 1172745 h 11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998" h="1172745">
                  <a:moveTo>
                    <a:pt x="688591" y="1172745"/>
                  </a:moveTo>
                  <a:lnTo>
                    <a:pt x="47248" y="578045"/>
                  </a:lnTo>
                  <a:cubicBezTo>
                    <a:pt x="119598" y="495925"/>
                    <a:pt x="433045" y="392818"/>
                    <a:pt x="348073" y="292157"/>
                  </a:cubicBezTo>
                  <a:cubicBezTo>
                    <a:pt x="292459" y="242601"/>
                    <a:pt x="64232" y="400356"/>
                    <a:pt x="10458" y="354556"/>
                  </a:cubicBezTo>
                  <a:cubicBezTo>
                    <a:pt x="-97198" y="252114"/>
                    <a:pt x="659380" y="-15245"/>
                    <a:pt x="766022" y="682"/>
                  </a:cubicBezTo>
                  <a:cubicBezTo>
                    <a:pt x="880335" y="17755"/>
                    <a:pt x="720813" y="70749"/>
                    <a:pt x="671034" y="143455"/>
                  </a:cubicBezTo>
                  <a:cubicBezTo>
                    <a:pt x="591785" y="259204"/>
                    <a:pt x="904293" y="117545"/>
                    <a:pt x="970066" y="86304"/>
                  </a:cubicBezTo>
                  <a:lnTo>
                    <a:pt x="1432998" y="560271"/>
                  </a:lnTo>
                  <a:cubicBezTo>
                    <a:pt x="1049634" y="827189"/>
                    <a:pt x="806226" y="1060184"/>
                    <a:pt x="688591" y="1172745"/>
                  </a:cubicBezTo>
                  <a:close/>
                </a:path>
              </a:pathLst>
            </a:custGeom>
            <a:solidFill>
              <a:srgbClr val="DFE6ED">
                <a:alpha val="54000"/>
              </a:srgbClr>
            </a:solidFill>
            <a:ln>
              <a:noFill/>
            </a:ln>
            <a:effectLst>
              <a:outerShdw blurRad="279400" dist="38100" dir="2700000" algn="tl" rotWithShape="0">
                <a:prstClr val="black">
                  <a:alpha val="40000"/>
                </a:prstClr>
              </a:outerShdw>
            </a:effectLst>
            <a:scene3d>
              <a:camera prst="orthographicFront"/>
              <a:lightRig rig="sunset" dir="t"/>
            </a:scene3d>
            <a:sp3d prstMaterial="clear">
              <a:bevelT w="50800" h="133350"/>
              <a:bevelB w="25400" h="107950"/>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34" name="Freihandform 33"/>
            <p:cNvSpPr/>
            <p:nvPr/>
          </p:nvSpPr>
          <p:spPr bwMode="auto">
            <a:xfrm>
              <a:off x="5452442" y="3743839"/>
              <a:ext cx="1717088" cy="1728679"/>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2724695 w 5964568"/>
                <a:gd name="connsiteY9" fmla="*/ 648948 h 3227537"/>
                <a:gd name="connsiteX10" fmla="*/ 2671161 w 5964568"/>
                <a:gd name="connsiteY10" fmla="*/ 815773 h 3227537"/>
                <a:gd name="connsiteX11" fmla="*/ 3352287 w 5964568"/>
                <a:gd name="connsiteY11" fmla="*/ 521781 h 3227537"/>
                <a:gd name="connsiteX12" fmla="*/ 3086216 w 5964568"/>
                <a:gd name="connsiteY12" fmla="*/ 509932 h 3227537"/>
                <a:gd name="connsiteX13" fmla="*/ 3698561 w 5964568"/>
                <a:gd name="connsiteY13" fmla="*/ 232711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2671161 w 5964568"/>
                <a:gd name="connsiteY9" fmla="*/ 815773 h 3227537"/>
                <a:gd name="connsiteX10" fmla="*/ 3352287 w 5964568"/>
                <a:gd name="connsiteY10" fmla="*/ 521781 h 3227537"/>
                <a:gd name="connsiteX11" fmla="*/ 3086216 w 5964568"/>
                <a:gd name="connsiteY11" fmla="*/ 509932 h 3227537"/>
                <a:gd name="connsiteX12" fmla="*/ 3698561 w 5964568"/>
                <a:gd name="connsiteY12" fmla="*/ 23271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352287 w 5964568"/>
                <a:gd name="connsiteY9" fmla="*/ 521781 h 3227537"/>
                <a:gd name="connsiteX10" fmla="*/ 3086216 w 5964568"/>
                <a:gd name="connsiteY10" fmla="*/ 509932 h 3227537"/>
                <a:gd name="connsiteX11" fmla="*/ 3698561 w 5964568"/>
                <a:gd name="connsiteY11" fmla="*/ 232711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086216 w 5964568"/>
                <a:gd name="connsiteY9" fmla="*/ 509932 h 3227537"/>
                <a:gd name="connsiteX10" fmla="*/ 3698561 w 5964568"/>
                <a:gd name="connsiteY10" fmla="*/ 232711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98561 w 5964568"/>
                <a:gd name="connsiteY9" fmla="*/ 232711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4788590 w 5964568"/>
                <a:gd name="connsiteY9" fmla="*/ 50815 h 3223934"/>
                <a:gd name="connsiteX10" fmla="*/ 5066181 w 5964568"/>
                <a:gd name="connsiteY10" fmla="*/ 91750 h 3223934"/>
                <a:gd name="connsiteX11" fmla="*/ 5478894 w 5964568"/>
                <a:gd name="connsiteY11" fmla="*/ 0 h 3223934"/>
                <a:gd name="connsiteX12" fmla="*/ 5964568 w 5964568"/>
                <a:gd name="connsiteY12" fmla="*/ 320593 h 3223934"/>
                <a:gd name="connsiteX13" fmla="*/ 1736389 w 5964568"/>
                <a:gd name="connsiteY13" fmla="*/ 3223934 h 3223934"/>
                <a:gd name="connsiteX14" fmla="*/ 212611 w 5964568"/>
                <a:gd name="connsiteY14"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5066181 w 5964568"/>
                <a:gd name="connsiteY9" fmla="*/ 91750 h 3223934"/>
                <a:gd name="connsiteX10" fmla="*/ 5478894 w 5964568"/>
                <a:gd name="connsiteY10" fmla="*/ 0 h 3223934"/>
                <a:gd name="connsiteX11" fmla="*/ 5964568 w 5964568"/>
                <a:gd name="connsiteY11" fmla="*/ 320593 h 3223934"/>
                <a:gd name="connsiteX12" fmla="*/ 1736389 w 5964568"/>
                <a:gd name="connsiteY12" fmla="*/ 3223934 h 3223934"/>
                <a:gd name="connsiteX13" fmla="*/ 212611 w 5964568"/>
                <a:gd name="connsiteY13"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5478894 w 5964568"/>
                <a:gd name="connsiteY9" fmla="*/ 0 h 3223934"/>
                <a:gd name="connsiteX10" fmla="*/ 5964568 w 5964568"/>
                <a:gd name="connsiteY10" fmla="*/ 320593 h 3223934"/>
                <a:gd name="connsiteX11" fmla="*/ 1736389 w 5964568"/>
                <a:gd name="connsiteY11" fmla="*/ 3223934 h 3223934"/>
                <a:gd name="connsiteX12" fmla="*/ 212611 w 5964568"/>
                <a:gd name="connsiteY12" fmla="*/ 2870244 h 3223934"/>
                <a:gd name="connsiteX0" fmla="*/ 212611 w 5966895"/>
                <a:gd name="connsiteY0" fmla="*/ 2647978 h 3001668"/>
                <a:gd name="connsiteX1" fmla="*/ 160498 w 5966895"/>
                <a:gd name="connsiteY1" fmla="*/ 2446368 h 3001668"/>
                <a:gd name="connsiteX2" fmla="*/ 418903 w 5966895"/>
                <a:gd name="connsiteY2" fmla="*/ 2145958 h 3001668"/>
                <a:gd name="connsiteX3" fmla="*/ 914255 w 5966895"/>
                <a:gd name="connsiteY3" fmla="*/ 1997552 h 3001668"/>
                <a:gd name="connsiteX4" fmla="*/ 1020177 w 5966895"/>
                <a:gd name="connsiteY4" fmla="*/ 1593714 h 3001668"/>
                <a:gd name="connsiteX5" fmla="*/ 714335 w 5966895"/>
                <a:gd name="connsiteY5" fmla="*/ 1687244 h 3001668"/>
                <a:gd name="connsiteX6" fmla="*/ 1523207 w 5966895"/>
                <a:gd name="connsiteY6" fmla="*/ 973526 h 3001668"/>
                <a:gd name="connsiteX7" fmla="*/ 1433591 w 5966895"/>
                <a:gd name="connsiteY7" fmla="*/ 1245273 h 3001668"/>
                <a:gd name="connsiteX8" fmla="*/ 2320564 w 5966895"/>
                <a:gd name="connsiteY8" fmla="*/ 732595 h 3001668"/>
                <a:gd name="connsiteX9" fmla="*/ 5964568 w 5966895"/>
                <a:gd name="connsiteY9" fmla="*/ 98327 h 3001668"/>
                <a:gd name="connsiteX10" fmla="*/ 1736389 w 5966895"/>
                <a:gd name="connsiteY10" fmla="*/ 3001668 h 3001668"/>
                <a:gd name="connsiteX11" fmla="*/ 212611 w 5966895"/>
                <a:gd name="connsiteY11" fmla="*/ 2647978 h 3001668"/>
                <a:gd name="connsiteX0" fmla="*/ 1736389 w 5966895"/>
                <a:gd name="connsiteY0" fmla="*/ 3001668 h 3001668"/>
                <a:gd name="connsiteX1" fmla="*/ 160498 w 5966895"/>
                <a:gd name="connsiteY1" fmla="*/ 2446368 h 3001668"/>
                <a:gd name="connsiteX2" fmla="*/ 418903 w 5966895"/>
                <a:gd name="connsiteY2" fmla="*/ 2145958 h 3001668"/>
                <a:gd name="connsiteX3" fmla="*/ 914255 w 5966895"/>
                <a:gd name="connsiteY3" fmla="*/ 1997552 h 3001668"/>
                <a:gd name="connsiteX4" fmla="*/ 1020177 w 5966895"/>
                <a:gd name="connsiteY4" fmla="*/ 1593714 h 3001668"/>
                <a:gd name="connsiteX5" fmla="*/ 714335 w 5966895"/>
                <a:gd name="connsiteY5" fmla="*/ 1687244 h 3001668"/>
                <a:gd name="connsiteX6" fmla="*/ 1523207 w 5966895"/>
                <a:gd name="connsiteY6" fmla="*/ 973526 h 3001668"/>
                <a:gd name="connsiteX7" fmla="*/ 1433591 w 5966895"/>
                <a:gd name="connsiteY7" fmla="*/ 1245273 h 3001668"/>
                <a:gd name="connsiteX8" fmla="*/ 2320564 w 5966895"/>
                <a:gd name="connsiteY8" fmla="*/ 732595 h 3001668"/>
                <a:gd name="connsiteX9" fmla="*/ 5964568 w 5966895"/>
                <a:gd name="connsiteY9" fmla="*/ 98327 h 3001668"/>
                <a:gd name="connsiteX10" fmla="*/ 1736389 w 5966895"/>
                <a:gd name="connsiteY10" fmla="*/ 3001668 h 3001668"/>
                <a:gd name="connsiteX0" fmla="*/ 1317486 w 5547992"/>
                <a:gd name="connsiteY0" fmla="*/ 3001668 h 3001668"/>
                <a:gd name="connsiteX1" fmla="*/ 0 w 5547992"/>
                <a:gd name="connsiteY1" fmla="*/ 2145958 h 3001668"/>
                <a:gd name="connsiteX2" fmla="*/ 495352 w 5547992"/>
                <a:gd name="connsiteY2" fmla="*/ 1997552 h 3001668"/>
                <a:gd name="connsiteX3" fmla="*/ 601274 w 5547992"/>
                <a:gd name="connsiteY3" fmla="*/ 1593714 h 3001668"/>
                <a:gd name="connsiteX4" fmla="*/ 295432 w 5547992"/>
                <a:gd name="connsiteY4" fmla="*/ 1687244 h 3001668"/>
                <a:gd name="connsiteX5" fmla="*/ 1104304 w 5547992"/>
                <a:gd name="connsiteY5" fmla="*/ 973526 h 3001668"/>
                <a:gd name="connsiteX6" fmla="*/ 1014688 w 5547992"/>
                <a:gd name="connsiteY6" fmla="*/ 1245273 h 3001668"/>
                <a:gd name="connsiteX7" fmla="*/ 1901661 w 5547992"/>
                <a:gd name="connsiteY7" fmla="*/ 732595 h 3001668"/>
                <a:gd name="connsiteX8" fmla="*/ 5545665 w 5547992"/>
                <a:gd name="connsiteY8" fmla="*/ 98327 h 3001668"/>
                <a:gd name="connsiteX9" fmla="*/ 1317486 w 5547992"/>
                <a:gd name="connsiteY9" fmla="*/ 3001668 h 3001668"/>
                <a:gd name="connsiteX0" fmla="*/ 1053179 w 5283685"/>
                <a:gd name="connsiteY0" fmla="*/ 3001668 h 3001668"/>
                <a:gd name="connsiteX1" fmla="*/ 231045 w 5283685"/>
                <a:gd name="connsiteY1" fmla="*/ 1997552 h 3001668"/>
                <a:gd name="connsiteX2" fmla="*/ 336967 w 5283685"/>
                <a:gd name="connsiteY2" fmla="*/ 1593714 h 3001668"/>
                <a:gd name="connsiteX3" fmla="*/ 31125 w 5283685"/>
                <a:gd name="connsiteY3" fmla="*/ 1687244 h 3001668"/>
                <a:gd name="connsiteX4" fmla="*/ 839997 w 5283685"/>
                <a:gd name="connsiteY4" fmla="*/ 973526 h 3001668"/>
                <a:gd name="connsiteX5" fmla="*/ 750381 w 5283685"/>
                <a:gd name="connsiteY5" fmla="*/ 1245273 h 3001668"/>
                <a:gd name="connsiteX6" fmla="*/ 1637354 w 5283685"/>
                <a:gd name="connsiteY6" fmla="*/ 732595 h 3001668"/>
                <a:gd name="connsiteX7" fmla="*/ 5281358 w 5283685"/>
                <a:gd name="connsiteY7" fmla="*/ 98327 h 3001668"/>
                <a:gd name="connsiteX8" fmla="*/ 1053179 w 5283685"/>
                <a:gd name="connsiteY8" fmla="*/ 3001668 h 3001668"/>
                <a:gd name="connsiteX0" fmla="*/ 1053179 w 2501562"/>
                <a:gd name="connsiteY0" fmla="*/ 2303910 h 2303910"/>
                <a:gd name="connsiteX1" fmla="*/ 231045 w 2501562"/>
                <a:gd name="connsiteY1" fmla="*/ 1299794 h 2303910"/>
                <a:gd name="connsiteX2" fmla="*/ 336967 w 2501562"/>
                <a:gd name="connsiteY2" fmla="*/ 895956 h 2303910"/>
                <a:gd name="connsiteX3" fmla="*/ 31125 w 2501562"/>
                <a:gd name="connsiteY3" fmla="*/ 989486 h 2303910"/>
                <a:gd name="connsiteX4" fmla="*/ 839997 w 2501562"/>
                <a:gd name="connsiteY4" fmla="*/ 275768 h 2303910"/>
                <a:gd name="connsiteX5" fmla="*/ 750381 w 2501562"/>
                <a:gd name="connsiteY5" fmla="*/ 547515 h 2303910"/>
                <a:gd name="connsiteX6" fmla="*/ 1637354 w 2501562"/>
                <a:gd name="connsiteY6" fmla="*/ 34837 h 2303910"/>
                <a:gd name="connsiteX7" fmla="*/ 2477511 w 2501562"/>
                <a:gd name="connsiteY7" fmla="*/ 862361 h 2303910"/>
                <a:gd name="connsiteX8" fmla="*/ 1053179 w 2501562"/>
                <a:gd name="connsiteY8" fmla="*/ 2303910 h 2303910"/>
                <a:gd name="connsiteX0" fmla="*/ 1185535 w 2501562"/>
                <a:gd name="connsiteY0" fmla="*/ 2076726 h 2076726"/>
                <a:gd name="connsiteX1" fmla="*/ 231045 w 2501562"/>
                <a:gd name="connsiteY1" fmla="*/ 1299794 h 2076726"/>
                <a:gd name="connsiteX2" fmla="*/ 336967 w 2501562"/>
                <a:gd name="connsiteY2" fmla="*/ 895956 h 2076726"/>
                <a:gd name="connsiteX3" fmla="*/ 31125 w 2501562"/>
                <a:gd name="connsiteY3" fmla="*/ 989486 h 2076726"/>
                <a:gd name="connsiteX4" fmla="*/ 839997 w 2501562"/>
                <a:gd name="connsiteY4" fmla="*/ 275768 h 2076726"/>
                <a:gd name="connsiteX5" fmla="*/ 750381 w 2501562"/>
                <a:gd name="connsiteY5" fmla="*/ 547515 h 2076726"/>
                <a:gd name="connsiteX6" fmla="*/ 1637354 w 2501562"/>
                <a:gd name="connsiteY6" fmla="*/ 34837 h 2076726"/>
                <a:gd name="connsiteX7" fmla="*/ 2477511 w 2501562"/>
                <a:gd name="connsiteY7" fmla="*/ 862361 h 2076726"/>
                <a:gd name="connsiteX8" fmla="*/ 1185535 w 2501562"/>
                <a:gd name="connsiteY8" fmla="*/ 2076726 h 2076726"/>
                <a:gd name="connsiteX0" fmla="*/ 1192889 w 2501562"/>
                <a:gd name="connsiteY0" fmla="*/ 2073526 h 2073526"/>
                <a:gd name="connsiteX1" fmla="*/ 231045 w 2501562"/>
                <a:gd name="connsiteY1" fmla="*/ 1299794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92889 w 2501562"/>
                <a:gd name="connsiteY0" fmla="*/ 2073526 h 2073526"/>
                <a:gd name="connsiteX1" fmla="*/ 190602 w 2501562"/>
                <a:gd name="connsiteY1" fmla="*/ 1334991 h 2073526"/>
                <a:gd name="connsiteX2" fmla="*/ 336967 w 2501562"/>
                <a:gd name="connsiteY2" fmla="*/ 895956 h 2073526"/>
                <a:gd name="connsiteX3" fmla="*/ 31125 w 2501562"/>
                <a:gd name="connsiteY3" fmla="*/ 989486 h 2073526"/>
                <a:gd name="connsiteX4" fmla="*/ 839997 w 2501562"/>
                <a:gd name="connsiteY4" fmla="*/ 275768 h 2073526"/>
                <a:gd name="connsiteX5" fmla="*/ 750381 w 2501562"/>
                <a:gd name="connsiteY5" fmla="*/ 547515 h 2073526"/>
                <a:gd name="connsiteX6" fmla="*/ 1637354 w 2501562"/>
                <a:gd name="connsiteY6" fmla="*/ 34837 h 2073526"/>
                <a:gd name="connsiteX7" fmla="*/ 2477511 w 2501562"/>
                <a:gd name="connsiteY7" fmla="*/ 862361 h 2073526"/>
                <a:gd name="connsiteX8" fmla="*/ 1192889 w 2501562"/>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497149"/>
                <a:gd name="connsiteY0" fmla="*/ 2073526 h 2073526"/>
                <a:gd name="connsiteX1" fmla="*/ 186189 w 2497149"/>
                <a:gd name="connsiteY1" fmla="*/ 1334991 h 2073526"/>
                <a:gd name="connsiteX2" fmla="*/ 332554 w 2497149"/>
                <a:gd name="connsiteY2" fmla="*/ 895956 h 2073526"/>
                <a:gd name="connsiteX3" fmla="*/ 26712 w 2497149"/>
                <a:gd name="connsiteY3" fmla="*/ 989486 h 2073526"/>
                <a:gd name="connsiteX4" fmla="*/ 835584 w 2497149"/>
                <a:gd name="connsiteY4" fmla="*/ 275768 h 2073526"/>
                <a:gd name="connsiteX5" fmla="*/ 745968 w 2497149"/>
                <a:gd name="connsiteY5" fmla="*/ 547515 h 2073526"/>
                <a:gd name="connsiteX6" fmla="*/ 1632941 w 2497149"/>
                <a:gd name="connsiteY6" fmla="*/ 34837 h 2073526"/>
                <a:gd name="connsiteX7" fmla="*/ 2473098 w 2497149"/>
                <a:gd name="connsiteY7" fmla="*/ 862361 h 2073526"/>
                <a:gd name="connsiteX8" fmla="*/ 1188476 w 2497149"/>
                <a:gd name="connsiteY8" fmla="*/ 2073526 h 2073526"/>
                <a:gd name="connsiteX0" fmla="*/ 1188476 w 2117197"/>
                <a:gd name="connsiteY0" fmla="*/ 2066272 h 2066272"/>
                <a:gd name="connsiteX1" fmla="*/ 186189 w 2117197"/>
                <a:gd name="connsiteY1" fmla="*/ 1327737 h 2066272"/>
                <a:gd name="connsiteX2" fmla="*/ 332554 w 2117197"/>
                <a:gd name="connsiteY2" fmla="*/ 888702 h 2066272"/>
                <a:gd name="connsiteX3" fmla="*/ 26712 w 2117197"/>
                <a:gd name="connsiteY3" fmla="*/ 982232 h 2066272"/>
                <a:gd name="connsiteX4" fmla="*/ 835584 w 2117197"/>
                <a:gd name="connsiteY4" fmla="*/ 268514 h 2066272"/>
                <a:gd name="connsiteX5" fmla="*/ 745968 w 2117197"/>
                <a:gd name="connsiteY5" fmla="*/ 540261 h 2066272"/>
                <a:gd name="connsiteX6" fmla="*/ 1632941 w 2117197"/>
                <a:gd name="connsiteY6" fmla="*/ 27583 h 2066272"/>
                <a:gd name="connsiteX7" fmla="*/ 1962059 w 2117197"/>
                <a:gd name="connsiteY7" fmla="*/ 1066292 h 2066272"/>
                <a:gd name="connsiteX8" fmla="*/ 1188476 w 2117197"/>
                <a:gd name="connsiteY8" fmla="*/ 2066272 h 2066272"/>
                <a:gd name="connsiteX0" fmla="*/ 1188476 w 2117197"/>
                <a:gd name="connsiteY0" fmla="*/ 2066272 h 2066272"/>
                <a:gd name="connsiteX1" fmla="*/ 186189 w 2117197"/>
                <a:gd name="connsiteY1" fmla="*/ 1327737 h 2066272"/>
                <a:gd name="connsiteX2" fmla="*/ 332554 w 2117197"/>
                <a:gd name="connsiteY2" fmla="*/ 888702 h 2066272"/>
                <a:gd name="connsiteX3" fmla="*/ 26712 w 2117197"/>
                <a:gd name="connsiteY3" fmla="*/ 982232 h 2066272"/>
                <a:gd name="connsiteX4" fmla="*/ 835584 w 2117197"/>
                <a:gd name="connsiteY4" fmla="*/ 268514 h 2066272"/>
                <a:gd name="connsiteX5" fmla="*/ 745968 w 2117197"/>
                <a:gd name="connsiteY5" fmla="*/ 540261 h 2066272"/>
                <a:gd name="connsiteX6" fmla="*/ 1632941 w 2117197"/>
                <a:gd name="connsiteY6" fmla="*/ 27583 h 2066272"/>
                <a:gd name="connsiteX7" fmla="*/ 1962059 w 2117197"/>
                <a:gd name="connsiteY7" fmla="*/ 1066292 h 2066272"/>
                <a:gd name="connsiteX8" fmla="*/ 1188476 w 2117197"/>
                <a:gd name="connsiteY8" fmla="*/ 2066272 h 2066272"/>
                <a:gd name="connsiteX0" fmla="*/ 1188476 w 2009921"/>
                <a:gd name="connsiteY0" fmla="*/ 2062087 h 2062087"/>
                <a:gd name="connsiteX1" fmla="*/ 186189 w 2009921"/>
                <a:gd name="connsiteY1" fmla="*/ 1323552 h 2062087"/>
                <a:gd name="connsiteX2" fmla="*/ 332554 w 2009921"/>
                <a:gd name="connsiteY2" fmla="*/ 884517 h 2062087"/>
                <a:gd name="connsiteX3" fmla="*/ 26712 w 2009921"/>
                <a:gd name="connsiteY3" fmla="*/ 978047 h 2062087"/>
                <a:gd name="connsiteX4" fmla="*/ 835584 w 2009921"/>
                <a:gd name="connsiteY4" fmla="*/ 264329 h 2062087"/>
                <a:gd name="connsiteX5" fmla="*/ 745968 w 2009921"/>
                <a:gd name="connsiteY5" fmla="*/ 536076 h 2062087"/>
                <a:gd name="connsiteX6" fmla="*/ 1632941 w 2009921"/>
                <a:gd name="connsiteY6" fmla="*/ 23398 h 2062087"/>
                <a:gd name="connsiteX7" fmla="*/ 1962059 w 2009921"/>
                <a:gd name="connsiteY7" fmla="*/ 1062107 h 2062087"/>
                <a:gd name="connsiteX8" fmla="*/ 1188476 w 2009921"/>
                <a:gd name="connsiteY8" fmla="*/ 2062087 h 2062087"/>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88476 w 1962059"/>
                <a:gd name="connsiteY0" fmla="*/ 1814583 h 1814583"/>
                <a:gd name="connsiteX1" fmla="*/ 186189 w 1962059"/>
                <a:gd name="connsiteY1" fmla="*/ 1076048 h 1814583"/>
                <a:gd name="connsiteX2" fmla="*/ 332554 w 1962059"/>
                <a:gd name="connsiteY2" fmla="*/ 637013 h 1814583"/>
                <a:gd name="connsiteX3" fmla="*/ 26712 w 1962059"/>
                <a:gd name="connsiteY3" fmla="*/ 730543 h 1814583"/>
                <a:gd name="connsiteX4" fmla="*/ 835584 w 1962059"/>
                <a:gd name="connsiteY4" fmla="*/ 16825 h 1814583"/>
                <a:gd name="connsiteX5" fmla="*/ 745968 w 1962059"/>
                <a:gd name="connsiteY5" fmla="*/ 288572 h 1814583"/>
                <a:gd name="connsiteX6" fmla="*/ 1232198 w 1962059"/>
                <a:gd name="connsiteY6" fmla="*/ 198264 h 1814583"/>
                <a:gd name="connsiteX7" fmla="*/ 1962059 w 1962059"/>
                <a:gd name="connsiteY7" fmla="*/ 814603 h 1814583"/>
                <a:gd name="connsiteX8" fmla="*/ 1188476 w 1962059"/>
                <a:gd name="connsiteY8" fmla="*/ 1814583 h 1814583"/>
                <a:gd name="connsiteX0" fmla="*/ 1193851 w 1967434"/>
                <a:gd name="connsiteY0" fmla="*/ 1814436 h 1814436"/>
                <a:gd name="connsiteX1" fmla="*/ 191564 w 1967434"/>
                <a:gd name="connsiteY1" fmla="*/ 1075901 h 1814436"/>
                <a:gd name="connsiteX2" fmla="*/ 337929 w 1967434"/>
                <a:gd name="connsiteY2" fmla="*/ 636866 h 1814436"/>
                <a:gd name="connsiteX3" fmla="*/ 32087 w 1967434"/>
                <a:gd name="connsiteY3" fmla="*/ 730396 h 1814436"/>
                <a:gd name="connsiteX4" fmla="*/ 840959 w 1967434"/>
                <a:gd name="connsiteY4" fmla="*/ 16678 h 1814436"/>
                <a:gd name="connsiteX5" fmla="*/ 751343 w 1967434"/>
                <a:gd name="connsiteY5" fmla="*/ 288425 h 1814436"/>
                <a:gd name="connsiteX6" fmla="*/ 1237573 w 1967434"/>
                <a:gd name="connsiteY6" fmla="*/ 198117 h 1814436"/>
                <a:gd name="connsiteX7" fmla="*/ 1967434 w 1967434"/>
                <a:gd name="connsiteY7" fmla="*/ 814456 h 1814436"/>
                <a:gd name="connsiteX8" fmla="*/ 1193851 w 1967434"/>
                <a:gd name="connsiteY8" fmla="*/ 1814436 h 1814436"/>
                <a:gd name="connsiteX0" fmla="*/ 1195906 w 1969489"/>
                <a:gd name="connsiteY0" fmla="*/ 1814262 h 1814262"/>
                <a:gd name="connsiteX1" fmla="*/ 193619 w 1969489"/>
                <a:gd name="connsiteY1" fmla="*/ 1075727 h 1814262"/>
                <a:gd name="connsiteX2" fmla="*/ 339984 w 1969489"/>
                <a:gd name="connsiteY2" fmla="*/ 636692 h 1814262"/>
                <a:gd name="connsiteX3" fmla="*/ 34142 w 1969489"/>
                <a:gd name="connsiteY3" fmla="*/ 730222 h 1814262"/>
                <a:gd name="connsiteX4" fmla="*/ 843014 w 1969489"/>
                <a:gd name="connsiteY4" fmla="*/ 16504 h 1814262"/>
                <a:gd name="connsiteX5" fmla="*/ 753398 w 1969489"/>
                <a:gd name="connsiteY5" fmla="*/ 288251 h 1814262"/>
                <a:gd name="connsiteX6" fmla="*/ 1239628 w 1969489"/>
                <a:gd name="connsiteY6" fmla="*/ 197943 h 1814262"/>
                <a:gd name="connsiteX7" fmla="*/ 1969489 w 1969489"/>
                <a:gd name="connsiteY7" fmla="*/ 814282 h 1814262"/>
                <a:gd name="connsiteX8" fmla="*/ 1195906 w 1969489"/>
                <a:gd name="connsiteY8" fmla="*/ 1814262 h 1814262"/>
                <a:gd name="connsiteX0" fmla="*/ 1193853 w 1967436"/>
                <a:gd name="connsiteY0" fmla="*/ 1814435 h 1814435"/>
                <a:gd name="connsiteX1" fmla="*/ 191566 w 1967436"/>
                <a:gd name="connsiteY1" fmla="*/ 1075900 h 1814435"/>
                <a:gd name="connsiteX2" fmla="*/ 337931 w 1967436"/>
                <a:gd name="connsiteY2" fmla="*/ 636865 h 1814435"/>
                <a:gd name="connsiteX3" fmla="*/ 32089 w 1967436"/>
                <a:gd name="connsiteY3" fmla="*/ 730395 h 1814435"/>
                <a:gd name="connsiteX4" fmla="*/ 840961 w 1967436"/>
                <a:gd name="connsiteY4" fmla="*/ 16677 h 1814435"/>
                <a:gd name="connsiteX5" fmla="*/ 751345 w 1967436"/>
                <a:gd name="connsiteY5" fmla="*/ 288424 h 1814435"/>
                <a:gd name="connsiteX6" fmla="*/ 1237575 w 1967436"/>
                <a:gd name="connsiteY6" fmla="*/ 198116 h 1814435"/>
                <a:gd name="connsiteX7" fmla="*/ 1967436 w 1967436"/>
                <a:gd name="connsiteY7" fmla="*/ 814455 h 1814435"/>
                <a:gd name="connsiteX8" fmla="*/ 1193853 w 1967436"/>
                <a:gd name="connsiteY8" fmla="*/ 1814435 h 1814435"/>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98963 w 1972546"/>
                <a:gd name="connsiteY0" fmla="*/ 1813992 h 1813992"/>
                <a:gd name="connsiteX1" fmla="*/ 196676 w 1972546"/>
                <a:gd name="connsiteY1" fmla="*/ 1075457 h 1813992"/>
                <a:gd name="connsiteX2" fmla="*/ 343041 w 1972546"/>
                <a:gd name="connsiteY2" fmla="*/ 636422 h 1813992"/>
                <a:gd name="connsiteX3" fmla="*/ 37199 w 1972546"/>
                <a:gd name="connsiteY3" fmla="*/ 729952 h 1813992"/>
                <a:gd name="connsiteX4" fmla="*/ 846071 w 1972546"/>
                <a:gd name="connsiteY4" fmla="*/ 16234 h 1813992"/>
                <a:gd name="connsiteX5" fmla="*/ 756455 w 1972546"/>
                <a:gd name="connsiteY5" fmla="*/ 287981 h 1813992"/>
                <a:gd name="connsiteX6" fmla="*/ 1242685 w 1972546"/>
                <a:gd name="connsiteY6" fmla="*/ 197673 h 1813992"/>
                <a:gd name="connsiteX7" fmla="*/ 1972546 w 1972546"/>
                <a:gd name="connsiteY7" fmla="*/ 814012 h 1813992"/>
                <a:gd name="connsiteX8" fmla="*/ 1198963 w 1972546"/>
                <a:gd name="connsiteY8" fmla="*/ 1813992 h 1813992"/>
                <a:gd name="connsiteX0" fmla="*/ 1178015 w 1972546"/>
                <a:gd name="connsiteY0" fmla="*/ 1798365 h 1798365"/>
                <a:gd name="connsiteX1" fmla="*/ 196676 w 1972546"/>
                <a:gd name="connsiteY1" fmla="*/ 1075457 h 1798365"/>
                <a:gd name="connsiteX2" fmla="*/ 343041 w 1972546"/>
                <a:gd name="connsiteY2" fmla="*/ 636422 h 1798365"/>
                <a:gd name="connsiteX3" fmla="*/ 37199 w 1972546"/>
                <a:gd name="connsiteY3" fmla="*/ 729952 h 1798365"/>
                <a:gd name="connsiteX4" fmla="*/ 846071 w 1972546"/>
                <a:gd name="connsiteY4" fmla="*/ 16234 h 1798365"/>
                <a:gd name="connsiteX5" fmla="*/ 756455 w 1972546"/>
                <a:gd name="connsiteY5" fmla="*/ 287981 h 1798365"/>
                <a:gd name="connsiteX6" fmla="*/ 1242685 w 1972546"/>
                <a:gd name="connsiteY6" fmla="*/ 197673 h 1798365"/>
                <a:gd name="connsiteX7" fmla="*/ 1972546 w 1972546"/>
                <a:gd name="connsiteY7" fmla="*/ 814012 h 1798365"/>
                <a:gd name="connsiteX8" fmla="*/ 1178015 w 1972546"/>
                <a:gd name="connsiteY8" fmla="*/ 1798365 h 1798365"/>
                <a:gd name="connsiteX0" fmla="*/ 1178015 w 1951598"/>
                <a:gd name="connsiteY0" fmla="*/ 1798365 h 1798365"/>
                <a:gd name="connsiteX1" fmla="*/ 196676 w 1951598"/>
                <a:gd name="connsiteY1" fmla="*/ 1075457 h 1798365"/>
                <a:gd name="connsiteX2" fmla="*/ 343041 w 1951598"/>
                <a:gd name="connsiteY2" fmla="*/ 636422 h 1798365"/>
                <a:gd name="connsiteX3" fmla="*/ 37199 w 1951598"/>
                <a:gd name="connsiteY3" fmla="*/ 729952 h 1798365"/>
                <a:gd name="connsiteX4" fmla="*/ 846071 w 1951598"/>
                <a:gd name="connsiteY4" fmla="*/ 16234 h 1798365"/>
                <a:gd name="connsiteX5" fmla="*/ 756455 w 1951598"/>
                <a:gd name="connsiteY5" fmla="*/ 287981 h 1798365"/>
                <a:gd name="connsiteX6" fmla="*/ 1242685 w 1951598"/>
                <a:gd name="connsiteY6" fmla="*/ 197673 h 1798365"/>
                <a:gd name="connsiteX7" fmla="*/ 1951598 w 1951598"/>
                <a:gd name="connsiteY7" fmla="*/ 800990 h 1798365"/>
                <a:gd name="connsiteX8" fmla="*/ 1178015 w 1951598"/>
                <a:gd name="connsiteY8" fmla="*/ 1798365 h 1798365"/>
                <a:gd name="connsiteX0" fmla="*/ 1178015 w 1951598"/>
                <a:gd name="connsiteY0" fmla="*/ 1798365 h 1798365"/>
                <a:gd name="connsiteX1" fmla="*/ 196676 w 1951598"/>
                <a:gd name="connsiteY1" fmla="*/ 1075457 h 1798365"/>
                <a:gd name="connsiteX2" fmla="*/ 343041 w 1951598"/>
                <a:gd name="connsiteY2" fmla="*/ 636422 h 1798365"/>
                <a:gd name="connsiteX3" fmla="*/ 37199 w 1951598"/>
                <a:gd name="connsiteY3" fmla="*/ 729952 h 1798365"/>
                <a:gd name="connsiteX4" fmla="*/ 846071 w 1951598"/>
                <a:gd name="connsiteY4" fmla="*/ 16234 h 1798365"/>
                <a:gd name="connsiteX5" fmla="*/ 756455 w 1951598"/>
                <a:gd name="connsiteY5" fmla="*/ 287981 h 1798365"/>
                <a:gd name="connsiteX6" fmla="*/ 1242685 w 1951598"/>
                <a:gd name="connsiteY6" fmla="*/ 197673 h 1798365"/>
                <a:gd name="connsiteX7" fmla="*/ 1951598 w 1951598"/>
                <a:gd name="connsiteY7" fmla="*/ 800990 h 1798365"/>
                <a:gd name="connsiteX8" fmla="*/ 1178015 w 1951598"/>
                <a:gd name="connsiteY8" fmla="*/ 1798365 h 1798365"/>
                <a:gd name="connsiteX0" fmla="*/ 1169038 w 1951598"/>
                <a:gd name="connsiteY0" fmla="*/ 1793156 h 1793156"/>
                <a:gd name="connsiteX1" fmla="*/ 196676 w 1951598"/>
                <a:gd name="connsiteY1" fmla="*/ 1075457 h 1793156"/>
                <a:gd name="connsiteX2" fmla="*/ 343041 w 1951598"/>
                <a:gd name="connsiteY2" fmla="*/ 636422 h 1793156"/>
                <a:gd name="connsiteX3" fmla="*/ 37199 w 1951598"/>
                <a:gd name="connsiteY3" fmla="*/ 729952 h 1793156"/>
                <a:gd name="connsiteX4" fmla="*/ 846071 w 1951598"/>
                <a:gd name="connsiteY4" fmla="*/ 16234 h 1793156"/>
                <a:gd name="connsiteX5" fmla="*/ 756455 w 1951598"/>
                <a:gd name="connsiteY5" fmla="*/ 287981 h 1793156"/>
                <a:gd name="connsiteX6" fmla="*/ 1242685 w 1951598"/>
                <a:gd name="connsiteY6" fmla="*/ 197673 h 1793156"/>
                <a:gd name="connsiteX7" fmla="*/ 1951598 w 1951598"/>
                <a:gd name="connsiteY7" fmla="*/ 800990 h 1793156"/>
                <a:gd name="connsiteX8" fmla="*/ 1169038 w 1951598"/>
                <a:gd name="connsiteY8" fmla="*/ 1793156 h 1793156"/>
                <a:gd name="connsiteX0" fmla="*/ 1169038 w 1951598"/>
                <a:gd name="connsiteY0" fmla="*/ 1793156 h 1793156"/>
                <a:gd name="connsiteX1" fmla="*/ 196676 w 1951598"/>
                <a:gd name="connsiteY1" fmla="*/ 1075457 h 1793156"/>
                <a:gd name="connsiteX2" fmla="*/ 343041 w 1951598"/>
                <a:gd name="connsiteY2" fmla="*/ 636422 h 1793156"/>
                <a:gd name="connsiteX3" fmla="*/ 37199 w 1951598"/>
                <a:gd name="connsiteY3" fmla="*/ 729952 h 1793156"/>
                <a:gd name="connsiteX4" fmla="*/ 846071 w 1951598"/>
                <a:gd name="connsiteY4" fmla="*/ 16234 h 1793156"/>
                <a:gd name="connsiteX5" fmla="*/ 756455 w 1951598"/>
                <a:gd name="connsiteY5" fmla="*/ 287981 h 1793156"/>
                <a:gd name="connsiteX6" fmla="*/ 1242685 w 1951598"/>
                <a:gd name="connsiteY6" fmla="*/ 197673 h 1793156"/>
                <a:gd name="connsiteX7" fmla="*/ 1951598 w 1951598"/>
                <a:gd name="connsiteY7" fmla="*/ 800990 h 1793156"/>
                <a:gd name="connsiteX8" fmla="*/ 1169038 w 1951598"/>
                <a:gd name="connsiteY8" fmla="*/ 1793156 h 1793156"/>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36630 w 1931773"/>
                <a:gd name="connsiteY5" fmla="*/ 197148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213 w 1931773"/>
                <a:gd name="connsiteY0" fmla="*/ 1702323 h 1702323"/>
                <a:gd name="connsiteX1" fmla="*/ 176851 w 1931773"/>
                <a:gd name="connsiteY1" fmla="*/ 984624 h 1702323"/>
                <a:gd name="connsiteX2" fmla="*/ 323216 w 1931773"/>
                <a:gd name="connsiteY2" fmla="*/ 545589 h 1702323"/>
                <a:gd name="connsiteX3" fmla="*/ 17374 w 1931773"/>
                <a:gd name="connsiteY3" fmla="*/ 639119 h 1702323"/>
                <a:gd name="connsiteX4" fmla="*/ 912608 w 1931773"/>
                <a:gd name="connsiteY4" fmla="*/ 15597 h 1702323"/>
                <a:gd name="connsiteX5" fmla="*/ 788447 w 1931773"/>
                <a:gd name="connsiteY5" fmla="*/ 242245 h 1702323"/>
                <a:gd name="connsiteX6" fmla="*/ 1222860 w 1931773"/>
                <a:gd name="connsiteY6" fmla="*/ 106840 h 1702323"/>
                <a:gd name="connsiteX7" fmla="*/ 1931773 w 1931773"/>
                <a:gd name="connsiteY7" fmla="*/ 710157 h 1702323"/>
                <a:gd name="connsiteX8" fmla="*/ 1149213 w 1931773"/>
                <a:gd name="connsiteY8" fmla="*/ 1702323 h 1702323"/>
                <a:gd name="connsiteX0" fmla="*/ 1149539 w 1932099"/>
                <a:gd name="connsiteY0" fmla="*/ 1693462 h 1693462"/>
                <a:gd name="connsiteX1" fmla="*/ 177177 w 1932099"/>
                <a:gd name="connsiteY1" fmla="*/ 975763 h 1693462"/>
                <a:gd name="connsiteX2" fmla="*/ 323542 w 1932099"/>
                <a:gd name="connsiteY2" fmla="*/ 536728 h 1693462"/>
                <a:gd name="connsiteX3" fmla="*/ 17700 w 1932099"/>
                <a:gd name="connsiteY3" fmla="*/ 630258 h 1693462"/>
                <a:gd name="connsiteX4" fmla="*/ 919844 w 1932099"/>
                <a:gd name="connsiteY4" fmla="*/ 15756 h 1693462"/>
                <a:gd name="connsiteX5" fmla="*/ 788773 w 1932099"/>
                <a:gd name="connsiteY5" fmla="*/ 233384 h 1693462"/>
                <a:gd name="connsiteX6" fmla="*/ 1223186 w 1932099"/>
                <a:gd name="connsiteY6" fmla="*/ 97979 h 1693462"/>
                <a:gd name="connsiteX7" fmla="*/ 1932099 w 1932099"/>
                <a:gd name="connsiteY7" fmla="*/ 701296 h 1693462"/>
                <a:gd name="connsiteX8" fmla="*/ 1149539 w 1932099"/>
                <a:gd name="connsiteY8" fmla="*/ 1693462 h 1693462"/>
                <a:gd name="connsiteX0" fmla="*/ 1149539 w 1932099"/>
                <a:gd name="connsiteY0" fmla="*/ 1693462 h 1693462"/>
                <a:gd name="connsiteX1" fmla="*/ 177177 w 1932099"/>
                <a:gd name="connsiteY1" fmla="*/ 975763 h 1693462"/>
                <a:gd name="connsiteX2" fmla="*/ 323542 w 1932099"/>
                <a:gd name="connsiteY2" fmla="*/ 536728 h 1693462"/>
                <a:gd name="connsiteX3" fmla="*/ 17700 w 1932099"/>
                <a:gd name="connsiteY3" fmla="*/ 630258 h 1693462"/>
                <a:gd name="connsiteX4" fmla="*/ 919844 w 1932099"/>
                <a:gd name="connsiteY4" fmla="*/ 15756 h 1693462"/>
                <a:gd name="connsiteX5" fmla="*/ 788773 w 1932099"/>
                <a:gd name="connsiteY5" fmla="*/ 233384 h 1693462"/>
                <a:gd name="connsiteX6" fmla="*/ 1223186 w 1932099"/>
                <a:gd name="connsiteY6" fmla="*/ 97979 h 1693462"/>
                <a:gd name="connsiteX7" fmla="*/ 1932099 w 1932099"/>
                <a:gd name="connsiteY7" fmla="*/ 701296 h 1693462"/>
                <a:gd name="connsiteX8" fmla="*/ 1149539 w 1932099"/>
                <a:gd name="connsiteY8" fmla="*/ 1693462 h 1693462"/>
                <a:gd name="connsiteX0" fmla="*/ 1132747 w 1915307"/>
                <a:gd name="connsiteY0" fmla="*/ 1692982 h 1692982"/>
                <a:gd name="connsiteX1" fmla="*/ 160385 w 1915307"/>
                <a:gd name="connsiteY1" fmla="*/ 975283 h 1692982"/>
                <a:gd name="connsiteX2" fmla="*/ 306750 w 1915307"/>
                <a:gd name="connsiteY2" fmla="*/ 536248 h 1692982"/>
                <a:gd name="connsiteX3" fmla="*/ 908 w 1915307"/>
                <a:gd name="connsiteY3" fmla="*/ 629778 h 1692982"/>
                <a:gd name="connsiteX4" fmla="*/ 903052 w 1915307"/>
                <a:gd name="connsiteY4" fmla="*/ 15276 h 1692982"/>
                <a:gd name="connsiteX5" fmla="*/ 771981 w 1915307"/>
                <a:gd name="connsiteY5" fmla="*/ 232904 h 1692982"/>
                <a:gd name="connsiteX6" fmla="*/ 1206394 w 1915307"/>
                <a:gd name="connsiteY6" fmla="*/ 97499 h 1692982"/>
                <a:gd name="connsiteX7" fmla="*/ 1915307 w 1915307"/>
                <a:gd name="connsiteY7" fmla="*/ 700816 h 1692982"/>
                <a:gd name="connsiteX8" fmla="*/ 1132747 w 1915307"/>
                <a:gd name="connsiteY8" fmla="*/ 1692982 h 1692982"/>
                <a:gd name="connsiteX0" fmla="*/ 1133368 w 1915928"/>
                <a:gd name="connsiteY0" fmla="*/ 1692863 h 1692863"/>
                <a:gd name="connsiteX1" fmla="*/ 161006 w 1915928"/>
                <a:gd name="connsiteY1" fmla="*/ 975164 h 1692863"/>
                <a:gd name="connsiteX2" fmla="*/ 307371 w 1915928"/>
                <a:gd name="connsiteY2" fmla="*/ 536129 h 1692863"/>
                <a:gd name="connsiteX3" fmla="*/ 1529 w 1915928"/>
                <a:gd name="connsiteY3" fmla="*/ 629659 h 1692863"/>
                <a:gd name="connsiteX4" fmla="*/ 903673 w 1915928"/>
                <a:gd name="connsiteY4" fmla="*/ 15157 h 1692863"/>
                <a:gd name="connsiteX5" fmla="*/ 772602 w 1915928"/>
                <a:gd name="connsiteY5" fmla="*/ 232785 h 1692863"/>
                <a:gd name="connsiteX6" fmla="*/ 1207015 w 1915928"/>
                <a:gd name="connsiteY6" fmla="*/ 97380 h 1692863"/>
                <a:gd name="connsiteX7" fmla="*/ 1915928 w 1915928"/>
                <a:gd name="connsiteY7" fmla="*/ 700697 h 1692863"/>
                <a:gd name="connsiteX8" fmla="*/ 1133368 w 1915928"/>
                <a:gd name="connsiteY8" fmla="*/ 1692863 h 1692863"/>
                <a:gd name="connsiteX0" fmla="*/ 1150540 w 1933100"/>
                <a:gd name="connsiteY0" fmla="*/ 1693774 h 1693774"/>
                <a:gd name="connsiteX1" fmla="*/ 178178 w 1933100"/>
                <a:gd name="connsiteY1" fmla="*/ 976075 h 1693774"/>
                <a:gd name="connsiteX2" fmla="*/ 324543 w 1933100"/>
                <a:gd name="connsiteY2" fmla="*/ 537040 h 1693774"/>
                <a:gd name="connsiteX3" fmla="*/ 18701 w 1933100"/>
                <a:gd name="connsiteY3" fmla="*/ 630570 h 1693774"/>
                <a:gd name="connsiteX4" fmla="*/ 920845 w 1933100"/>
                <a:gd name="connsiteY4" fmla="*/ 16068 h 1693774"/>
                <a:gd name="connsiteX5" fmla="*/ 789774 w 1933100"/>
                <a:gd name="connsiteY5" fmla="*/ 233696 h 1693774"/>
                <a:gd name="connsiteX6" fmla="*/ 1224187 w 1933100"/>
                <a:gd name="connsiteY6" fmla="*/ 98291 h 1693774"/>
                <a:gd name="connsiteX7" fmla="*/ 1933100 w 1933100"/>
                <a:gd name="connsiteY7" fmla="*/ 701608 h 1693774"/>
                <a:gd name="connsiteX8" fmla="*/ 1150540 w 1933100"/>
                <a:gd name="connsiteY8" fmla="*/ 1693774 h 1693774"/>
                <a:gd name="connsiteX0" fmla="*/ 1150540 w 1933100"/>
                <a:gd name="connsiteY0" fmla="*/ 1693774 h 1693774"/>
                <a:gd name="connsiteX1" fmla="*/ 178178 w 1933100"/>
                <a:gd name="connsiteY1" fmla="*/ 976075 h 1693774"/>
                <a:gd name="connsiteX2" fmla="*/ 324543 w 1933100"/>
                <a:gd name="connsiteY2" fmla="*/ 537040 h 1693774"/>
                <a:gd name="connsiteX3" fmla="*/ 18701 w 1933100"/>
                <a:gd name="connsiteY3" fmla="*/ 630570 h 1693774"/>
                <a:gd name="connsiteX4" fmla="*/ 920845 w 1933100"/>
                <a:gd name="connsiteY4" fmla="*/ 16068 h 1693774"/>
                <a:gd name="connsiteX5" fmla="*/ 789774 w 1933100"/>
                <a:gd name="connsiteY5" fmla="*/ 233696 h 1693774"/>
                <a:gd name="connsiteX6" fmla="*/ 1224187 w 1933100"/>
                <a:gd name="connsiteY6" fmla="*/ 98291 h 1693774"/>
                <a:gd name="connsiteX7" fmla="*/ 1933100 w 1933100"/>
                <a:gd name="connsiteY7" fmla="*/ 701608 h 1693774"/>
                <a:gd name="connsiteX8" fmla="*/ 1150540 w 1933100"/>
                <a:gd name="connsiteY8" fmla="*/ 1693774 h 169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3100" h="1693774">
                  <a:moveTo>
                    <a:pt x="1150540" y="1693774"/>
                  </a:moveTo>
                  <a:lnTo>
                    <a:pt x="178178" y="976075"/>
                  </a:lnTo>
                  <a:cubicBezTo>
                    <a:pt x="831512" y="340729"/>
                    <a:pt x="467383" y="454429"/>
                    <a:pt x="324543" y="537040"/>
                  </a:cubicBezTo>
                  <a:cubicBezTo>
                    <a:pt x="268334" y="569548"/>
                    <a:pt x="79350" y="668484"/>
                    <a:pt x="18701" y="630570"/>
                  </a:cubicBezTo>
                  <a:cubicBezTo>
                    <a:pt x="-144037" y="528836"/>
                    <a:pt x="805625" y="-108492"/>
                    <a:pt x="920845" y="16068"/>
                  </a:cubicBezTo>
                  <a:cubicBezTo>
                    <a:pt x="973201" y="51482"/>
                    <a:pt x="739217" y="219992"/>
                    <a:pt x="789774" y="233696"/>
                  </a:cubicBezTo>
                  <a:cubicBezTo>
                    <a:pt x="840331" y="247400"/>
                    <a:pt x="1028352" y="177269"/>
                    <a:pt x="1224187" y="98291"/>
                  </a:cubicBezTo>
                  <a:lnTo>
                    <a:pt x="1933100" y="701608"/>
                  </a:lnTo>
                  <a:cubicBezTo>
                    <a:pt x="1544645" y="1109687"/>
                    <a:pt x="1317888" y="1444885"/>
                    <a:pt x="1150540" y="1693774"/>
                  </a:cubicBezTo>
                  <a:close/>
                </a:path>
              </a:pathLst>
            </a:custGeom>
            <a:solidFill>
              <a:srgbClr val="DFE6ED">
                <a:alpha val="54000"/>
              </a:srgbClr>
            </a:solidFill>
            <a:ln>
              <a:noFill/>
            </a:ln>
            <a:effectLst>
              <a:outerShdw blurRad="279400" dist="38100" dir="2700000" algn="tl" rotWithShape="0">
                <a:prstClr val="black">
                  <a:alpha val="40000"/>
                </a:prstClr>
              </a:outerShdw>
            </a:effectLst>
            <a:scene3d>
              <a:camera prst="orthographicFront"/>
              <a:lightRig rig="sunset" dir="t"/>
            </a:scene3d>
            <a:sp3d prstMaterial="clear">
              <a:bevelT w="50800" h="133350"/>
              <a:bevelB w="25400" h="107950"/>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35" name="Freihandform 34"/>
            <p:cNvSpPr/>
            <p:nvPr/>
          </p:nvSpPr>
          <p:spPr bwMode="auto">
            <a:xfrm>
              <a:off x="7632915" y="2766174"/>
              <a:ext cx="1081476" cy="874975"/>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3086216 w 5964568"/>
                <a:gd name="connsiteY13" fmla="*/ 506329 h 3223934"/>
                <a:gd name="connsiteX14" fmla="*/ 3698561 w 5964568"/>
                <a:gd name="connsiteY14" fmla="*/ 229108 h 3223934"/>
                <a:gd name="connsiteX15" fmla="*/ 3623481 w 5964568"/>
                <a:gd name="connsiteY15" fmla="*/ 391636 h 3223934"/>
                <a:gd name="connsiteX16" fmla="*/ 4344358 w 5964568"/>
                <a:gd name="connsiteY16" fmla="*/ 191012 h 3223934"/>
                <a:gd name="connsiteX17" fmla="*/ 4788590 w 5964568"/>
                <a:gd name="connsiteY17" fmla="*/ 50815 h 3223934"/>
                <a:gd name="connsiteX18" fmla="*/ 5066181 w 5964568"/>
                <a:gd name="connsiteY18" fmla="*/ 91750 h 3223934"/>
                <a:gd name="connsiteX19" fmla="*/ 5478894 w 5964568"/>
                <a:gd name="connsiteY19" fmla="*/ 0 h 3223934"/>
                <a:gd name="connsiteX20" fmla="*/ 5964568 w 5964568"/>
                <a:gd name="connsiteY20" fmla="*/ 320593 h 3223934"/>
                <a:gd name="connsiteX21" fmla="*/ 1736389 w 5964568"/>
                <a:gd name="connsiteY21" fmla="*/ 3223934 h 3223934"/>
                <a:gd name="connsiteX22" fmla="*/ 212611 w 5964568"/>
                <a:gd name="connsiteY22" fmla="*/ 2870244 h 3223934"/>
                <a:gd name="connsiteX0" fmla="*/ 212611 w 5964568"/>
                <a:gd name="connsiteY0" fmla="*/ 287024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320564 w 5964568"/>
                <a:gd name="connsiteY8" fmla="*/ 954861 h 3223934"/>
                <a:gd name="connsiteX9" fmla="*/ 1934587 w 5964568"/>
                <a:gd name="connsiteY9" fmla="*/ 936083 h 3223934"/>
                <a:gd name="connsiteX10" fmla="*/ 2724695 w 5964568"/>
                <a:gd name="connsiteY10" fmla="*/ 645345 h 3223934"/>
                <a:gd name="connsiteX11" fmla="*/ 2671161 w 5964568"/>
                <a:gd name="connsiteY11" fmla="*/ 812170 h 3223934"/>
                <a:gd name="connsiteX12" fmla="*/ 3352287 w 5964568"/>
                <a:gd name="connsiteY12" fmla="*/ 518178 h 3223934"/>
                <a:gd name="connsiteX13" fmla="*/ 3086216 w 5964568"/>
                <a:gd name="connsiteY13" fmla="*/ 506329 h 3223934"/>
                <a:gd name="connsiteX14" fmla="*/ 3698561 w 5964568"/>
                <a:gd name="connsiteY14" fmla="*/ 229108 h 3223934"/>
                <a:gd name="connsiteX15" fmla="*/ 3623481 w 5964568"/>
                <a:gd name="connsiteY15" fmla="*/ 391636 h 3223934"/>
                <a:gd name="connsiteX16" fmla="*/ 4344358 w 5964568"/>
                <a:gd name="connsiteY16" fmla="*/ 191012 h 3223934"/>
                <a:gd name="connsiteX17" fmla="*/ 5066181 w 5964568"/>
                <a:gd name="connsiteY17" fmla="*/ 91750 h 3223934"/>
                <a:gd name="connsiteX18" fmla="*/ 5478894 w 5964568"/>
                <a:gd name="connsiteY18" fmla="*/ 0 h 3223934"/>
                <a:gd name="connsiteX19" fmla="*/ 5964568 w 5964568"/>
                <a:gd name="connsiteY19" fmla="*/ 320593 h 3223934"/>
                <a:gd name="connsiteX20" fmla="*/ 1736389 w 5964568"/>
                <a:gd name="connsiteY20" fmla="*/ 3223934 h 3223934"/>
                <a:gd name="connsiteX21" fmla="*/ 212611 w 5964568"/>
                <a:gd name="connsiteY21" fmla="*/ 2870244 h 3223934"/>
                <a:gd name="connsiteX0" fmla="*/ 212611 w 5964568"/>
                <a:gd name="connsiteY0" fmla="*/ 2872385 h 3226075"/>
                <a:gd name="connsiteX1" fmla="*/ 160498 w 5964568"/>
                <a:gd name="connsiteY1" fmla="*/ 2670775 h 3226075"/>
                <a:gd name="connsiteX2" fmla="*/ 418903 w 5964568"/>
                <a:gd name="connsiteY2" fmla="*/ 2370365 h 3226075"/>
                <a:gd name="connsiteX3" fmla="*/ 914255 w 5964568"/>
                <a:gd name="connsiteY3" fmla="*/ 2221959 h 3226075"/>
                <a:gd name="connsiteX4" fmla="*/ 1020177 w 5964568"/>
                <a:gd name="connsiteY4" fmla="*/ 1818121 h 3226075"/>
                <a:gd name="connsiteX5" fmla="*/ 714335 w 5964568"/>
                <a:gd name="connsiteY5" fmla="*/ 1911651 h 3226075"/>
                <a:gd name="connsiteX6" fmla="*/ 1523207 w 5964568"/>
                <a:gd name="connsiteY6" fmla="*/ 1197933 h 3226075"/>
                <a:gd name="connsiteX7" fmla="*/ 1433591 w 5964568"/>
                <a:gd name="connsiteY7" fmla="*/ 1469680 h 3226075"/>
                <a:gd name="connsiteX8" fmla="*/ 2320564 w 5964568"/>
                <a:gd name="connsiteY8" fmla="*/ 957002 h 3226075"/>
                <a:gd name="connsiteX9" fmla="*/ 1934587 w 5964568"/>
                <a:gd name="connsiteY9" fmla="*/ 938224 h 3226075"/>
                <a:gd name="connsiteX10" fmla="*/ 2724695 w 5964568"/>
                <a:gd name="connsiteY10" fmla="*/ 647486 h 3226075"/>
                <a:gd name="connsiteX11" fmla="*/ 2671161 w 5964568"/>
                <a:gd name="connsiteY11" fmla="*/ 814311 h 3226075"/>
                <a:gd name="connsiteX12" fmla="*/ 3352287 w 5964568"/>
                <a:gd name="connsiteY12" fmla="*/ 520319 h 3226075"/>
                <a:gd name="connsiteX13" fmla="*/ 3086216 w 5964568"/>
                <a:gd name="connsiteY13" fmla="*/ 508470 h 3226075"/>
                <a:gd name="connsiteX14" fmla="*/ 3698561 w 5964568"/>
                <a:gd name="connsiteY14" fmla="*/ 231249 h 3226075"/>
                <a:gd name="connsiteX15" fmla="*/ 3623481 w 5964568"/>
                <a:gd name="connsiteY15" fmla="*/ 393777 h 3226075"/>
                <a:gd name="connsiteX16" fmla="*/ 4344358 w 5964568"/>
                <a:gd name="connsiteY16" fmla="*/ 193153 h 3226075"/>
                <a:gd name="connsiteX17" fmla="*/ 5478894 w 5964568"/>
                <a:gd name="connsiteY17" fmla="*/ 2141 h 3226075"/>
                <a:gd name="connsiteX18" fmla="*/ 5964568 w 5964568"/>
                <a:gd name="connsiteY18" fmla="*/ 322734 h 3226075"/>
                <a:gd name="connsiteX19" fmla="*/ 1736389 w 5964568"/>
                <a:gd name="connsiteY19" fmla="*/ 3226075 h 3226075"/>
                <a:gd name="connsiteX20" fmla="*/ 212611 w 5964568"/>
                <a:gd name="connsiteY20" fmla="*/ 2872385 h 3226075"/>
                <a:gd name="connsiteX0" fmla="*/ 212611 w 6036372"/>
                <a:gd name="connsiteY0" fmla="*/ 2817101 h 3170791"/>
                <a:gd name="connsiteX1" fmla="*/ 160498 w 6036372"/>
                <a:gd name="connsiteY1" fmla="*/ 2615491 h 3170791"/>
                <a:gd name="connsiteX2" fmla="*/ 418903 w 6036372"/>
                <a:gd name="connsiteY2" fmla="*/ 2315081 h 3170791"/>
                <a:gd name="connsiteX3" fmla="*/ 914255 w 6036372"/>
                <a:gd name="connsiteY3" fmla="*/ 2166675 h 3170791"/>
                <a:gd name="connsiteX4" fmla="*/ 1020177 w 6036372"/>
                <a:gd name="connsiteY4" fmla="*/ 1762837 h 3170791"/>
                <a:gd name="connsiteX5" fmla="*/ 714335 w 6036372"/>
                <a:gd name="connsiteY5" fmla="*/ 1856367 h 3170791"/>
                <a:gd name="connsiteX6" fmla="*/ 1523207 w 6036372"/>
                <a:gd name="connsiteY6" fmla="*/ 1142649 h 3170791"/>
                <a:gd name="connsiteX7" fmla="*/ 1433591 w 6036372"/>
                <a:gd name="connsiteY7" fmla="*/ 1414396 h 3170791"/>
                <a:gd name="connsiteX8" fmla="*/ 2320564 w 6036372"/>
                <a:gd name="connsiteY8" fmla="*/ 901718 h 3170791"/>
                <a:gd name="connsiteX9" fmla="*/ 1934587 w 6036372"/>
                <a:gd name="connsiteY9" fmla="*/ 882940 h 3170791"/>
                <a:gd name="connsiteX10" fmla="*/ 2724695 w 6036372"/>
                <a:gd name="connsiteY10" fmla="*/ 592202 h 3170791"/>
                <a:gd name="connsiteX11" fmla="*/ 2671161 w 6036372"/>
                <a:gd name="connsiteY11" fmla="*/ 759027 h 3170791"/>
                <a:gd name="connsiteX12" fmla="*/ 3352287 w 6036372"/>
                <a:gd name="connsiteY12" fmla="*/ 465035 h 3170791"/>
                <a:gd name="connsiteX13" fmla="*/ 3086216 w 6036372"/>
                <a:gd name="connsiteY13" fmla="*/ 453186 h 3170791"/>
                <a:gd name="connsiteX14" fmla="*/ 3698561 w 6036372"/>
                <a:gd name="connsiteY14" fmla="*/ 175965 h 3170791"/>
                <a:gd name="connsiteX15" fmla="*/ 3623481 w 6036372"/>
                <a:gd name="connsiteY15" fmla="*/ 338493 h 3170791"/>
                <a:gd name="connsiteX16" fmla="*/ 4344358 w 6036372"/>
                <a:gd name="connsiteY16" fmla="*/ 137869 h 3170791"/>
                <a:gd name="connsiteX17" fmla="*/ 5964568 w 6036372"/>
                <a:gd name="connsiteY17" fmla="*/ 267450 h 3170791"/>
                <a:gd name="connsiteX18" fmla="*/ 1736389 w 6036372"/>
                <a:gd name="connsiteY18" fmla="*/ 3170791 h 3170791"/>
                <a:gd name="connsiteX19" fmla="*/ 212611 w 6036372"/>
                <a:gd name="connsiteY19" fmla="*/ 2817101 h 3170791"/>
                <a:gd name="connsiteX0" fmla="*/ 1736389 w 6036371"/>
                <a:gd name="connsiteY0" fmla="*/ 3170791 h 3170791"/>
                <a:gd name="connsiteX1" fmla="*/ 160498 w 6036371"/>
                <a:gd name="connsiteY1" fmla="*/ 2615491 h 3170791"/>
                <a:gd name="connsiteX2" fmla="*/ 418903 w 6036371"/>
                <a:gd name="connsiteY2" fmla="*/ 2315081 h 3170791"/>
                <a:gd name="connsiteX3" fmla="*/ 914255 w 6036371"/>
                <a:gd name="connsiteY3" fmla="*/ 2166675 h 3170791"/>
                <a:gd name="connsiteX4" fmla="*/ 1020177 w 6036371"/>
                <a:gd name="connsiteY4" fmla="*/ 1762837 h 3170791"/>
                <a:gd name="connsiteX5" fmla="*/ 714335 w 6036371"/>
                <a:gd name="connsiteY5" fmla="*/ 1856367 h 3170791"/>
                <a:gd name="connsiteX6" fmla="*/ 1523207 w 6036371"/>
                <a:gd name="connsiteY6" fmla="*/ 1142649 h 3170791"/>
                <a:gd name="connsiteX7" fmla="*/ 1433591 w 6036371"/>
                <a:gd name="connsiteY7" fmla="*/ 1414396 h 3170791"/>
                <a:gd name="connsiteX8" fmla="*/ 2320564 w 6036371"/>
                <a:gd name="connsiteY8" fmla="*/ 901718 h 3170791"/>
                <a:gd name="connsiteX9" fmla="*/ 1934587 w 6036371"/>
                <a:gd name="connsiteY9" fmla="*/ 882940 h 3170791"/>
                <a:gd name="connsiteX10" fmla="*/ 2724695 w 6036371"/>
                <a:gd name="connsiteY10" fmla="*/ 592202 h 3170791"/>
                <a:gd name="connsiteX11" fmla="*/ 2671161 w 6036371"/>
                <a:gd name="connsiteY11" fmla="*/ 759027 h 3170791"/>
                <a:gd name="connsiteX12" fmla="*/ 3352287 w 6036371"/>
                <a:gd name="connsiteY12" fmla="*/ 465035 h 3170791"/>
                <a:gd name="connsiteX13" fmla="*/ 3086216 w 6036371"/>
                <a:gd name="connsiteY13" fmla="*/ 453186 h 3170791"/>
                <a:gd name="connsiteX14" fmla="*/ 3698561 w 6036371"/>
                <a:gd name="connsiteY14" fmla="*/ 175965 h 3170791"/>
                <a:gd name="connsiteX15" fmla="*/ 3623481 w 6036371"/>
                <a:gd name="connsiteY15" fmla="*/ 338493 h 3170791"/>
                <a:gd name="connsiteX16" fmla="*/ 4344358 w 6036371"/>
                <a:gd name="connsiteY16" fmla="*/ 137869 h 3170791"/>
                <a:gd name="connsiteX17" fmla="*/ 5964568 w 6036371"/>
                <a:gd name="connsiteY17" fmla="*/ 267450 h 3170791"/>
                <a:gd name="connsiteX18" fmla="*/ 1736389 w 6036371"/>
                <a:gd name="connsiteY18" fmla="*/ 3170791 h 3170791"/>
                <a:gd name="connsiteX0" fmla="*/ 1317486 w 5617468"/>
                <a:gd name="connsiteY0" fmla="*/ 3170791 h 3170791"/>
                <a:gd name="connsiteX1" fmla="*/ 0 w 5617468"/>
                <a:gd name="connsiteY1" fmla="*/ 2315081 h 3170791"/>
                <a:gd name="connsiteX2" fmla="*/ 495352 w 5617468"/>
                <a:gd name="connsiteY2" fmla="*/ 2166675 h 3170791"/>
                <a:gd name="connsiteX3" fmla="*/ 601274 w 5617468"/>
                <a:gd name="connsiteY3" fmla="*/ 1762837 h 3170791"/>
                <a:gd name="connsiteX4" fmla="*/ 295432 w 5617468"/>
                <a:gd name="connsiteY4" fmla="*/ 1856367 h 3170791"/>
                <a:gd name="connsiteX5" fmla="*/ 1104304 w 5617468"/>
                <a:gd name="connsiteY5" fmla="*/ 1142649 h 3170791"/>
                <a:gd name="connsiteX6" fmla="*/ 1014688 w 5617468"/>
                <a:gd name="connsiteY6" fmla="*/ 1414396 h 3170791"/>
                <a:gd name="connsiteX7" fmla="*/ 1901661 w 5617468"/>
                <a:gd name="connsiteY7" fmla="*/ 901718 h 3170791"/>
                <a:gd name="connsiteX8" fmla="*/ 1515684 w 5617468"/>
                <a:gd name="connsiteY8" fmla="*/ 882940 h 3170791"/>
                <a:gd name="connsiteX9" fmla="*/ 2305792 w 5617468"/>
                <a:gd name="connsiteY9" fmla="*/ 592202 h 3170791"/>
                <a:gd name="connsiteX10" fmla="*/ 2252258 w 5617468"/>
                <a:gd name="connsiteY10" fmla="*/ 759027 h 3170791"/>
                <a:gd name="connsiteX11" fmla="*/ 2933384 w 5617468"/>
                <a:gd name="connsiteY11" fmla="*/ 465035 h 3170791"/>
                <a:gd name="connsiteX12" fmla="*/ 2667313 w 5617468"/>
                <a:gd name="connsiteY12" fmla="*/ 453186 h 3170791"/>
                <a:gd name="connsiteX13" fmla="*/ 3279658 w 5617468"/>
                <a:gd name="connsiteY13" fmla="*/ 175965 h 3170791"/>
                <a:gd name="connsiteX14" fmla="*/ 3204578 w 5617468"/>
                <a:gd name="connsiteY14" fmla="*/ 338493 h 3170791"/>
                <a:gd name="connsiteX15" fmla="*/ 3925455 w 5617468"/>
                <a:gd name="connsiteY15" fmla="*/ 137869 h 3170791"/>
                <a:gd name="connsiteX16" fmla="*/ 5545665 w 5617468"/>
                <a:gd name="connsiteY16" fmla="*/ 267450 h 3170791"/>
                <a:gd name="connsiteX17" fmla="*/ 1317486 w 5617468"/>
                <a:gd name="connsiteY17" fmla="*/ 3170791 h 3170791"/>
                <a:gd name="connsiteX0" fmla="*/ 1053179 w 5353161"/>
                <a:gd name="connsiteY0" fmla="*/ 3170791 h 3170791"/>
                <a:gd name="connsiteX1" fmla="*/ 231045 w 5353161"/>
                <a:gd name="connsiteY1" fmla="*/ 2166675 h 3170791"/>
                <a:gd name="connsiteX2" fmla="*/ 336967 w 5353161"/>
                <a:gd name="connsiteY2" fmla="*/ 1762837 h 3170791"/>
                <a:gd name="connsiteX3" fmla="*/ 31125 w 5353161"/>
                <a:gd name="connsiteY3" fmla="*/ 1856367 h 3170791"/>
                <a:gd name="connsiteX4" fmla="*/ 839997 w 5353161"/>
                <a:gd name="connsiteY4" fmla="*/ 1142649 h 3170791"/>
                <a:gd name="connsiteX5" fmla="*/ 750381 w 5353161"/>
                <a:gd name="connsiteY5" fmla="*/ 1414396 h 3170791"/>
                <a:gd name="connsiteX6" fmla="*/ 1637354 w 5353161"/>
                <a:gd name="connsiteY6" fmla="*/ 901718 h 3170791"/>
                <a:gd name="connsiteX7" fmla="*/ 1251377 w 5353161"/>
                <a:gd name="connsiteY7" fmla="*/ 882940 h 3170791"/>
                <a:gd name="connsiteX8" fmla="*/ 2041485 w 5353161"/>
                <a:gd name="connsiteY8" fmla="*/ 592202 h 3170791"/>
                <a:gd name="connsiteX9" fmla="*/ 1987951 w 5353161"/>
                <a:gd name="connsiteY9" fmla="*/ 759027 h 3170791"/>
                <a:gd name="connsiteX10" fmla="*/ 2669077 w 5353161"/>
                <a:gd name="connsiteY10" fmla="*/ 465035 h 3170791"/>
                <a:gd name="connsiteX11" fmla="*/ 2403006 w 5353161"/>
                <a:gd name="connsiteY11" fmla="*/ 453186 h 3170791"/>
                <a:gd name="connsiteX12" fmla="*/ 3015351 w 5353161"/>
                <a:gd name="connsiteY12" fmla="*/ 175965 h 3170791"/>
                <a:gd name="connsiteX13" fmla="*/ 2940271 w 5353161"/>
                <a:gd name="connsiteY13" fmla="*/ 338493 h 3170791"/>
                <a:gd name="connsiteX14" fmla="*/ 3661148 w 5353161"/>
                <a:gd name="connsiteY14" fmla="*/ 137869 h 3170791"/>
                <a:gd name="connsiteX15" fmla="*/ 5281358 w 5353161"/>
                <a:gd name="connsiteY15" fmla="*/ 267450 h 3170791"/>
                <a:gd name="connsiteX16" fmla="*/ 1053179 w 5353161"/>
                <a:gd name="connsiteY16" fmla="*/ 3170791 h 3170791"/>
                <a:gd name="connsiteX0" fmla="*/ 1053179 w 5353161"/>
                <a:gd name="connsiteY0" fmla="*/ 3170791 h 3170791"/>
                <a:gd name="connsiteX1" fmla="*/ 336967 w 5353161"/>
                <a:gd name="connsiteY1" fmla="*/ 1762837 h 3170791"/>
                <a:gd name="connsiteX2" fmla="*/ 31125 w 5353161"/>
                <a:gd name="connsiteY2" fmla="*/ 1856367 h 3170791"/>
                <a:gd name="connsiteX3" fmla="*/ 839997 w 5353161"/>
                <a:gd name="connsiteY3" fmla="*/ 1142649 h 3170791"/>
                <a:gd name="connsiteX4" fmla="*/ 750381 w 5353161"/>
                <a:gd name="connsiteY4" fmla="*/ 1414396 h 3170791"/>
                <a:gd name="connsiteX5" fmla="*/ 1637354 w 5353161"/>
                <a:gd name="connsiteY5" fmla="*/ 901718 h 3170791"/>
                <a:gd name="connsiteX6" fmla="*/ 1251377 w 5353161"/>
                <a:gd name="connsiteY6" fmla="*/ 882940 h 3170791"/>
                <a:gd name="connsiteX7" fmla="*/ 2041485 w 5353161"/>
                <a:gd name="connsiteY7" fmla="*/ 592202 h 3170791"/>
                <a:gd name="connsiteX8" fmla="*/ 1987951 w 5353161"/>
                <a:gd name="connsiteY8" fmla="*/ 759027 h 3170791"/>
                <a:gd name="connsiteX9" fmla="*/ 2669077 w 5353161"/>
                <a:gd name="connsiteY9" fmla="*/ 465035 h 3170791"/>
                <a:gd name="connsiteX10" fmla="*/ 2403006 w 5353161"/>
                <a:gd name="connsiteY10" fmla="*/ 453186 h 3170791"/>
                <a:gd name="connsiteX11" fmla="*/ 3015351 w 5353161"/>
                <a:gd name="connsiteY11" fmla="*/ 175965 h 3170791"/>
                <a:gd name="connsiteX12" fmla="*/ 2940271 w 5353161"/>
                <a:gd name="connsiteY12" fmla="*/ 338493 h 3170791"/>
                <a:gd name="connsiteX13" fmla="*/ 3661148 w 5353161"/>
                <a:gd name="connsiteY13" fmla="*/ 137869 h 3170791"/>
                <a:gd name="connsiteX14" fmla="*/ 5281358 w 5353161"/>
                <a:gd name="connsiteY14" fmla="*/ 267450 h 3170791"/>
                <a:gd name="connsiteX15" fmla="*/ 1053179 w 5353161"/>
                <a:gd name="connsiteY15" fmla="*/ 3170791 h 3170791"/>
                <a:gd name="connsiteX0" fmla="*/ 1053179 w 5353161"/>
                <a:gd name="connsiteY0" fmla="*/ 3170791 h 3170791"/>
                <a:gd name="connsiteX1" fmla="*/ 31125 w 5353161"/>
                <a:gd name="connsiteY1" fmla="*/ 1856367 h 3170791"/>
                <a:gd name="connsiteX2" fmla="*/ 839997 w 5353161"/>
                <a:gd name="connsiteY2" fmla="*/ 1142649 h 3170791"/>
                <a:gd name="connsiteX3" fmla="*/ 750381 w 5353161"/>
                <a:gd name="connsiteY3" fmla="*/ 1414396 h 3170791"/>
                <a:gd name="connsiteX4" fmla="*/ 1637354 w 5353161"/>
                <a:gd name="connsiteY4" fmla="*/ 901718 h 3170791"/>
                <a:gd name="connsiteX5" fmla="*/ 1251377 w 5353161"/>
                <a:gd name="connsiteY5" fmla="*/ 882940 h 3170791"/>
                <a:gd name="connsiteX6" fmla="*/ 2041485 w 5353161"/>
                <a:gd name="connsiteY6" fmla="*/ 592202 h 3170791"/>
                <a:gd name="connsiteX7" fmla="*/ 1987951 w 5353161"/>
                <a:gd name="connsiteY7" fmla="*/ 759027 h 3170791"/>
                <a:gd name="connsiteX8" fmla="*/ 2669077 w 5353161"/>
                <a:gd name="connsiteY8" fmla="*/ 465035 h 3170791"/>
                <a:gd name="connsiteX9" fmla="*/ 2403006 w 5353161"/>
                <a:gd name="connsiteY9" fmla="*/ 453186 h 3170791"/>
                <a:gd name="connsiteX10" fmla="*/ 3015351 w 5353161"/>
                <a:gd name="connsiteY10" fmla="*/ 175965 h 3170791"/>
                <a:gd name="connsiteX11" fmla="*/ 2940271 w 5353161"/>
                <a:gd name="connsiteY11" fmla="*/ 338493 h 3170791"/>
                <a:gd name="connsiteX12" fmla="*/ 3661148 w 5353161"/>
                <a:gd name="connsiteY12" fmla="*/ 137869 h 3170791"/>
                <a:gd name="connsiteX13" fmla="*/ 5281358 w 5353161"/>
                <a:gd name="connsiteY13" fmla="*/ 267450 h 3170791"/>
                <a:gd name="connsiteX14" fmla="*/ 1053179 w 5353161"/>
                <a:gd name="connsiteY14" fmla="*/ 3170791 h 3170791"/>
                <a:gd name="connsiteX0" fmla="*/ 309073 w 4609055"/>
                <a:gd name="connsiteY0" fmla="*/ 3170791 h 3170791"/>
                <a:gd name="connsiteX1" fmla="*/ 95891 w 4609055"/>
                <a:gd name="connsiteY1" fmla="*/ 1142649 h 3170791"/>
                <a:gd name="connsiteX2" fmla="*/ 6275 w 4609055"/>
                <a:gd name="connsiteY2" fmla="*/ 1414396 h 3170791"/>
                <a:gd name="connsiteX3" fmla="*/ 893248 w 4609055"/>
                <a:gd name="connsiteY3" fmla="*/ 901718 h 3170791"/>
                <a:gd name="connsiteX4" fmla="*/ 507271 w 4609055"/>
                <a:gd name="connsiteY4" fmla="*/ 882940 h 3170791"/>
                <a:gd name="connsiteX5" fmla="*/ 1297379 w 4609055"/>
                <a:gd name="connsiteY5" fmla="*/ 592202 h 3170791"/>
                <a:gd name="connsiteX6" fmla="*/ 1243845 w 4609055"/>
                <a:gd name="connsiteY6" fmla="*/ 759027 h 3170791"/>
                <a:gd name="connsiteX7" fmla="*/ 1924971 w 4609055"/>
                <a:gd name="connsiteY7" fmla="*/ 465035 h 3170791"/>
                <a:gd name="connsiteX8" fmla="*/ 1658900 w 4609055"/>
                <a:gd name="connsiteY8" fmla="*/ 453186 h 3170791"/>
                <a:gd name="connsiteX9" fmla="*/ 2271245 w 4609055"/>
                <a:gd name="connsiteY9" fmla="*/ 175965 h 3170791"/>
                <a:gd name="connsiteX10" fmla="*/ 2196165 w 4609055"/>
                <a:gd name="connsiteY10" fmla="*/ 338493 h 3170791"/>
                <a:gd name="connsiteX11" fmla="*/ 2917042 w 4609055"/>
                <a:gd name="connsiteY11" fmla="*/ 137869 h 3170791"/>
                <a:gd name="connsiteX12" fmla="*/ 4537252 w 4609055"/>
                <a:gd name="connsiteY12" fmla="*/ 267450 h 3170791"/>
                <a:gd name="connsiteX13" fmla="*/ 309073 w 4609055"/>
                <a:gd name="connsiteY13" fmla="*/ 3170791 h 3170791"/>
                <a:gd name="connsiteX0" fmla="*/ 302798 w 4602780"/>
                <a:gd name="connsiteY0" fmla="*/ 3170791 h 3170791"/>
                <a:gd name="connsiteX1" fmla="*/ 0 w 4602780"/>
                <a:gd name="connsiteY1" fmla="*/ 1414396 h 3170791"/>
                <a:gd name="connsiteX2" fmla="*/ 886973 w 4602780"/>
                <a:gd name="connsiteY2" fmla="*/ 901718 h 3170791"/>
                <a:gd name="connsiteX3" fmla="*/ 500996 w 4602780"/>
                <a:gd name="connsiteY3" fmla="*/ 882940 h 3170791"/>
                <a:gd name="connsiteX4" fmla="*/ 1291104 w 4602780"/>
                <a:gd name="connsiteY4" fmla="*/ 592202 h 3170791"/>
                <a:gd name="connsiteX5" fmla="*/ 1237570 w 4602780"/>
                <a:gd name="connsiteY5" fmla="*/ 759027 h 3170791"/>
                <a:gd name="connsiteX6" fmla="*/ 1918696 w 4602780"/>
                <a:gd name="connsiteY6" fmla="*/ 465035 h 3170791"/>
                <a:gd name="connsiteX7" fmla="*/ 1652625 w 4602780"/>
                <a:gd name="connsiteY7" fmla="*/ 453186 h 3170791"/>
                <a:gd name="connsiteX8" fmla="*/ 2264970 w 4602780"/>
                <a:gd name="connsiteY8" fmla="*/ 175965 h 3170791"/>
                <a:gd name="connsiteX9" fmla="*/ 2189890 w 4602780"/>
                <a:gd name="connsiteY9" fmla="*/ 338493 h 3170791"/>
                <a:gd name="connsiteX10" fmla="*/ 2910767 w 4602780"/>
                <a:gd name="connsiteY10" fmla="*/ 137869 h 3170791"/>
                <a:gd name="connsiteX11" fmla="*/ 4530977 w 4602780"/>
                <a:gd name="connsiteY11" fmla="*/ 267450 h 3170791"/>
                <a:gd name="connsiteX12" fmla="*/ 302798 w 4602780"/>
                <a:gd name="connsiteY12" fmla="*/ 3170791 h 3170791"/>
                <a:gd name="connsiteX0" fmla="*/ 784030 w 4499837"/>
                <a:gd name="connsiteY0" fmla="*/ 901718 h 3170791"/>
                <a:gd name="connsiteX1" fmla="*/ 398053 w 4499837"/>
                <a:gd name="connsiteY1" fmla="*/ 882940 h 3170791"/>
                <a:gd name="connsiteX2" fmla="*/ 1188161 w 4499837"/>
                <a:gd name="connsiteY2" fmla="*/ 592202 h 3170791"/>
                <a:gd name="connsiteX3" fmla="*/ 1134627 w 4499837"/>
                <a:gd name="connsiteY3" fmla="*/ 759027 h 3170791"/>
                <a:gd name="connsiteX4" fmla="*/ 1815753 w 4499837"/>
                <a:gd name="connsiteY4" fmla="*/ 465035 h 3170791"/>
                <a:gd name="connsiteX5" fmla="*/ 1549682 w 4499837"/>
                <a:gd name="connsiteY5" fmla="*/ 453186 h 3170791"/>
                <a:gd name="connsiteX6" fmla="*/ 2162027 w 4499837"/>
                <a:gd name="connsiteY6" fmla="*/ 175965 h 3170791"/>
                <a:gd name="connsiteX7" fmla="*/ 2086947 w 4499837"/>
                <a:gd name="connsiteY7" fmla="*/ 338493 h 3170791"/>
                <a:gd name="connsiteX8" fmla="*/ 2807824 w 4499837"/>
                <a:gd name="connsiteY8" fmla="*/ 137869 h 3170791"/>
                <a:gd name="connsiteX9" fmla="*/ 4428034 w 4499837"/>
                <a:gd name="connsiteY9" fmla="*/ 267450 h 3170791"/>
                <a:gd name="connsiteX10" fmla="*/ 199855 w 4499837"/>
                <a:gd name="connsiteY10" fmla="*/ 3170791 h 3170791"/>
                <a:gd name="connsiteX11" fmla="*/ 0 w 4499837"/>
                <a:gd name="connsiteY11" fmla="*/ 1503990 h 3170791"/>
                <a:gd name="connsiteX0" fmla="*/ 584175 w 4299982"/>
                <a:gd name="connsiteY0" fmla="*/ 901718 h 3170791"/>
                <a:gd name="connsiteX1" fmla="*/ 198198 w 4299982"/>
                <a:gd name="connsiteY1" fmla="*/ 882940 h 3170791"/>
                <a:gd name="connsiteX2" fmla="*/ 988306 w 4299982"/>
                <a:gd name="connsiteY2" fmla="*/ 592202 h 3170791"/>
                <a:gd name="connsiteX3" fmla="*/ 934772 w 4299982"/>
                <a:gd name="connsiteY3" fmla="*/ 759027 h 3170791"/>
                <a:gd name="connsiteX4" fmla="*/ 1615898 w 4299982"/>
                <a:gd name="connsiteY4" fmla="*/ 465035 h 3170791"/>
                <a:gd name="connsiteX5" fmla="*/ 1349827 w 4299982"/>
                <a:gd name="connsiteY5" fmla="*/ 453186 h 3170791"/>
                <a:gd name="connsiteX6" fmla="*/ 1962172 w 4299982"/>
                <a:gd name="connsiteY6" fmla="*/ 175965 h 3170791"/>
                <a:gd name="connsiteX7" fmla="*/ 1887092 w 4299982"/>
                <a:gd name="connsiteY7" fmla="*/ 338493 h 3170791"/>
                <a:gd name="connsiteX8" fmla="*/ 2607969 w 4299982"/>
                <a:gd name="connsiteY8" fmla="*/ 137869 h 3170791"/>
                <a:gd name="connsiteX9" fmla="*/ 4228179 w 4299982"/>
                <a:gd name="connsiteY9" fmla="*/ 267450 h 3170791"/>
                <a:gd name="connsiteX10" fmla="*/ 0 w 4299982"/>
                <a:gd name="connsiteY10" fmla="*/ 3170791 h 3170791"/>
                <a:gd name="connsiteX0" fmla="*/ 198198 w 4299982"/>
                <a:gd name="connsiteY0" fmla="*/ 882940 h 3170791"/>
                <a:gd name="connsiteX1" fmla="*/ 988306 w 4299982"/>
                <a:gd name="connsiteY1" fmla="*/ 592202 h 3170791"/>
                <a:gd name="connsiteX2" fmla="*/ 934772 w 4299982"/>
                <a:gd name="connsiteY2" fmla="*/ 759027 h 3170791"/>
                <a:gd name="connsiteX3" fmla="*/ 1615898 w 4299982"/>
                <a:gd name="connsiteY3" fmla="*/ 465035 h 3170791"/>
                <a:gd name="connsiteX4" fmla="*/ 1349827 w 4299982"/>
                <a:gd name="connsiteY4" fmla="*/ 453186 h 3170791"/>
                <a:gd name="connsiteX5" fmla="*/ 1962172 w 4299982"/>
                <a:gd name="connsiteY5" fmla="*/ 175965 h 3170791"/>
                <a:gd name="connsiteX6" fmla="*/ 1887092 w 4299982"/>
                <a:gd name="connsiteY6" fmla="*/ 338493 h 3170791"/>
                <a:gd name="connsiteX7" fmla="*/ 2607969 w 4299982"/>
                <a:gd name="connsiteY7" fmla="*/ 137869 h 3170791"/>
                <a:gd name="connsiteX8" fmla="*/ 4228179 w 4299982"/>
                <a:gd name="connsiteY8" fmla="*/ 267450 h 3170791"/>
                <a:gd name="connsiteX9" fmla="*/ 0 w 4299982"/>
                <a:gd name="connsiteY9" fmla="*/ 3170791 h 3170791"/>
                <a:gd name="connsiteX0" fmla="*/ 988306 w 4299982"/>
                <a:gd name="connsiteY0" fmla="*/ 592202 h 3170791"/>
                <a:gd name="connsiteX1" fmla="*/ 934772 w 4299982"/>
                <a:gd name="connsiteY1" fmla="*/ 759027 h 3170791"/>
                <a:gd name="connsiteX2" fmla="*/ 1615898 w 4299982"/>
                <a:gd name="connsiteY2" fmla="*/ 465035 h 3170791"/>
                <a:gd name="connsiteX3" fmla="*/ 1349827 w 4299982"/>
                <a:gd name="connsiteY3" fmla="*/ 453186 h 3170791"/>
                <a:gd name="connsiteX4" fmla="*/ 1962172 w 4299982"/>
                <a:gd name="connsiteY4" fmla="*/ 175965 h 3170791"/>
                <a:gd name="connsiteX5" fmla="*/ 1887092 w 4299982"/>
                <a:gd name="connsiteY5" fmla="*/ 338493 h 3170791"/>
                <a:gd name="connsiteX6" fmla="*/ 2607969 w 4299982"/>
                <a:gd name="connsiteY6" fmla="*/ 137869 h 3170791"/>
                <a:gd name="connsiteX7" fmla="*/ 4228179 w 4299982"/>
                <a:gd name="connsiteY7" fmla="*/ 267450 h 3170791"/>
                <a:gd name="connsiteX8" fmla="*/ 0 w 4299982"/>
                <a:gd name="connsiteY8" fmla="*/ 3170791 h 3170791"/>
                <a:gd name="connsiteX0" fmla="*/ 934772 w 4299982"/>
                <a:gd name="connsiteY0" fmla="*/ 759027 h 3170791"/>
                <a:gd name="connsiteX1" fmla="*/ 1615898 w 4299982"/>
                <a:gd name="connsiteY1" fmla="*/ 465035 h 3170791"/>
                <a:gd name="connsiteX2" fmla="*/ 1349827 w 4299982"/>
                <a:gd name="connsiteY2" fmla="*/ 453186 h 3170791"/>
                <a:gd name="connsiteX3" fmla="*/ 1962172 w 4299982"/>
                <a:gd name="connsiteY3" fmla="*/ 175965 h 3170791"/>
                <a:gd name="connsiteX4" fmla="*/ 1887092 w 4299982"/>
                <a:gd name="connsiteY4" fmla="*/ 338493 h 3170791"/>
                <a:gd name="connsiteX5" fmla="*/ 2607969 w 4299982"/>
                <a:gd name="connsiteY5" fmla="*/ 137869 h 3170791"/>
                <a:gd name="connsiteX6" fmla="*/ 4228179 w 4299982"/>
                <a:gd name="connsiteY6" fmla="*/ 267450 h 3170791"/>
                <a:gd name="connsiteX7" fmla="*/ 0 w 4299982"/>
                <a:gd name="connsiteY7" fmla="*/ 3170791 h 3170791"/>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3390425"/>
                <a:gd name="connsiteY0" fmla="*/ 759027 h 1308185"/>
                <a:gd name="connsiteX1" fmla="*/ 706341 w 3390425"/>
                <a:gd name="connsiteY1" fmla="*/ 465035 h 1308185"/>
                <a:gd name="connsiteX2" fmla="*/ 440270 w 3390425"/>
                <a:gd name="connsiteY2" fmla="*/ 453186 h 1308185"/>
                <a:gd name="connsiteX3" fmla="*/ 1052615 w 3390425"/>
                <a:gd name="connsiteY3" fmla="*/ 175965 h 1308185"/>
                <a:gd name="connsiteX4" fmla="*/ 977535 w 3390425"/>
                <a:gd name="connsiteY4" fmla="*/ 338493 h 1308185"/>
                <a:gd name="connsiteX5" fmla="*/ 1698412 w 3390425"/>
                <a:gd name="connsiteY5" fmla="*/ 137869 h 1308185"/>
                <a:gd name="connsiteX6" fmla="*/ 3318622 w 3390425"/>
                <a:gd name="connsiteY6" fmla="*/ 267450 h 1308185"/>
                <a:gd name="connsiteX7" fmla="*/ 851313 w 3390425"/>
                <a:gd name="connsiteY7" fmla="*/ 1308185 h 1308185"/>
                <a:gd name="connsiteX0" fmla="*/ 25215 w 2100523"/>
                <a:gd name="connsiteY0" fmla="*/ 621677 h 1170835"/>
                <a:gd name="connsiteX1" fmla="*/ 706341 w 2100523"/>
                <a:gd name="connsiteY1" fmla="*/ 327685 h 1170835"/>
                <a:gd name="connsiteX2" fmla="*/ 440270 w 2100523"/>
                <a:gd name="connsiteY2" fmla="*/ 315836 h 1170835"/>
                <a:gd name="connsiteX3" fmla="*/ 1052615 w 2100523"/>
                <a:gd name="connsiteY3" fmla="*/ 38615 h 1170835"/>
                <a:gd name="connsiteX4" fmla="*/ 977535 w 2100523"/>
                <a:gd name="connsiteY4" fmla="*/ 201143 h 1170835"/>
                <a:gd name="connsiteX5" fmla="*/ 1698412 w 2100523"/>
                <a:gd name="connsiteY5" fmla="*/ 519 h 1170835"/>
                <a:gd name="connsiteX6" fmla="*/ 1855745 w 2100523"/>
                <a:gd name="connsiteY6" fmla="*/ 684166 h 1170835"/>
                <a:gd name="connsiteX7" fmla="*/ 851313 w 2100523"/>
                <a:gd name="connsiteY7" fmla="*/ 1170835 h 1170835"/>
                <a:gd name="connsiteX0" fmla="*/ 25215 w 2100522"/>
                <a:gd name="connsiteY0" fmla="*/ 621677 h 1170835"/>
                <a:gd name="connsiteX1" fmla="*/ 706341 w 2100522"/>
                <a:gd name="connsiteY1" fmla="*/ 327685 h 1170835"/>
                <a:gd name="connsiteX2" fmla="*/ 440270 w 2100522"/>
                <a:gd name="connsiteY2" fmla="*/ 315836 h 1170835"/>
                <a:gd name="connsiteX3" fmla="*/ 1052615 w 2100522"/>
                <a:gd name="connsiteY3" fmla="*/ 38615 h 1170835"/>
                <a:gd name="connsiteX4" fmla="*/ 977535 w 2100522"/>
                <a:gd name="connsiteY4" fmla="*/ 201143 h 1170835"/>
                <a:gd name="connsiteX5" fmla="*/ 1698412 w 2100522"/>
                <a:gd name="connsiteY5" fmla="*/ 519 h 1170835"/>
                <a:gd name="connsiteX6" fmla="*/ 1855745 w 2100522"/>
                <a:gd name="connsiteY6" fmla="*/ 684166 h 1170835"/>
                <a:gd name="connsiteX7" fmla="*/ 851313 w 2100522"/>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170835"/>
                <a:gd name="connsiteX1" fmla="*/ 275423 w 1669604"/>
                <a:gd name="connsiteY1" fmla="*/ 327685 h 1170835"/>
                <a:gd name="connsiteX2" fmla="*/ 9352 w 1669604"/>
                <a:gd name="connsiteY2" fmla="*/ 315836 h 1170835"/>
                <a:gd name="connsiteX3" fmla="*/ 621697 w 1669604"/>
                <a:gd name="connsiteY3" fmla="*/ 38615 h 1170835"/>
                <a:gd name="connsiteX4" fmla="*/ 546617 w 1669604"/>
                <a:gd name="connsiteY4" fmla="*/ 201143 h 1170835"/>
                <a:gd name="connsiteX5" fmla="*/ 1267494 w 1669604"/>
                <a:gd name="connsiteY5" fmla="*/ 519 h 1170835"/>
                <a:gd name="connsiteX6" fmla="*/ 1424827 w 1669604"/>
                <a:gd name="connsiteY6" fmla="*/ 684166 h 1170835"/>
                <a:gd name="connsiteX7" fmla="*/ 420395 w 1669604"/>
                <a:gd name="connsiteY7" fmla="*/ 1170835 h 1170835"/>
                <a:gd name="connsiteX0" fmla="*/ 92409 w 1669604"/>
                <a:gd name="connsiteY0" fmla="*/ 534974 h 1030458"/>
                <a:gd name="connsiteX1" fmla="*/ 275423 w 1669604"/>
                <a:gd name="connsiteY1" fmla="*/ 327685 h 1030458"/>
                <a:gd name="connsiteX2" fmla="*/ 9352 w 1669604"/>
                <a:gd name="connsiteY2" fmla="*/ 315836 h 1030458"/>
                <a:gd name="connsiteX3" fmla="*/ 621697 w 1669604"/>
                <a:gd name="connsiteY3" fmla="*/ 38615 h 1030458"/>
                <a:gd name="connsiteX4" fmla="*/ 546617 w 1669604"/>
                <a:gd name="connsiteY4" fmla="*/ 201143 h 1030458"/>
                <a:gd name="connsiteX5" fmla="*/ 1267494 w 1669604"/>
                <a:gd name="connsiteY5" fmla="*/ 519 h 1030458"/>
                <a:gd name="connsiteX6" fmla="*/ 1424827 w 1669604"/>
                <a:gd name="connsiteY6" fmla="*/ 684166 h 1030458"/>
                <a:gd name="connsiteX7" fmla="*/ 534249 w 1669604"/>
                <a:gd name="connsiteY7" fmla="*/ 1030458 h 1030458"/>
                <a:gd name="connsiteX0" fmla="*/ 92409 w 1669604"/>
                <a:gd name="connsiteY0" fmla="*/ 534974 h 1022200"/>
                <a:gd name="connsiteX1" fmla="*/ 275423 w 1669604"/>
                <a:gd name="connsiteY1" fmla="*/ 327685 h 1022200"/>
                <a:gd name="connsiteX2" fmla="*/ 9352 w 1669604"/>
                <a:gd name="connsiteY2" fmla="*/ 315836 h 1022200"/>
                <a:gd name="connsiteX3" fmla="*/ 621697 w 1669604"/>
                <a:gd name="connsiteY3" fmla="*/ 38615 h 1022200"/>
                <a:gd name="connsiteX4" fmla="*/ 546617 w 1669604"/>
                <a:gd name="connsiteY4" fmla="*/ 201143 h 1022200"/>
                <a:gd name="connsiteX5" fmla="*/ 1267494 w 1669604"/>
                <a:gd name="connsiteY5" fmla="*/ 519 h 1022200"/>
                <a:gd name="connsiteX6" fmla="*/ 1424827 w 1669604"/>
                <a:gd name="connsiteY6" fmla="*/ 684166 h 1022200"/>
                <a:gd name="connsiteX7" fmla="*/ 543736 w 1669604"/>
                <a:gd name="connsiteY7" fmla="*/ 1022200 h 1022200"/>
                <a:gd name="connsiteX0" fmla="*/ 92409 w 1669604"/>
                <a:gd name="connsiteY0" fmla="*/ 534974 h 1022200"/>
                <a:gd name="connsiteX1" fmla="*/ 275423 w 1669604"/>
                <a:gd name="connsiteY1" fmla="*/ 327685 h 1022200"/>
                <a:gd name="connsiteX2" fmla="*/ 9352 w 1669604"/>
                <a:gd name="connsiteY2" fmla="*/ 315836 h 1022200"/>
                <a:gd name="connsiteX3" fmla="*/ 621697 w 1669604"/>
                <a:gd name="connsiteY3" fmla="*/ 38615 h 1022200"/>
                <a:gd name="connsiteX4" fmla="*/ 546617 w 1669604"/>
                <a:gd name="connsiteY4" fmla="*/ 201143 h 1022200"/>
                <a:gd name="connsiteX5" fmla="*/ 1267494 w 1669604"/>
                <a:gd name="connsiteY5" fmla="*/ 519 h 1022200"/>
                <a:gd name="connsiteX6" fmla="*/ 1424827 w 1669604"/>
                <a:gd name="connsiteY6" fmla="*/ 684166 h 1022200"/>
                <a:gd name="connsiteX7" fmla="*/ 543736 w 1669604"/>
                <a:gd name="connsiteY7" fmla="*/ 1022200 h 1022200"/>
                <a:gd name="connsiteX0" fmla="*/ 92409 w 1619541"/>
                <a:gd name="connsiteY0" fmla="*/ 535189 h 1022415"/>
                <a:gd name="connsiteX1" fmla="*/ 275423 w 1619541"/>
                <a:gd name="connsiteY1" fmla="*/ 327900 h 1022415"/>
                <a:gd name="connsiteX2" fmla="*/ 9352 w 1619541"/>
                <a:gd name="connsiteY2" fmla="*/ 316051 h 1022415"/>
                <a:gd name="connsiteX3" fmla="*/ 621697 w 1619541"/>
                <a:gd name="connsiteY3" fmla="*/ 38830 h 1022415"/>
                <a:gd name="connsiteX4" fmla="*/ 546617 w 1619541"/>
                <a:gd name="connsiteY4" fmla="*/ 201358 h 1022415"/>
                <a:gd name="connsiteX5" fmla="*/ 1267494 w 1619541"/>
                <a:gd name="connsiteY5" fmla="*/ 734 h 1022415"/>
                <a:gd name="connsiteX6" fmla="*/ 1344180 w 1619541"/>
                <a:gd name="connsiteY6" fmla="*/ 622449 h 1022415"/>
                <a:gd name="connsiteX7" fmla="*/ 543736 w 1619541"/>
                <a:gd name="connsiteY7" fmla="*/ 1022415 h 1022415"/>
                <a:gd name="connsiteX0" fmla="*/ 92409 w 1422618"/>
                <a:gd name="connsiteY0" fmla="*/ 534683 h 1021909"/>
                <a:gd name="connsiteX1" fmla="*/ 275423 w 1422618"/>
                <a:gd name="connsiteY1" fmla="*/ 327394 h 1021909"/>
                <a:gd name="connsiteX2" fmla="*/ 9352 w 1422618"/>
                <a:gd name="connsiteY2" fmla="*/ 315545 h 1021909"/>
                <a:gd name="connsiteX3" fmla="*/ 621697 w 1422618"/>
                <a:gd name="connsiteY3" fmla="*/ 38324 h 1021909"/>
                <a:gd name="connsiteX4" fmla="*/ 546617 w 1422618"/>
                <a:gd name="connsiteY4" fmla="*/ 200852 h 1021909"/>
                <a:gd name="connsiteX5" fmla="*/ 1267494 w 1422618"/>
                <a:gd name="connsiteY5" fmla="*/ 228 h 1021909"/>
                <a:gd name="connsiteX6" fmla="*/ 1344180 w 1422618"/>
                <a:gd name="connsiteY6" fmla="*/ 621943 h 1021909"/>
                <a:gd name="connsiteX7" fmla="*/ 543736 w 1422618"/>
                <a:gd name="connsiteY7" fmla="*/ 1021909 h 1021909"/>
                <a:gd name="connsiteX0" fmla="*/ 92409 w 1420583"/>
                <a:gd name="connsiteY0" fmla="*/ 534681 h 1021907"/>
                <a:gd name="connsiteX1" fmla="*/ 275423 w 1420583"/>
                <a:gd name="connsiteY1" fmla="*/ 327392 h 1021907"/>
                <a:gd name="connsiteX2" fmla="*/ 9352 w 1420583"/>
                <a:gd name="connsiteY2" fmla="*/ 315543 h 1021907"/>
                <a:gd name="connsiteX3" fmla="*/ 621697 w 1420583"/>
                <a:gd name="connsiteY3" fmla="*/ 38322 h 1021907"/>
                <a:gd name="connsiteX4" fmla="*/ 546617 w 1420583"/>
                <a:gd name="connsiteY4" fmla="*/ 200850 h 1021907"/>
                <a:gd name="connsiteX5" fmla="*/ 1267494 w 1420583"/>
                <a:gd name="connsiteY5" fmla="*/ 226 h 1021907"/>
                <a:gd name="connsiteX6" fmla="*/ 1334692 w 1420583"/>
                <a:gd name="connsiteY6" fmla="*/ 626070 h 1021907"/>
                <a:gd name="connsiteX7" fmla="*/ 543736 w 1420583"/>
                <a:gd name="connsiteY7" fmla="*/ 1021907 h 1021907"/>
                <a:gd name="connsiteX0" fmla="*/ 92409 w 1417130"/>
                <a:gd name="connsiteY0" fmla="*/ 534699 h 1021925"/>
                <a:gd name="connsiteX1" fmla="*/ 275423 w 1417130"/>
                <a:gd name="connsiteY1" fmla="*/ 327410 h 1021925"/>
                <a:gd name="connsiteX2" fmla="*/ 9352 w 1417130"/>
                <a:gd name="connsiteY2" fmla="*/ 315561 h 1021925"/>
                <a:gd name="connsiteX3" fmla="*/ 621697 w 1417130"/>
                <a:gd name="connsiteY3" fmla="*/ 38340 h 1021925"/>
                <a:gd name="connsiteX4" fmla="*/ 546617 w 1417130"/>
                <a:gd name="connsiteY4" fmla="*/ 200868 h 1021925"/>
                <a:gd name="connsiteX5" fmla="*/ 1267494 w 1417130"/>
                <a:gd name="connsiteY5" fmla="*/ 244 h 1021925"/>
                <a:gd name="connsiteX6" fmla="*/ 1334692 w 1417130"/>
                <a:gd name="connsiteY6" fmla="*/ 626088 h 1021925"/>
                <a:gd name="connsiteX7" fmla="*/ 543736 w 1417130"/>
                <a:gd name="connsiteY7" fmla="*/ 1021925 h 1021925"/>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0676 w 1334692"/>
                <a:gd name="connsiteY5" fmla="*/ 159932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409 w 1334692"/>
                <a:gd name="connsiteY0" fmla="*/ 512723 h 999949"/>
                <a:gd name="connsiteX1" fmla="*/ 275423 w 1334692"/>
                <a:gd name="connsiteY1" fmla="*/ 305434 h 999949"/>
                <a:gd name="connsiteX2" fmla="*/ 9352 w 1334692"/>
                <a:gd name="connsiteY2" fmla="*/ 293585 h 999949"/>
                <a:gd name="connsiteX3" fmla="*/ 621697 w 1334692"/>
                <a:gd name="connsiteY3" fmla="*/ 16364 h 999949"/>
                <a:gd name="connsiteX4" fmla="*/ 546617 w 1334692"/>
                <a:gd name="connsiteY4" fmla="*/ 178892 h 999949"/>
                <a:gd name="connsiteX5" fmla="*/ 935420 w 1334692"/>
                <a:gd name="connsiteY5" fmla="*/ 151675 h 999949"/>
                <a:gd name="connsiteX6" fmla="*/ 1334692 w 1334692"/>
                <a:gd name="connsiteY6" fmla="*/ 604112 h 999949"/>
                <a:gd name="connsiteX7" fmla="*/ 543736 w 1334692"/>
                <a:gd name="connsiteY7" fmla="*/ 999949 h 999949"/>
                <a:gd name="connsiteX0" fmla="*/ 92389 w 1334672"/>
                <a:gd name="connsiteY0" fmla="*/ 513498 h 1000724"/>
                <a:gd name="connsiteX1" fmla="*/ 275403 w 1334672"/>
                <a:gd name="connsiteY1" fmla="*/ 306209 h 1000724"/>
                <a:gd name="connsiteX2" fmla="*/ 9332 w 1334672"/>
                <a:gd name="connsiteY2" fmla="*/ 294360 h 1000724"/>
                <a:gd name="connsiteX3" fmla="*/ 621677 w 1334672"/>
                <a:gd name="connsiteY3" fmla="*/ 17139 h 1000724"/>
                <a:gd name="connsiteX4" fmla="*/ 546597 w 1334672"/>
                <a:gd name="connsiteY4" fmla="*/ 179667 h 1000724"/>
                <a:gd name="connsiteX5" fmla="*/ 935400 w 1334672"/>
                <a:gd name="connsiteY5" fmla="*/ 152450 h 1000724"/>
                <a:gd name="connsiteX6" fmla="*/ 1334672 w 1334672"/>
                <a:gd name="connsiteY6" fmla="*/ 604887 h 1000724"/>
                <a:gd name="connsiteX7" fmla="*/ 543716 w 1334672"/>
                <a:gd name="connsiteY7" fmla="*/ 1000724 h 1000724"/>
                <a:gd name="connsiteX0" fmla="*/ 92389 w 1334672"/>
                <a:gd name="connsiteY0" fmla="*/ 513498 h 1000724"/>
                <a:gd name="connsiteX1" fmla="*/ 275403 w 1334672"/>
                <a:gd name="connsiteY1" fmla="*/ 306209 h 1000724"/>
                <a:gd name="connsiteX2" fmla="*/ 9332 w 1334672"/>
                <a:gd name="connsiteY2" fmla="*/ 294360 h 1000724"/>
                <a:gd name="connsiteX3" fmla="*/ 621677 w 1334672"/>
                <a:gd name="connsiteY3" fmla="*/ 17139 h 1000724"/>
                <a:gd name="connsiteX4" fmla="*/ 546597 w 1334672"/>
                <a:gd name="connsiteY4" fmla="*/ 179667 h 1000724"/>
                <a:gd name="connsiteX5" fmla="*/ 935400 w 1334672"/>
                <a:gd name="connsiteY5" fmla="*/ 152450 h 1000724"/>
                <a:gd name="connsiteX6" fmla="*/ 1334672 w 1334672"/>
                <a:gd name="connsiteY6" fmla="*/ 604887 h 1000724"/>
                <a:gd name="connsiteX7" fmla="*/ 543716 w 1334672"/>
                <a:gd name="connsiteY7" fmla="*/ 1000724 h 1000724"/>
                <a:gd name="connsiteX0" fmla="*/ 92389 w 1334672"/>
                <a:gd name="connsiteY0" fmla="*/ 513498 h 966866"/>
                <a:gd name="connsiteX1" fmla="*/ 275403 w 1334672"/>
                <a:gd name="connsiteY1" fmla="*/ 306209 h 966866"/>
                <a:gd name="connsiteX2" fmla="*/ 9332 w 1334672"/>
                <a:gd name="connsiteY2" fmla="*/ 294360 h 966866"/>
                <a:gd name="connsiteX3" fmla="*/ 621677 w 1334672"/>
                <a:gd name="connsiteY3" fmla="*/ 17139 h 966866"/>
                <a:gd name="connsiteX4" fmla="*/ 546597 w 1334672"/>
                <a:gd name="connsiteY4" fmla="*/ 179667 h 966866"/>
                <a:gd name="connsiteX5" fmla="*/ 935400 w 1334672"/>
                <a:gd name="connsiteY5" fmla="*/ 152450 h 966866"/>
                <a:gd name="connsiteX6" fmla="*/ 1334672 w 1334672"/>
                <a:gd name="connsiteY6" fmla="*/ 604887 h 966866"/>
                <a:gd name="connsiteX7" fmla="*/ 513791 w 1334672"/>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66866"/>
                <a:gd name="connsiteX1" fmla="*/ 275403 w 1280806"/>
                <a:gd name="connsiteY1" fmla="*/ 306209 h 966866"/>
                <a:gd name="connsiteX2" fmla="*/ 9332 w 1280806"/>
                <a:gd name="connsiteY2" fmla="*/ 294360 h 966866"/>
                <a:gd name="connsiteX3" fmla="*/ 621677 w 1280806"/>
                <a:gd name="connsiteY3" fmla="*/ 17139 h 966866"/>
                <a:gd name="connsiteX4" fmla="*/ 546597 w 1280806"/>
                <a:gd name="connsiteY4" fmla="*/ 179667 h 966866"/>
                <a:gd name="connsiteX5" fmla="*/ 935400 w 1280806"/>
                <a:gd name="connsiteY5" fmla="*/ 152450 h 966866"/>
                <a:gd name="connsiteX6" fmla="*/ 1280806 w 1280806"/>
                <a:gd name="connsiteY6" fmla="*/ 547589 h 966866"/>
                <a:gd name="connsiteX7" fmla="*/ 513791 w 1280806"/>
                <a:gd name="connsiteY7" fmla="*/ 966866 h 966866"/>
                <a:gd name="connsiteX0" fmla="*/ 92389 w 1280806"/>
                <a:gd name="connsiteY0" fmla="*/ 513498 h 974679"/>
                <a:gd name="connsiteX1" fmla="*/ 275403 w 1280806"/>
                <a:gd name="connsiteY1" fmla="*/ 306209 h 974679"/>
                <a:gd name="connsiteX2" fmla="*/ 9332 w 1280806"/>
                <a:gd name="connsiteY2" fmla="*/ 294360 h 974679"/>
                <a:gd name="connsiteX3" fmla="*/ 621677 w 1280806"/>
                <a:gd name="connsiteY3" fmla="*/ 17139 h 974679"/>
                <a:gd name="connsiteX4" fmla="*/ 546597 w 1280806"/>
                <a:gd name="connsiteY4" fmla="*/ 179667 h 974679"/>
                <a:gd name="connsiteX5" fmla="*/ 935400 w 1280806"/>
                <a:gd name="connsiteY5" fmla="*/ 152450 h 974679"/>
                <a:gd name="connsiteX6" fmla="*/ 1280806 w 1280806"/>
                <a:gd name="connsiteY6" fmla="*/ 547589 h 974679"/>
                <a:gd name="connsiteX7" fmla="*/ 507806 w 1280806"/>
                <a:gd name="connsiteY7" fmla="*/ 974679 h 974679"/>
                <a:gd name="connsiteX0" fmla="*/ 92389 w 1280806"/>
                <a:gd name="connsiteY0" fmla="*/ 513498 h 972075"/>
                <a:gd name="connsiteX1" fmla="*/ 275403 w 1280806"/>
                <a:gd name="connsiteY1" fmla="*/ 306209 h 972075"/>
                <a:gd name="connsiteX2" fmla="*/ 9332 w 1280806"/>
                <a:gd name="connsiteY2" fmla="*/ 294360 h 972075"/>
                <a:gd name="connsiteX3" fmla="*/ 621677 w 1280806"/>
                <a:gd name="connsiteY3" fmla="*/ 17139 h 972075"/>
                <a:gd name="connsiteX4" fmla="*/ 546597 w 1280806"/>
                <a:gd name="connsiteY4" fmla="*/ 179667 h 972075"/>
                <a:gd name="connsiteX5" fmla="*/ 935400 w 1280806"/>
                <a:gd name="connsiteY5" fmla="*/ 152450 h 972075"/>
                <a:gd name="connsiteX6" fmla="*/ 1280806 w 1280806"/>
                <a:gd name="connsiteY6" fmla="*/ 547589 h 972075"/>
                <a:gd name="connsiteX7" fmla="*/ 513791 w 1280806"/>
                <a:gd name="connsiteY7" fmla="*/ 972075 h 972075"/>
                <a:gd name="connsiteX0" fmla="*/ 92389 w 1280806"/>
                <a:gd name="connsiteY0" fmla="*/ 513498 h 972075"/>
                <a:gd name="connsiteX1" fmla="*/ 275403 w 1280806"/>
                <a:gd name="connsiteY1" fmla="*/ 306209 h 972075"/>
                <a:gd name="connsiteX2" fmla="*/ 9332 w 1280806"/>
                <a:gd name="connsiteY2" fmla="*/ 294360 h 972075"/>
                <a:gd name="connsiteX3" fmla="*/ 621677 w 1280806"/>
                <a:gd name="connsiteY3" fmla="*/ 17139 h 972075"/>
                <a:gd name="connsiteX4" fmla="*/ 546597 w 1280806"/>
                <a:gd name="connsiteY4" fmla="*/ 179667 h 972075"/>
                <a:gd name="connsiteX5" fmla="*/ 969944 w 1280806"/>
                <a:gd name="connsiteY5" fmla="*/ 197547 h 972075"/>
                <a:gd name="connsiteX6" fmla="*/ 1280806 w 1280806"/>
                <a:gd name="connsiteY6" fmla="*/ 547589 h 972075"/>
                <a:gd name="connsiteX7" fmla="*/ 513791 w 1280806"/>
                <a:gd name="connsiteY7" fmla="*/ 972075 h 972075"/>
                <a:gd name="connsiteX0" fmla="*/ 89028 w 1277445"/>
                <a:gd name="connsiteY0" fmla="*/ 511353 h 969930"/>
                <a:gd name="connsiteX1" fmla="*/ 316950 w 1277445"/>
                <a:gd name="connsiteY1" fmla="*/ 352169 h 969930"/>
                <a:gd name="connsiteX2" fmla="*/ 5971 w 1277445"/>
                <a:gd name="connsiteY2" fmla="*/ 292215 h 969930"/>
                <a:gd name="connsiteX3" fmla="*/ 618316 w 1277445"/>
                <a:gd name="connsiteY3" fmla="*/ 14994 h 969930"/>
                <a:gd name="connsiteX4" fmla="*/ 543236 w 1277445"/>
                <a:gd name="connsiteY4" fmla="*/ 177522 h 969930"/>
                <a:gd name="connsiteX5" fmla="*/ 966583 w 1277445"/>
                <a:gd name="connsiteY5" fmla="*/ 195402 h 969930"/>
                <a:gd name="connsiteX6" fmla="*/ 1277445 w 1277445"/>
                <a:gd name="connsiteY6" fmla="*/ 545444 h 969930"/>
                <a:gd name="connsiteX7" fmla="*/ 510430 w 1277445"/>
                <a:gd name="connsiteY7" fmla="*/ 969930 h 969930"/>
                <a:gd name="connsiteX0" fmla="*/ 23217 w 1211634"/>
                <a:gd name="connsiteY0" fmla="*/ 500174 h 958751"/>
                <a:gd name="connsiteX1" fmla="*/ 251139 w 1211634"/>
                <a:gd name="connsiteY1" fmla="*/ 340990 h 958751"/>
                <a:gd name="connsiteX2" fmla="*/ 5796 w 1211634"/>
                <a:gd name="connsiteY2" fmla="*/ 350186 h 958751"/>
                <a:gd name="connsiteX3" fmla="*/ 552505 w 1211634"/>
                <a:gd name="connsiteY3" fmla="*/ 3815 h 958751"/>
                <a:gd name="connsiteX4" fmla="*/ 477425 w 1211634"/>
                <a:gd name="connsiteY4" fmla="*/ 166343 h 958751"/>
                <a:gd name="connsiteX5" fmla="*/ 900772 w 1211634"/>
                <a:gd name="connsiteY5" fmla="*/ 184223 h 958751"/>
                <a:gd name="connsiteX6" fmla="*/ 1211634 w 1211634"/>
                <a:gd name="connsiteY6" fmla="*/ 534265 h 958751"/>
                <a:gd name="connsiteX7" fmla="*/ 444619 w 1211634"/>
                <a:gd name="connsiteY7" fmla="*/ 958751 h 958751"/>
                <a:gd name="connsiteX0" fmla="*/ 23217 w 1211634"/>
                <a:gd name="connsiteY0" fmla="*/ 498751 h 957328"/>
                <a:gd name="connsiteX1" fmla="*/ 251139 w 1211634"/>
                <a:gd name="connsiteY1" fmla="*/ 339567 h 957328"/>
                <a:gd name="connsiteX2" fmla="*/ 5796 w 1211634"/>
                <a:gd name="connsiteY2" fmla="*/ 348763 h 957328"/>
                <a:gd name="connsiteX3" fmla="*/ 552505 w 1211634"/>
                <a:gd name="connsiteY3" fmla="*/ 2392 h 957328"/>
                <a:gd name="connsiteX4" fmla="*/ 581060 w 1211634"/>
                <a:gd name="connsiteY4" fmla="*/ 194985 h 957328"/>
                <a:gd name="connsiteX5" fmla="*/ 900772 w 1211634"/>
                <a:gd name="connsiteY5" fmla="*/ 182800 h 957328"/>
                <a:gd name="connsiteX6" fmla="*/ 1211634 w 1211634"/>
                <a:gd name="connsiteY6" fmla="*/ 532842 h 957328"/>
                <a:gd name="connsiteX7" fmla="*/ 444619 w 1211634"/>
                <a:gd name="connsiteY7" fmla="*/ 957328 h 957328"/>
                <a:gd name="connsiteX0" fmla="*/ 26760 w 1215177"/>
                <a:gd name="connsiteY0" fmla="*/ 427582 h 886159"/>
                <a:gd name="connsiteX1" fmla="*/ 254682 w 1215177"/>
                <a:gd name="connsiteY1" fmla="*/ 268398 h 886159"/>
                <a:gd name="connsiteX2" fmla="*/ 9339 w 1215177"/>
                <a:gd name="connsiteY2" fmla="*/ 277594 h 886159"/>
                <a:gd name="connsiteX3" fmla="*/ 652773 w 1215177"/>
                <a:gd name="connsiteY3" fmla="*/ 3379 h 886159"/>
                <a:gd name="connsiteX4" fmla="*/ 584603 w 1215177"/>
                <a:gd name="connsiteY4" fmla="*/ 123816 h 886159"/>
                <a:gd name="connsiteX5" fmla="*/ 904315 w 1215177"/>
                <a:gd name="connsiteY5" fmla="*/ 111631 h 886159"/>
                <a:gd name="connsiteX6" fmla="*/ 1215177 w 1215177"/>
                <a:gd name="connsiteY6" fmla="*/ 461673 h 886159"/>
                <a:gd name="connsiteX7" fmla="*/ 448162 w 1215177"/>
                <a:gd name="connsiteY7" fmla="*/ 886159 h 886159"/>
                <a:gd name="connsiteX0" fmla="*/ 50436 w 1238853"/>
                <a:gd name="connsiteY0" fmla="*/ 426331 h 884908"/>
                <a:gd name="connsiteX1" fmla="*/ 278358 w 1238853"/>
                <a:gd name="connsiteY1" fmla="*/ 267147 h 884908"/>
                <a:gd name="connsiteX2" fmla="*/ 8833 w 1238853"/>
                <a:gd name="connsiteY2" fmla="*/ 240265 h 884908"/>
                <a:gd name="connsiteX3" fmla="*/ 676449 w 1238853"/>
                <a:gd name="connsiteY3" fmla="*/ 2128 h 884908"/>
                <a:gd name="connsiteX4" fmla="*/ 608279 w 1238853"/>
                <a:gd name="connsiteY4" fmla="*/ 122565 h 884908"/>
                <a:gd name="connsiteX5" fmla="*/ 927991 w 1238853"/>
                <a:gd name="connsiteY5" fmla="*/ 110380 h 884908"/>
                <a:gd name="connsiteX6" fmla="*/ 1238853 w 1238853"/>
                <a:gd name="connsiteY6" fmla="*/ 460422 h 884908"/>
                <a:gd name="connsiteX7" fmla="*/ 471838 w 1238853"/>
                <a:gd name="connsiteY7" fmla="*/ 884908 h 884908"/>
                <a:gd name="connsiteX0" fmla="*/ 41652 w 1230069"/>
                <a:gd name="connsiteY0" fmla="*/ 426331 h 884908"/>
                <a:gd name="connsiteX1" fmla="*/ 269574 w 1230069"/>
                <a:gd name="connsiteY1" fmla="*/ 267147 h 884908"/>
                <a:gd name="connsiteX2" fmla="*/ 49 w 1230069"/>
                <a:gd name="connsiteY2" fmla="*/ 240265 h 884908"/>
                <a:gd name="connsiteX3" fmla="*/ 667665 w 1230069"/>
                <a:gd name="connsiteY3" fmla="*/ 2128 h 884908"/>
                <a:gd name="connsiteX4" fmla="*/ 599495 w 1230069"/>
                <a:gd name="connsiteY4" fmla="*/ 122565 h 884908"/>
                <a:gd name="connsiteX5" fmla="*/ 919207 w 1230069"/>
                <a:gd name="connsiteY5" fmla="*/ 110380 h 884908"/>
                <a:gd name="connsiteX6" fmla="*/ 1230069 w 1230069"/>
                <a:gd name="connsiteY6" fmla="*/ 460422 h 884908"/>
                <a:gd name="connsiteX7" fmla="*/ 463054 w 1230069"/>
                <a:gd name="connsiteY7" fmla="*/ 884908 h 884908"/>
                <a:gd name="connsiteX0" fmla="*/ 24382 w 1212799"/>
                <a:gd name="connsiteY0" fmla="*/ 427359 h 885936"/>
                <a:gd name="connsiteX1" fmla="*/ 252304 w 1212799"/>
                <a:gd name="connsiteY1" fmla="*/ 268175 h 885936"/>
                <a:gd name="connsiteX2" fmla="*/ 52 w 1212799"/>
                <a:gd name="connsiteY2" fmla="*/ 271357 h 885936"/>
                <a:gd name="connsiteX3" fmla="*/ 650395 w 1212799"/>
                <a:gd name="connsiteY3" fmla="*/ 3156 h 885936"/>
                <a:gd name="connsiteX4" fmla="*/ 582225 w 1212799"/>
                <a:gd name="connsiteY4" fmla="*/ 123593 h 885936"/>
                <a:gd name="connsiteX5" fmla="*/ 901937 w 1212799"/>
                <a:gd name="connsiteY5" fmla="*/ 111408 h 885936"/>
                <a:gd name="connsiteX6" fmla="*/ 1212799 w 1212799"/>
                <a:gd name="connsiteY6" fmla="*/ 461450 h 885936"/>
                <a:gd name="connsiteX7" fmla="*/ 445784 w 1212799"/>
                <a:gd name="connsiteY7" fmla="*/ 885936 h 885936"/>
                <a:gd name="connsiteX0" fmla="*/ 24382 w 1212799"/>
                <a:gd name="connsiteY0" fmla="*/ 427359 h 885936"/>
                <a:gd name="connsiteX1" fmla="*/ 252304 w 1212799"/>
                <a:gd name="connsiteY1" fmla="*/ 268175 h 885936"/>
                <a:gd name="connsiteX2" fmla="*/ 52 w 1212799"/>
                <a:gd name="connsiteY2" fmla="*/ 271357 h 885936"/>
                <a:gd name="connsiteX3" fmla="*/ 650395 w 1212799"/>
                <a:gd name="connsiteY3" fmla="*/ 3156 h 885936"/>
                <a:gd name="connsiteX4" fmla="*/ 582225 w 1212799"/>
                <a:gd name="connsiteY4" fmla="*/ 123593 h 885936"/>
                <a:gd name="connsiteX5" fmla="*/ 901937 w 1212799"/>
                <a:gd name="connsiteY5" fmla="*/ 111408 h 885936"/>
                <a:gd name="connsiteX6" fmla="*/ 1212799 w 1212799"/>
                <a:gd name="connsiteY6" fmla="*/ 461450 h 885936"/>
                <a:gd name="connsiteX7" fmla="*/ 445784 w 1212799"/>
                <a:gd name="connsiteY7" fmla="*/ 885936 h 885936"/>
                <a:gd name="connsiteX0" fmla="*/ 24382 w 1212799"/>
                <a:gd name="connsiteY0" fmla="*/ 425330 h 883907"/>
                <a:gd name="connsiteX1" fmla="*/ 252304 w 1212799"/>
                <a:gd name="connsiteY1" fmla="*/ 266146 h 883907"/>
                <a:gd name="connsiteX2" fmla="*/ 52 w 1212799"/>
                <a:gd name="connsiteY2" fmla="*/ 269328 h 883907"/>
                <a:gd name="connsiteX3" fmla="*/ 650395 w 1212799"/>
                <a:gd name="connsiteY3" fmla="*/ 1127 h 883907"/>
                <a:gd name="connsiteX4" fmla="*/ 582225 w 1212799"/>
                <a:gd name="connsiteY4" fmla="*/ 121564 h 883907"/>
                <a:gd name="connsiteX5" fmla="*/ 901937 w 1212799"/>
                <a:gd name="connsiteY5" fmla="*/ 109379 h 883907"/>
                <a:gd name="connsiteX6" fmla="*/ 1212799 w 1212799"/>
                <a:gd name="connsiteY6" fmla="*/ 459421 h 883907"/>
                <a:gd name="connsiteX7" fmla="*/ 445784 w 1212799"/>
                <a:gd name="connsiteY7" fmla="*/ 883907 h 883907"/>
                <a:gd name="connsiteX0" fmla="*/ 24382 w 1212799"/>
                <a:gd name="connsiteY0" fmla="*/ 425836 h 884413"/>
                <a:gd name="connsiteX1" fmla="*/ 252304 w 1212799"/>
                <a:gd name="connsiteY1" fmla="*/ 266652 h 884413"/>
                <a:gd name="connsiteX2" fmla="*/ 52 w 1212799"/>
                <a:gd name="connsiteY2" fmla="*/ 269834 h 884413"/>
                <a:gd name="connsiteX3" fmla="*/ 650395 w 1212799"/>
                <a:gd name="connsiteY3" fmla="*/ 1633 h 884413"/>
                <a:gd name="connsiteX4" fmla="*/ 596042 w 1212799"/>
                <a:gd name="connsiteY4" fmla="*/ 155142 h 884413"/>
                <a:gd name="connsiteX5" fmla="*/ 901937 w 1212799"/>
                <a:gd name="connsiteY5" fmla="*/ 109885 h 884413"/>
                <a:gd name="connsiteX6" fmla="*/ 1212799 w 1212799"/>
                <a:gd name="connsiteY6" fmla="*/ 459927 h 884413"/>
                <a:gd name="connsiteX7" fmla="*/ 445784 w 1212799"/>
                <a:gd name="connsiteY7" fmla="*/ 884413 h 884413"/>
                <a:gd name="connsiteX0" fmla="*/ 24382 w 1212799"/>
                <a:gd name="connsiteY0" fmla="*/ 426194 h 884771"/>
                <a:gd name="connsiteX1" fmla="*/ 252304 w 1212799"/>
                <a:gd name="connsiteY1" fmla="*/ 267010 h 884771"/>
                <a:gd name="connsiteX2" fmla="*/ 52 w 1212799"/>
                <a:gd name="connsiteY2" fmla="*/ 270192 h 884771"/>
                <a:gd name="connsiteX3" fmla="*/ 650395 w 1212799"/>
                <a:gd name="connsiteY3" fmla="*/ 1991 h 884771"/>
                <a:gd name="connsiteX4" fmla="*/ 596042 w 1212799"/>
                <a:gd name="connsiteY4" fmla="*/ 155500 h 884771"/>
                <a:gd name="connsiteX5" fmla="*/ 901937 w 1212799"/>
                <a:gd name="connsiteY5" fmla="*/ 110243 h 884771"/>
                <a:gd name="connsiteX6" fmla="*/ 1212799 w 1212799"/>
                <a:gd name="connsiteY6" fmla="*/ 460285 h 884771"/>
                <a:gd name="connsiteX7" fmla="*/ 445784 w 1212799"/>
                <a:gd name="connsiteY7" fmla="*/ 884771 h 884771"/>
                <a:gd name="connsiteX0" fmla="*/ 34478 w 1222895"/>
                <a:gd name="connsiteY0" fmla="*/ 399038 h 857615"/>
                <a:gd name="connsiteX1" fmla="*/ 262400 w 1222895"/>
                <a:gd name="connsiteY1" fmla="*/ 239854 h 857615"/>
                <a:gd name="connsiteX2" fmla="*/ 10148 w 1222895"/>
                <a:gd name="connsiteY2" fmla="*/ 243036 h 857615"/>
                <a:gd name="connsiteX3" fmla="*/ 684672 w 1222895"/>
                <a:gd name="connsiteY3" fmla="*/ 1893 h 857615"/>
                <a:gd name="connsiteX4" fmla="*/ 606138 w 1222895"/>
                <a:gd name="connsiteY4" fmla="*/ 128344 h 857615"/>
                <a:gd name="connsiteX5" fmla="*/ 912033 w 1222895"/>
                <a:gd name="connsiteY5" fmla="*/ 83087 h 857615"/>
                <a:gd name="connsiteX6" fmla="*/ 1222895 w 1222895"/>
                <a:gd name="connsiteY6" fmla="*/ 433129 h 857615"/>
                <a:gd name="connsiteX7" fmla="*/ 455880 w 1222895"/>
                <a:gd name="connsiteY7" fmla="*/ 857615 h 857615"/>
                <a:gd name="connsiteX0" fmla="*/ 25670 w 1214087"/>
                <a:gd name="connsiteY0" fmla="*/ 399239 h 857816"/>
                <a:gd name="connsiteX1" fmla="*/ 253592 w 1214087"/>
                <a:gd name="connsiteY1" fmla="*/ 240055 h 857816"/>
                <a:gd name="connsiteX2" fmla="*/ 1340 w 1214087"/>
                <a:gd name="connsiteY2" fmla="*/ 243237 h 857816"/>
                <a:gd name="connsiteX3" fmla="*/ 675864 w 1214087"/>
                <a:gd name="connsiteY3" fmla="*/ 2094 h 857816"/>
                <a:gd name="connsiteX4" fmla="*/ 597330 w 1214087"/>
                <a:gd name="connsiteY4" fmla="*/ 128545 h 857816"/>
                <a:gd name="connsiteX5" fmla="*/ 903225 w 1214087"/>
                <a:gd name="connsiteY5" fmla="*/ 83288 h 857816"/>
                <a:gd name="connsiteX6" fmla="*/ 1214087 w 1214087"/>
                <a:gd name="connsiteY6" fmla="*/ 433330 h 857816"/>
                <a:gd name="connsiteX7" fmla="*/ 447072 w 1214087"/>
                <a:gd name="connsiteY7" fmla="*/ 857816 h 857816"/>
                <a:gd name="connsiteX0" fmla="*/ 29109 w 1217526"/>
                <a:gd name="connsiteY0" fmla="*/ 398614 h 857191"/>
                <a:gd name="connsiteX1" fmla="*/ 257031 w 1217526"/>
                <a:gd name="connsiteY1" fmla="*/ 239430 h 857191"/>
                <a:gd name="connsiteX2" fmla="*/ 1325 w 1217526"/>
                <a:gd name="connsiteY2" fmla="*/ 227580 h 857191"/>
                <a:gd name="connsiteX3" fmla="*/ 679303 w 1217526"/>
                <a:gd name="connsiteY3" fmla="*/ 1469 h 857191"/>
                <a:gd name="connsiteX4" fmla="*/ 600769 w 1217526"/>
                <a:gd name="connsiteY4" fmla="*/ 127920 h 857191"/>
                <a:gd name="connsiteX5" fmla="*/ 906664 w 1217526"/>
                <a:gd name="connsiteY5" fmla="*/ 82663 h 857191"/>
                <a:gd name="connsiteX6" fmla="*/ 1217526 w 1217526"/>
                <a:gd name="connsiteY6" fmla="*/ 432705 h 857191"/>
                <a:gd name="connsiteX7" fmla="*/ 450511 w 1217526"/>
                <a:gd name="connsiteY7" fmla="*/ 857191 h 857191"/>
                <a:gd name="connsiteX0" fmla="*/ 29109 w 1217526"/>
                <a:gd name="connsiteY0" fmla="*/ 398734 h 857311"/>
                <a:gd name="connsiteX1" fmla="*/ 257031 w 1217526"/>
                <a:gd name="connsiteY1" fmla="*/ 239550 h 857311"/>
                <a:gd name="connsiteX2" fmla="*/ 1325 w 1217526"/>
                <a:gd name="connsiteY2" fmla="*/ 227700 h 857311"/>
                <a:gd name="connsiteX3" fmla="*/ 679303 w 1217526"/>
                <a:gd name="connsiteY3" fmla="*/ 1589 h 857311"/>
                <a:gd name="connsiteX4" fmla="*/ 600769 w 1217526"/>
                <a:gd name="connsiteY4" fmla="*/ 128040 h 857311"/>
                <a:gd name="connsiteX5" fmla="*/ 906664 w 1217526"/>
                <a:gd name="connsiteY5" fmla="*/ 82783 h 857311"/>
                <a:gd name="connsiteX6" fmla="*/ 1217526 w 1217526"/>
                <a:gd name="connsiteY6" fmla="*/ 432825 h 857311"/>
                <a:gd name="connsiteX7" fmla="*/ 450511 w 1217526"/>
                <a:gd name="connsiteY7" fmla="*/ 857311 h 85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7526" h="857311">
                  <a:moveTo>
                    <a:pt x="29109" y="398734"/>
                  </a:moveTo>
                  <a:cubicBezTo>
                    <a:pt x="206864" y="299439"/>
                    <a:pt x="261662" y="268056"/>
                    <a:pt x="257031" y="239550"/>
                  </a:cubicBezTo>
                  <a:cubicBezTo>
                    <a:pt x="252400" y="211044"/>
                    <a:pt x="-21271" y="305260"/>
                    <a:pt x="1325" y="227700"/>
                  </a:cubicBezTo>
                  <a:cubicBezTo>
                    <a:pt x="19887" y="163988"/>
                    <a:pt x="579396" y="18199"/>
                    <a:pt x="679303" y="1589"/>
                  </a:cubicBezTo>
                  <a:cubicBezTo>
                    <a:pt x="779210" y="-15021"/>
                    <a:pt x="568915" y="103456"/>
                    <a:pt x="600769" y="128040"/>
                  </a:cubicBezTo>
                  <a:cubicBezTo>
                    <a:pt x="645572" y="162618"/>
                    <a:pt x="830830" y="102627"/>
                    <a:pt x="906664" y="82783"/>
                  </a:cubicBezTo>
                  <a:cubicBezTo>
                    <a:pt x="1050161" y="252608"/>
                    <a:pt x="1021244" y="216349"/>
                    <a:pt x="1217526" y="432825"/>
                  </a:cubicBezTo>
                  <a:cubicBezTo>
                    <a:pt x="858555" y="600516"/>
                    <a:pt x="608074" y="760353"/>
                    <a:pt x="450511" y="857311"/>
                  </a:cubicBezTo>
                </a:path>
              </a:pathLst>
            </a:custGeom>
            <a:solidFill>
              <a:srgbClr val="DFE6ED">
                <a:alpha val="54000"/>
              </a:srgbClr>
            </a:solidFill>
            <a:ln>
              <a:noFill/>
            </a:ln>
            <a:effectLst>
              <a:outerShdw blurRad="279400" dist="38100" dir="2700000" algn="tl" rotWithShape="0">
                <a:prstClr val="black">
                  <a:alpha val="40000"/>
                </a:prstClr>
              </a:outerShdw>
            </a:effectLst>
            <a:scene3d>
              <a:camera prst="orthographicFront"/>
              <a:lightRig rig="sunset" dir="t"/>
            </a:scene3d>
            <a:sp3d prstMaterial="clear">
              <a:bevelT w="50800" h="133350"/>
              <a:bevelB w="25400" h="107950"/>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sp>
          <p:nvSpPr>
            <p:cNvPr id="36" name="Freihandform 35"/>
            <p:cNvSpPr/>
            <p:nvPr/>
          </p:nvSpPr>
          <p:spPr bwMode="auto">
            <a:xfrm>
              <a:off x="8597843" y="2498353"/>
              <a:ext cx="782775" cy="641187"/>
            </a:xfrm>
            <a:custGeom>
              <a:avLst/>
              <a:gdLst>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35572"/>
                <a:gd name="connsiteY0" fmla="*/ 2912882 h 3148552"/>
                <a:gd name="connsiteX1" fmla="*/ 367646 w 5335572"/>
                <a:gd name="connsiteY1" fmla="*/ 2667785 h 3148552"/>
                <a:gd name="connsiteX2" fmla="*/ 94269 w 5335572"/>
                <a:gd name="connsiteY2" fmla="*/ 2658358 h 3148552"/>
                <a:gd name="connsiteX3" fmla="*/ 0 w 5335572"/>
                <a:gd name="connsiteY3" fmla="*/ 2507530 h 3148552"/>
                <a:gd name="connsiteX4" fmla="*/ 141403 w 5335572"/>
                <a:gd name="connsiteY4" fmla="*/ 2309567 h 3148552"/>
                <a:gd name="connsiteX5" fmla="*/ 386499 w 5335572"/>
                <a:gd name="connsiteY5" fmla="*/ 2318993 h 3148552"/>
                <a:gd name="connsiteX6" fmla="*/ 461914 w 5335572"/>
                <a:gd name="connsiteY6" fmla="*/ 2535810 h 3148552"/>
                <a:gd name="connsiteX7" fmla="*/ 622170 w 5335572"/>
                <a:gd name="connsiteY7" fmla="*/ 2498103 h 3148552"/>
                <a:gd name="connsiteX8" fmla="*/ 1140644 w 5335572"/>
                <a:gd name="connsiteY8" fmla="*/ 1932495 h 3148552"/>
                <a:gd name="connsiteX9" fmla="*/ 989815 w 5335572"/>
                <a:gd name="connsiteY9" fmla="*/ 1753385 h 3148552"/>
                <a:gd name="connsiteX10" fmla="*/ 556182 w 5335572"/>
                <a:gd name="connsiteY10" fmla="*/ 1734532 h 3148552"/>
                <a:gd name="connsiteX11" fmla="*/ 725864 w 5335572"/>
                <a:gd name="connsiteY11" fmla="*/ 1470581 h 3148552"/>
                <a:gd name="connsiteX12" fmla="*/ 1102937 w 5335572"/>
                <a:gd name="connsiteY12" fmla="*/ 1319752 h 3148552"/>
                <a:gd name="connsiteX13" fmla="*/ 1253765 w 5335572"/>
                <a:gd name="connsiteY13" fmla="*/ 1423447 h 3148552"/>
                <a:gd name="connsiteX14" fmla="*/ 1150071 w 5335572"/>
                <a:gd name="connsiteY14" fmla="*/ 1611983 h 3148552"/>
                <a:gd name="connsiteX15" fmla="*/ 1442302 w 5335572"/>
                <a:gd name="connsiteY15" fmla="*/ 1677971 h 3148552"/>
                <a:gd name="connsiteX16" fmla="*/ 2055044 w 5335572"/>
                <a:gd name="connsiteY16" fmla="*/ 1244338 h 3148552"/>
                <a:gd name="connsiteX17" fmla="*/ 2073897 w 5335572"/>
                <a:gd name="connsiteY17" fmla="*/ 989814 h 3148552"/>
                <a:gd name="connsiteX18" fmla="*/ 1885361 w 5335572"/>
                <a:gd name="connsiteY18" fmla="*/ 876692 h 3148552"/>
                <a:gd name="connsiteX19" fmla="*/ 1668545 w 5335572"/>
                <a:gd name="connsiteY19" fmla="*/ 886119 h 3148552"/>
                <a:gd name="connsiteX20" fmla="*/ 1696825 w 5335572"/>
                <a:gd name="connsiteY20" fmla="*/ 688156 h 3148552"/>
                <a:gd name="connsiteX21" fmla="*/ 1913642 w 5335572"/>
                <a:gd name="connsiteY21" fmla="*/ 584462 h 3148552"/>
                <a:gd name="connsiteX22" fmla="*/ 2196446 w 5335572"/>
                <a:gd name="connsiteY22" fmla="*/ 641022 h 3148552"/>
                <a:gd name="connsiteX23" fmla="*/ 2168165 w 5335572"/>
                <a:gd name="connsiteY23" fmla="*/ 772998 h 3148552"/>
                <a:gd name="connsiteX24" fmla="*/ 2271860 w 5335572"/>
                <a:gd name="connsiteY24" fmla="*/ 933253 h 3148552"/>
                <a:gd name="connsiteX25" fmla="*/ 2573518 w 5335572"/>
                <a:gd name="connsiteY25" fmla="*/ 923826 h 3148552"/>
                <a:gd name="connsiteX26" fmla="*/ 3101419 w 5335572"/>
                <a:gd name="connsiteY26" fmla="*/ 659876 h 3148552"/>
                <a:gd name="connsiteX27" fmla="*/ 3139126 w 5335572"/>
                <a:gd name="connsiteY27" fmla="*/ 499620 h 3148552"/>
                <a:gd name="connsiteX28" fmla="*/ 2997724 w 5335572"/>
                <a:gd name="connsiteY28" fmla="*/ 452486 h 3148552"/>
                <a:gd name="connsiteX29" fmla="*/ 2960017 w 5335572"/>
                <a:gd name="connsiteY29" fmla="*/ 348791 h 3148552"/>
                <a:gd name="connsiteX30" fmla="*/ 3157980 w 5335572"/>
                <a:gd name="connsiteY30" fmla="*/ 282804 h 3148552"/>
                <a:gd name="connsiteX31" fmla="*/ 3252248 w 5335572"/>
                <a:gd name="connsiteY31" fmla="*/ 377072 h 3148552"/>
                <a:gd name="connsiteX32" fmla="*/ 3299382 w 5335572"/>
                <a:gd name="connsiteY32" fmla="*/ 499620 h 3148552"/>
                <a:gd name="connsiteX33" fmla="*/ 3478491 w 5335572"/>
                <a:gd name="connsiteY33" fmla="*/ 490193 h 3148552"/>
                <a:gd name="connsiteX34" fmla="*/ 4025246 w 5335572"/>
                <a:gd name="connsiteY34" fmla="*/ 292231 h 3148552"/>
                <a:gd name="connsiteX35" fmla="*/ 3996965 w 5335572"/>
                <a:gd name="connsiteY35" fmla="*/ 169682 h 3148552"/>
                <a:gd name="connsiteX36" fmla="*/ 3864990 w 5335572"/>
                <a:gd name="connsiteY36" fmla="*/ 169682 h 3148552"/>
                <a:gd name="connsiteX37" fmla="*/ 3855563 w 5335572"/>
                <a:gd name="connsiteY37" fmla="*/ 94268 h 3148552"/>
                <a:gd name="connsiteX38" fmla="*/ 3968685 w 5335572"/>
                <a:gd name="connsiteY38" fmla="*/ 0 h 3148552"/>
                <a:gd name="connsiteX39" fmla="*/ 4138367 w 5335572"/>
                <a:gd name="connsiteY39" fmla="*/ 0 h 3148552"/>
                <a:gd name="connsiteX40" fmla="*/ 4194928 w 5335572"/>
                <a:gd name="connsiteY40" fmla="*/ 84841 h 3148552"/>
                <a:gd name="connsiteX41" fmla="*/ 4147794 w 5335572"/>
                <a:gd name="connsiteY41" fmla="*/ 150829 h 3148552"/>
                <a:gd name="connsiteX42" fmla="*/ 4232636 w 5335572"/>
                <a:gd name="connsiteY42" fmla="*/ 235670 h 3148552"/>
                <a:gd name="connsiteX43" fmla="*/ 5147036 w 5335572"/>
                <a:gd name="connsiteY43" fmla="*/ 47134 h 3148552"/>
                <a:gd name="connsiteX44" fmla="*/ 5335572 w 5335572"/>
                <a:gd name="connsiteY44" fmla="*/ 179109 h 3148552"/>
                <a:gd name="connsiteX45" fmla="*/ 1055803 w 5335572"/>
                <a:gd name="connsiteY45" fmla="*/ 3148552 h 3148552"/>
                <a:gd name="connsiteX46" fmla="*/ 405353 w 5335572"/>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48552"/>
                <a:gd name="connsiteX1" fmla="*/ 367646 w 5373279"/>
                <a:gd name="connsiteY1" fmla="*/ 2667785 h 3148552"/>
                <a:gd name="connsiteX2" fmla="*/ 94269 w 5373279"/>
                <a:gd name="connsiteY2" fmla="*/ 2658358 h 3148552"/>
                <a:gd name="connsiteX3" fmla="*/ 0 w 5373279"/>
                <a:gd name="connsiteY3" fmla="*/ 2507530 h 3148552"/>
                <a:gd name="connsiteX4" fmla="*/ 141403 w 5373279"/>
                <a:gd name="connsiteY4" fmla="*/ 2309567 h 3148552"/>
                <a:gd name="connsiteX5" fmla="*/ 386499 w 5373279"/>
                <a:gd name="connsiteY5" fmla="*/ 2318993 h 3148552"/>
                <a:gd name="connsiteX6" fmla="*/ 461914 w 5373279"/>
                <a:gd name="connsiteY6" fmla="*/ 2535810 h 3148552"/>
                <a:gd name="connsiteX7" fmla="*/ 622170 w 5373279"/>
                <a:gd name="connsiteY7" fmla="*/ 2498103 h 3148552"/>
                <a:gd name="connsiteX8" fmla="*/ 1140644 w 5373279"/>
                <a:gd name="connsiteY8" fmla="*/ 1932495 h 3148552"/>
                <a:gd name="connsiteX9" fmla="*/ 989815 w 5373279"/>
                <a:gd name="connsiteY9" fmla="*/ 1753385 h 3148552"/>
                <a:gd name="connsiteX10" fmla="*/ 556182 w 5373279"/>
                <a:gd name="connsiteY10" fmla="*/ 1734532 h 3148552"/>
                <a:gd name="connsiteX11" fmla="*/ 725864 w 5373279"/>
                <a:gd name="connsiteY11" fmla="*/ 1470581 h 3148552"/>
                <a:gd name="connsiteX12" fmla="*/ 1102937 w 5373279"/>
                <a:gd name="connsiteY12" fmla="*/ 1319752 h 3148552"/>
                <a:gd name="connsiteX13" fmla="*/ 1253765 w 5373279"/>
                <a:gd name="connsiteY13" fmla="*/ 1423447 h 3148552"/>
                <a:gd name="connsiteX14" fmla="*/ 1150071 w 5373279"/>
                <a:gd name="connsiteY14" fmla="*/ 1611983 h 3148552"/>
                <a:gd name="connsiteX15" fmla="*/ 1442302 w 5373279"/>
                <a:gd name="connsiteY15" fmla="*/ 1677971 h 3148552"/>
                <a:gd name="connsiteX16" fmla="*/ 2055044 w 5373279"/>
                <a:gd name="connsiteY16" fmla="*/ 1244338 h 3148552"/>
                <a:gd name="connsiteX17" fmla="*/ 2073897 w 5373279"/>
                <a:gd name="connsiteY17" fmla="*/ 989814 h 3148552"/>
                <a:gd name="connsiteX18" fmla="*/ 1885361 w 5373279"/>
                <a:gd name="connsiteY18" fmla="*/ 876692 h 3148552"/>
                <a:gd name="connsiteX19" fmla="*/ 1668545 w 5373279"/>
                <a:gd name="connsiteY19" fmla="*/ 886119 h 3148552"/>
                <a:gd name="connsiteX20" fmla="*/ 1696825 w 5373279"/>
                <a:gd name="connsiteY20" fmla="*/ 688156 h 3148552"/>
                <a:gd name="connsiteX21" fmla="*/ 1913642 w 5373279"/>
                <a:gd name="connsiteY21" fmla="*/ 584462 h 3148552"/>
                <a:gd name="connsiteX22" fmla="*/ 2196446 w 5373279"/>
                <a:gd name="connsiteY22" fmla="*/ 641022 h 3148552"/>
                <a:gd name="connsiteX23" fmla="*/ 2168165 w 5373279"/>
                <a:gd name="connsiteY23" fmla="*/ 772998 h 3148552"/>
                <a:gd name="connsiteX24" fmla="*/ 2271860 w 5373279"/>
                <a:gd name="connsiteY24" fmla="*/ 933253 h 3148552"/>
                <a:gd name="connsiteX25" fmla="*/ 2573518 w 5373279"/>
                <a:gd name="connsiteY25" fmla="*/ 923826 h 3148552"/>
                <a:gd name="connsiteX26" fmla="*/ 3101419 w 5373279"/>
                <a:gd name="connsiteY26" fmla="*/ 659876 h 3148552"/>
                <a:gd name="connsiteX27" fmla="*/ 3139126 w 5373279"/>
                <a:gd name="connsiteY27" fmla="*/ 499620 h 3148552"/>
                <a:gd name="connsiteX28" fmla="*/ 2997724 w 5373279"/>
                <a:gd name="connsiteY28" fmla="*/ 452486 h 3148552"/>
                <a:gd name="connsiteX29" fmla="*/ 2960017 w 5373279"/>
                <a:gd name="connsiteY29" fmla="*/ 348791 h 3148552"/>
                <a:gd name="connsiteX30" fmla="*/ 3157980 w 5373279"/>
                <a:gd name="connsiteY30" fmla="*/ 282804 h 3148552"/>
                <a:gd name="connsiteX31" fmla="*/ 3252248 w 5373279"/>
                <a:gd name="connsiteY31" fmla="*/ 377072 h 3148552"/>
                <a:gd name="connsiteX32" fmla="*/ 3299382 w 5373279"/>
                <a:gd name="connsiteY32" fmla="*/ 499620 h 3148552"/>
                <a:gd name="connsiteX33" fmla="*/ 3478491 w 5373279"/>
                <a:gd name="connsiteY33" fmla="*/ 490193 h 3148552"/>
                <a:gd name="connsiteX34" fmla="*/ 4025246 w 5373279"/>
                <a:gd name="connsiteY34" fmla="*/ 292231 h 3148552"/>
                <a:gd name="connsiteX35" fmla="*/ 3996965 w 5373279"/>
                <a:gd name="connsiteY35" fmla="*/ 169682 h 3148552"/>
                <a:gd name="connsiteX36" fmla="*/ 3864990 w 5373279"/>
                <a:gd name="connsiteY36" fmla="*/ 169682 h 3148552"/>
                <a:gd name="connsiteX37" fmla="*/ 3855563 w 5373279"/>
                <a:gd name="connsiteY37" fmla="*/ 94268 h 3148552"/>
                <a:gd name="connsiteX38" fmla="*/ 3968685 w 5373279"/>
                <a:gd name="connsiteY38" fmla="*/ 0 h 3148552"/>
                <a:gd name="connsiteX39" fmla="*/ 4138367 w 5373279"/>
                <a:gd name="connsiteY39" fmla="*/ 0 h 3148552"/>
                <a:gd name="connsiteX40" fmla="*/ 4194928 w 5373279"/>
                <a:gd name="connsiteY40" fmla="*/ 84841 h 3148552"/>
                <a:gd name="connsiteX41" fmla="*/ 4147794 w 5373279"/>
                <a:gd name="connsiteY41" fmla="*/ 150829 h 3148552"/>
                <a:gd name="connsiteX42" fmla="*/ 4232636 w 5373279"/>
                <a:gd name="connsiteY42" fmla="*/ 235670 h 3148552"/>
                <a:gd name="connsiteX43" fmla="*/ 5147036 w 5373279"/>
                <a:gd name="connsiteY43" fmla="*/ 47134 h 3148552"/>
                <a:gd name="connsiteX44" fmla="*/ 5373279 w 5373279"/>
                <a:gd name="connsiteY44" fmla="*/ 254523 h 3148552"/>
                <a:gd name="connsiteX45" fmla="*/ 1055803 w 5373279"/>
                <a:gd name="connsiteY45" fmla="*/ 3148552 h 3148552"/>
                <a:gd name="connsiteX46" fmla="*/ 405353 w 5373279"/>
                <a:gd name="connsiteY46" fmla="*/ 2912882 h 3148552"/>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2912882 h 3139125"/>
                <a:gd name="connsiteX1" fmla="*/ 367646 w 5373279"/>
                <a:gd name="connsiteY1" fmla="*/ 2667785 h 3139125"/>
                <a:gd name="connsiteX2" fmla="*/ 94269 w 5373279"/>
                <a:gd name="connsiteY2" fmla="*/ 2658358 h 3139125"/>
                <a:gd name="connsiteX3" fmla="*/ 0 w 5373279"/>
                <a:gd name="connsiteY3" fmla="*/ 2507530 h 3139125"/>
                <a:gd name="connsiteX4" fmla="*/ 141403 w 5373279"/>
                <a:gd name="connsiteY4" fmla="*/ 2309567 h 3139125"/>
                <a:gd name="connsiteX5" fmla="*/ 386499 w 5373279"/>
                <a:gd name="connsiteY5" fmla="*/ 2318993 h 3139125"/>
                <a:gd name="connsiteX6" fmla="*/ 461914 w 5373279"/>
                <a:gd name="connsiteY6" fmla="*/ 2535810 h 3139125"/>
                <a:gd name="connsiteX7" fmla="*/ 622170 w 5373279"/>
                <a:gd name="connsiteY7" fmla="*/ 2498103 h 3139125"/>
                <a:gd name="connsiteX8" fmla="*/ 1140644 w 5373279"/>
                <a:gd name="connsiteY8" fmla="*/ 1932495 h 3139125"/>
                <a:gd name="connsiteX9" fmla="*/ 989815 w 5373279"/>
                <a:gd name="connsiteY9" fmla="*/ 1753385 h 3139125"/>
                <a:gd name="connsiteX10" fmla="*/ 556182 w 5373279"/>
                <a:gd name="connsiteY10" fmla="*/ 1734532 h 3139125"/>
                <a:gd name="connsiteX11" fmla="*/ 725864 w 5373279"/>
                <a:gd name="connsiteY11" fmla="*/ 1470581 h 3139125"/>
                <a:gd name="connsiteX12" fmla="*/ 1102937 w 5373279"/>
                <a:gd name="connsiteY12" fmla="*/ 1319752 h 3139125"/>
                <a:gd name="connsiteX13" fmla="*/ 1253765 w 5373279"/>
                <a:gd name="connsiteY13" fmla="*/ 1423447 h 3139125"/>
                <a:gd name="connsiteX14" fmla="*/ 1150071 w 5373279"/>
                <a:gd name="connsiteY14" fmla="*/ 1611983 h 3139125"/>
                <a:gd name="connsiteX15" fmla="*/ 1442302 w 5373279"/>
                <a:gd name="connsiteY15" fmla="*/ 1677971 h 3139125"/>
                <a:gd name="connsiteX16" fmla="*/ 2055044 w 5373279"/>
                <a:gd name="connsiteY16" fmla="*/ 1244338 h 3139125"/>
                <a:gd name="connsiteX17" fmla="*/ 2073897 w 5373279"/>
                <a:gd name="connsiteY17" fmla="*/ 989814 h 3139125"/>
                <a:gd name="connsiteX18" fmla="*/ 1885361 w 5373279"/>
                <a:gd name="connsiteY18" fmla="*/ 876692 h 3139125"/>
                <a:gd name="connsiteX19" fmla="*/ 1668545 w 5373279"/>
                <a:gd name="connsiteY19" fmla="*/ 886119 h 3139125"/>
                <a:gd name="connsiteX20" fmla="*/ 1696825 w 5373279"/>
                <a:gd name="connsiteY20" fmla="*/ 688156 h 3139125"/>
                <a:gd name="connsiteX21" fmla="*/ 1913642 w 5373279"/>
                <a:gd name="connsiteY21" fmla="*/ 584462 h 3139125"/>
                <a:gd name="connsiteX22" fmla="*/ 2196446 w 5373279"/>
                <a:gd name="connsiteY22" fmla="*/ 641022 h 3139125"/>
                <a:gd name="connsiteX23" fmla="*/ 2168165 w 5373279"/>
                <a:gd name="connsiteY23" fmla="*/ 772998 h 3139125"/>
                <a:gd name="connsiteX24" fmla="*/ 2271860 w 5373279"/>
                <a:gd name="connsiteY24" fmla="*/ 933253 h 3139125"/>
                <a:gd name="connsiteX25" fmla="*/ 2573518 w 5373279"/>
                <a:gd name="connsiteY25" fmla="*/ 923826 h 3139125"/>
                <a:gd name="connsiteX26" fmla="*/ 3101419 w 5373279"/>
                <a:gd name="connsiteY26" fmla="*/ 659876 h 3139125"/>
                <a:gd name="connsiteX27" fmla="*/ 3139126 w 5373279"/>
                <a:gd name="connsiteY27" fmla="*/ 499620 h 3139125"/>
                <a:gd name="connsiteX28" fmla="*/ 2997724 w 5373279"/>
                <a:gd name="connsiteY28" fmla="*/ 452486 h 3139125"/>
                <a:gd name="connsiteX29" fmla="*/ 2960017 w 5373279"/>
                <a:gd name="connsiteY29" fmla="*/ 348791 h 3139125"/>
                <a:gd name="connsiteX30" fmla="*/ 3157980 w 5373279"/>
                <a:gd name="connsiteY30" fmla="*/ 282804 h 3139125"/>
                <a:gd name="connsiteX31" fmla="*/ 3252248 w 5373279"/>
                <a:gd name="connsiteY31" fmla="*/ 377072 h 3139125"/>
                <a:gd name="connsiteX32" fmla="*/ 3299382 w 5373279"/>
                <a:gd name="connsiteY32" fmla="*/ 499620 h 3139125"/>
                <a:gd name="connsiteX33" fmla="*/ 3478491 w 5373279"/>
                <a:gd name="connsiteY33" fmla="*/ 490193 h 3139125"/>
                <a:gd name="connsiteX34" fmla="*/ 4025246 w 5373279"/>
                <a:gd name="connsiteY34" fmla="*/ 292231 h 3139125"/>
                <a:gd name="connsiteX35" fmla="*/ 3996965 w 5373279"/>
                <a:gd name="connsiteY35" fmla="*/ 169682 h 3139125"/>
                <a:gd name="connsiteX36" fmla="*/ 3864990 w 5373279"/>
                <a:gd name="connsiteY36" fmla="*/ 169682 h 3139125"/>
                <a:gd name="connsiteX37" fmla="*/ 3855563 w 5373279"/>
                <a:gd name="connsiteY37" fmla="*/ 94268 h 3139125"/>
                <a:gd name="connsiteX38" fmla="*/ 3968685 w 5373279"/>
                <a:gd name="connsiteY38" fmla="*/ 0 h 3139125"/>
                <a:gd name="connsiteX39" fmla="*/ 4138367 w 5373279"/>
                <a:gd name="connsiteY39" fmla="*/ 0 h 3139125"/>
                <a:gd name="connsiteX40" fmla="*/ 4194928 w 5373279"/>
                <a:gd name="connsiteY40" fmla="*/ 84841 h 3139125"/>
                <a:gd name="connsiteX41" fmla="*/ 4147794 w 5373279"/>
                <a:gd name="connsiteY41" fmla="*/ 150829 h 3139125"/>
                <a:gd name="connsiteX42" fmla="*/ 4232636 w 5373279"/>
                <a:gd name="connsiteY42" fmla="*/ 235670 h 3139125"/>
                <a:gd name="connsiteX43" fmla="*/ 5147036 w 5373279"/>
                <a:gd name="connsiteY43" fmla="*/ 47134 h 3139125"/>
                <a:gd name="connsiteX44" fmla="*/ 5373279 w 5373279"/>
                <a:gd name="connsiteY44" fmla="*/ 254523 h 3139125"/>
                <a:gd name="connsiteX45" fmla="*/ 1084084 w 5373279"/>
                <a:gd name="connsiteY45" fmla="*/ 3139125 h 3139125"/>
                <a:gd name="connsiteX46" fmla="*/ 405353 w 5373279"/>
                <a:gd name="connsiteY46" fmla="*/ 2912882 h 3139125"/>
                <a:gd name="connsiteX0" fmla="*/ 405353 w 5373279"/>
                <a:gd name="connsiteY0" fmla="*/ 3035430 h 3261673"/>
                <a:gd name="connsiteX1" fmla="*/ 367646 w 5373279"/>
                <a:gd name="connsiteY1" fmla="*/ 2790333 h 3261673"/>
                <a:gd name="connsiteX2" fmla="*/ 94269 w 5373279"/>
                <a:gd name="connsiteY2" fmla="*/ 2780906 h 3261673"/>
                <a:gd name="connsiteX3" fmla="*/ 0 w 5373279"/>
                <a:gd name="connsiteY3" fmla="*/ 2630078 h 3261673"/>
                <a:gd name="connsiteX4" fmla="*/ 141403 w 5373279"/>
                <a:gd name="connsiteY4" fmla="*/ 2432115 h 3261673"/>
                <a:gd name="connsiteX5" fmla="*/ 386499 w 5373279"/>
                <a:gd name="connsiteY5" fmla="*/ 2441541 h 3261673"/>
                <a:gd name="connsiteX6" fmla="*/ 461914 w 5373279"/>
                <a:gd name="connsiteY6" fmla="*/ 2658358 h 3261673"/>
                <a:gd name="connsiteX7" fmla="*/ 622170 w 5373279"/>
                <a:gd name="connsiteY7" fmla="*/ 2620651 h 3261673"/>
                <a:gd name="connsiteX8" fmla="*/ 1140644 w 5373279"/>
                <a:gd name="connsiteY8" fmla="*/ 2055043 h 3261673"/>
                <a:gd name="connsiteX9" fmla="*/ 989815 w 5373279"/>
                <a:gd name="connsiteY9" fmla="*/ 1875933 h 3261673"/>
                <a:gd name="connsiteX10" fmla="*/ 556182 w 5373279"/>
                <a:gd name="connsiteY10" fmla="*/ 1857080 h 3261673"/>
                <a:gd name="connsiteX11" fmla="*/ 725864 w 5373279"/>
                <a:gd name="connsiteY11" fmla="*/ 1593129 h 3261673"/>
                <a:gd name="connsiteX12" fmla="*/ 1102937 w 5373279"/>
                <a:gd name="connsiteY12" fmla="*/ 1442300 h 3261673"/>
                <a:gd name="connsiteX13" fmla="*/ 1253765 w 5373279"/>
                <a:gd name="connsiteY13" fmla="*/ 1545995 h 3261673"/>
                <a:gd name="connsiteX14" fmla="*/ 1150071 w 5373279"/>
                <a:gd name="connsiteY14" fmla="*/ 1734531 h 3261673"/>
                <a:gd name="connsiteX15" fmla="*/ 1442302 w 5373279"/>
                <a:gd name="connsiteY15" fmla="*/ 1800519 h 3261673"/>
                <a:gd name="connsiteX16" fmla="*/ 2055044 w 5373279"/>
                <a:gd name="connsiteY16" fmla="*/ 1366886 h 3261673"/>
                <a:gd name="connsiteX17" fmla="*/ 2073897 w 5373279"/>
                <a:gd name="connsiteY17" fmla="*/ 1112362 h 3261673"/>
                <a:gd name="connsiteX18" fmla="*/ 1885361 w 5373279"/>
                <a:gd name="connsiteY18" fmla="*/ 999240 h 3261673"/>
                <a:gd name="connsiteX19" fmla="*/ 1668545 w 5373279"/>
                <a:gd name="connsiteY19" fmla="*/ 1008667 h 3261673"/>
                <a:gd name="connsiteX20" fmla="*/ 1696825 w 5373279"/>
                <a:gd name="connsiteY20" fmla="*/ 810704 h 3261673"/>
                <a:gd name="connsiteX21" fmla="*/ 1913642 w 5373279"/>
                <a:gd name="connsiteY21" fmla="*/ 707010 h 3261673"/>
                <a:gd name="connsiteX22" fmla="*/ 2196446 w 5373279"/>
                <a:gd name="connsiteY22" fmla="*/ 763570 h 3261673"/>
                <a:gd name="connsiteX23" fmla="*/ 2168165 w 5373279"/>
                <a:gd name="connsiteY23" fmla="*/ 895546 h 3261673"/>
                <a:gd name="connsiteX24" fmla="*/ 2271860 w 5373279"/>
                <a:gd name="connsiteY24" fmla="*/ 1055801 h 3261673"/>
                <a:gd name="connsiteX25" fmla="*/ 2573518 w 5373279"/>
                <a:gd name="connsiteY25" fmla="*/ 1046374 h 3261673"/>
                <a:gd name="connsiteX26" fmla="*/ 3101419 w 5373279"/>
                <a:gd name="connsiteY26" fmla="*/ 782424 h 3261673"/>
                <a:gd name="connsiteX27" fmla="*/ 3139126 w 5373279"/>
                <a:gd name="connsiteY27" fmla="*/ 622168 h 3261673"/>
                <a:gd name="connsiteX28" fmla="*/ 2997724 w 5373279"/>
                <a:gd name="connsiteY28" fmla="*/ 575034 h 3261673"/>
                <a:gd name="connsiteX29" fmla="*/ 2960017 w 5373279"/>
                <a:gd name="connsiteY29" fmla="*/ 471339 h 3261673"/>
                <a:gd name="connsiteX30" fmla="*/ 3157980 w 5373279"/>
                <a:gd name="connsiteY30" fmla="*/ 405352 h 3261673"/>
                <a:gd name="connsiteX31" fmla="*/ 3252248 w 5373279"/>
                <a:gd name="connsiteY31" fmla="*/ 499620 h 3261673"/>
                <a:gd name="connsiteX32" fmla="*/ 3299382 w 5373279"/>
                <a:gd name="connsiteY32" fmla="*/ 622168 h 3261673"/>
                <a:gd name="connsiteX33" fmla="*/ 3478491 w 5373279"/>
                <a:gd name="connsiteY33" fmla="*/ 612741 h 3261673"/>
                <a:gd name="connsiteX34" fmla="*/ 4025246 w 5373279"/>
                <a:gd name="connsiteY34" fmla="*/ 414779 h 3261673"/>
                <a:gd name="connsiteX35" fmla="*/ 3996965 w 5373279"/>
                <a:gd name="connsiteY35" fmla="*/ 292230 h 3261673"/>
                <a:gd name="connsiteX36" fmla="*/ 3864990 w 5373279"/>
                <a:gd name="connsiteY36" fmla="*/ 292230 h 3261673"/>
                <a:gd name="connsiteX37" fmla="*/ 3855563 w 5373279"/>
                <a:gd name="connsiteY37" fmla="*/ 216816 h 3261673"/>
                <a:gd name="connsiteX38" fmla="*/ 3968685 w 5373279"/>
                <a:gd name="connsiteY38" fmla="*/ 122548 h 3261673"/>
                <a:gd name="connsiteX39" fmla="*/ 4138367 w 5373279"/>
                <a:gd name="connsiteY39" fmla="*/ 122548 h 3261673"/>
                <a:gd name="connsiteX40" fmla="*/ 4194928 w 5373279"/>
                <a:gd name="connsiteY40" fmla="*/ 207389 h 3261673"/>
                <a:gd name="connsiteX41" fmla="*/ 4147794 w 5373279"/>
                <a:gd name="connsiteY41" fmla="*/ 273377 h 3261673"/>
                <a:gd name="connsiteX42" fmla="*/ 4232636 w 5373279"/>
                <a:gd name="connsiteY42" fmla="*/ 358218 h 3261673"/>
                <a:gd name="connsiteX43" fmla="*/ 4873659 w 5373279"/>
                <a:gd name="connsiteY43" fmla="*/ 0 h 3261673"/>
                <a:gd name="connsiteX44" fmla="*/ 5373279 w 5373279"/>
                <a:gd name="connsiteY44" fmla="*/ 377071 h 3261673"/>
                <a:gd name="connsiteX45" fmla="*/ 1084084 w 5373279"/>
                <a:gd name="connsiteY45" fmla="*/ 3261673 h 3261673"/>
                <a:gd name="connsiteX46" fmla="*/ 405353 w 5373279"/>
                <a:gd name="connsiteY46" fmla="*/ 3035430 h 3261673"/>
                <a:gd name="connsiteX0" fmla="*/ 0 w 5646656"/>
                <a:gd name="connsiteY0" fmla="*/ 2846894 h 3261673"/>
                <a:gd name="connsiteX1" fmla="*/ 641023 w 5646656"/>
                <a:gd name="connsiteY1" fmla="*/ 2790333 h 3261673"/>
                <a:gd name="connsiteX2" fmla="*/ 367646 w 5646656"/>
                <a:gd name="connsiteY2" fmla="*/ 2780906 h 3261673"/>
                <a:gd name="connsiteX3" fmla="*/ 273377 w 5646656"/>
                <a:gd name="connsiteY3" fmla="*/ 2630078 h 3261673"/>
                <a:gd name="connsiteX4" fmla="*/ 414780 w 5646656"/>
                <a:gd name="connsiteY4" fmla="*/ 2432115 h 3261673"/>
                <a:gd name="connsiteX5" fmla="*/ 659876 w 5646656"/>
                <a:gd name="connsiteY5" fmla="*/ 2441541 h 3261673"/>
                <a:gd name="connsiteX6" fmla="*/ 735291 w 5646656"/>
                <a:gd name="connsiteY6" fmla="*/ 2658358 h 3261673"/>
                <a:gd name="connsiteX7" fmla="*/ 895547 w 5646656"/>
                <a:gd name="connsiteY7" fmla="*/ 2620651 h 3261673"/>
                <a:gd name="connsiteX8" fmla="*/ 1414021 w 5646656"/>
                <a:gd name="connsiteY8" fmla="*/ 2055043 h 3261673"/>
                <a:gd name="connsiteX9" fmla="*/ 1263192 w 5646656"/>
                <a:gd name="connsiteY9" fmla="*/ 1875933 h 3261673"/>
                <a:gd name="connsiteX10" fmla="*/ 829559 w 5646656"/>
                <a:gd name="connsiteY10" fmla="*/ 1857080 h 3261673"/>
                <a:gd name="connsiteX11" fmla="*/ 999241 w 5646656"/>
                <a:gd name="connsiteY11" fmla="*/ 1593129 h 3261673"/>
                <a:gd name="connsiteX12" fmla="*/ 1376314 w 5646656"/>
                <a:gd name="connsiteY12" fmla="*/ 1442300 h 3261673"/>
                <a:gd name="connsiteX13" fmla="*/ 1527142 w 5646656"/>
                <a:gd name="connsiteY13" fmla="*/ 1545995 h 3261673"/>
                <a:gd name="connsiteX14" fmla="*/ 1423448 w 5646656"/>
                <a:gd name="connsiteY14" fmla="*/ 1734531 h 3261673"/>
                <a:gd name="connsiteX15" fmla="*/ 1715679 w 5646656"/>
                <a:gd name="connsiteY15" fmla="*/ 1800519 h 3261673"/>
                <a:gd name="connsiteX16" fmla="*/ 2328421 w 5646656"/>
                <a:gd name="connsiteY16" fmla="*/ 1366886 h 3261673"/>
                <a:gd name="connsiteX17" fmla="*/ 2347274 w 5646656"/>
                <a:gd name="connsiteY17" fmla="*/ 1112362 h 3261673"/>
                <a:gd name="connsiteX18" fmla="*/ 2158738 w 5646656"/>
                <a:gd name="connsiteY18" fmla="*/ 999240 h 3261673"/>
                <a:gd name="connsiteX19" fmla="*/ 1941922 w 5646656"/>
                <a:gd name="connsiteY19" fmla="*/ 1008667 h 3261673"/>
                <a:gd name="connsiteX20" fmla="*/ 1970202 w 5646656"/>
                <a:gd name="connsiteY20" fmla="*/ 810704 h 3261673"/>
                <a:gd name="connsiteX21" fmla="*/ 2187019 w 5646656"/>
                <a:gd name="connsiteY21" fmla="*/ 707010 h 3261673"/>
                <a:gd name="connsiteX22" fmla="*/ 2469823 w 5646656"/>
                <a:gd name="connsiteY22" fmla="*/ 763570 h 3261673"/>
                <a:gd name="connsiteX23" fmla="*/ 2441542 w 5646656"/>
                <a:gd name="connsiteY23" fmla="*/ 895546 h 3261673"/>
                <a:gd name="connsiteX24" fmla="*/ 2545237 w 5646656"/>
                <a:gd name="connsiteY24" fmla="*/ 1055801 h 3261673"/>
                <a:gd name="connsiteX25" fmla="*/ 2846895 w 5646656"/>
                <a:gd name="connsiteY25" fmla="*/ 1046374 h 3261673"/>
                <a:gd name="connsiteX26" fmla="*/ 3374796 w 5646656"/>
                <a:gd name="connsiteY26" fmla="*/ 782424 h 3261673"/>
                <a:gd name="connsiteX27" fmla="*/ 3412503 w 5646656"/>
                <a:gd name="connsiteY27" fmla="*/ 622168 h 3261673"/>
                <a:gd name="connsiteX28" fmla="*/ 3271101 w 5646656"/>
                <a:gd name="connsiteY28" fmla="*/ 575034 h 3261673"/>
                <a:gd name="connsiteX29" fmla="*/ 3233394 w 5646656"/>
                <a:gd name="connsiteY29" fmla="*/ 471339 h 3261673"/>
                <a:gd name="connsiteX30" fmla="*/ 3431357 w 5646656"/>
                <a:gd name="connsiteY30" fmla="*/ 405352 h 3261673"/>
                <a:gd name="connsiteX31" fmla="*/ 3525625 w 5646656"/>
                <a:gd name="connsiteY31" fmla="*/ 499620 h 3261673"/>
                <a:gd name="connsiteX32" fmla="*/ 3572759 w 5646656"/>
                <a:gd name="connsiteY32" fmla="*/ 622168 h 3261673"/>
                <a:gd name="connsiteX33" fmla="*/ 3751868 w 5646656"/>
                <a:gd name="connsiteY33" fmla="*/ 612741 h 3261673"/>
                <a:gd name="connsiteX34" fmla="*/ 4298623 w 5646656"/>
                <a:gd name="connsiteY34" fmla="*/ 414779 h 3261673"/>
                <a:gd name="connsiteX35" fmla="*/ 4270342 w 5646656"/>
                <a:gd name="connsiteY35" fmla="*/ 292230 h 3261673"/>
                <a:gd name="connsiteX36" fmla="*/ 4138367 w 5646656"/>
                <a:gd name="connsiteY36" fmla="*/ 292230 h 3261673"/>
                <a:gd name="connsiteX37" fmla="*/ 4128940 w 5646656"/>
                <a:gd name="connsiteY37" fmla="*/ 216816 h 3261673"/>
                <a:gd name="connsiteX38" fmla="*/ 4242062 w 5646656"/>
                <a:gd name="connsiteY38" fmla="*/ 122548 h 3261673"/>
                <a:gd name="connsiteX39" fmla="*/ 4411744 w 5646656"/>
                <a:gd name="connsiteY39" fmla="*/ 122548 h 3261673"/>
                <a:gd name="connsiteX40" fmla="*/ 4468305 w 5646656"/>
                <a:gd name="connsiteY40" fmla="*/ 207389 h 3261673"/>
                <a:gd name="connsiteX41" fmla="*/ 4421171 w 5646656"/>
                <a:gd name="connsiteY41" fmla="*/ 273377 h 3261673"/>
                <a:gd name="connsiteX42" fmla="*/ 4506013 w 5646656"/>
                <a:gd name="connsiteY42" fmla="*/ 358218 h 3261673"/>
                <a:gd name="connsiteX43" fmla="*/ 5147036 w 5646656"/>
                <a:gd name="connsiteY43" fmla="*/ 0 h 3261673"/>
                <a:gd name="connsiteX44" fmla="*/ 5646656 w 5646656"/>
                <a:gd name="connsiteY44" fmla="*/ 377071 h 3261673"/>
                <a:gd name="connsiteX45" fmla="*/ 1357461 w 5646656"/>
                <a:gd name="connsiteY45" fmla="*/ 3261673 h 3261673"/>
                <a:gd name="connsiteX46" fmla="*/ 0 w 5646656"/>
                <a:gd name="connsiteY46" fmla="*/ 2846894 h 3261673"/>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646656"/>
                <a:gd name="connsiteY0" fmla="*/ 2846894 h 3214539"/>
                <a:gd name="connsiteX1" fmla="*/ 641023 w 5646656"/>
                <a:gd name="connsiteY1" fmla="*/ 2790333 h 3214539"/>
                <a:gd name="connsiteX2" fmla="*/ 367646 w 5646656"/>
                <a:gd name="connsiteY2" fmla="*/ 2780906 h 3214539"/>
                <a:gd name="connsiteX3" fmla="*/ 273377 w 5646656"/>
                <a:gd name="connsiteY3" fmla="*/ 2630078 h 3214539"/>
                <a:gd name="connsiteX4" fmla="*/ 414780 w 5646656"/>
                <a:gd name="connsiteY4" fmla="*/ 2432115 h 3214539"/>
                <a:gd name="connsiteX5" fmla="*/ 659876 w 5646656"/>
                <a:gd name="connsiteY5" fmla="*/ 2441541 h 3214539"/>
                <a:gd name="connsiteX6" fmla="*/ 735291 w 5646656"/>
                <a:gd name="connsiteY6" fmla="*/ 2658358 h 3214539"/>
                <a:gd name="connsiteX7" fmla="*/ 895547 w 5646656"/>
                <a:gd name="connsiteY7" fmla="*/ 2620651 h 3214539"/>
                <a:gd name="connsiteX8" fmla="*/ 1414021 w 5646656"/>
                <a:gd name="connsiteY8" fmla="*/ 2055043 h 3214539"/>
                <a:gd name="connsiteX9" fmla="*/ 1263192 w 5646656"/>
                <a:gd name="connsiteY9" fmla="*/ 1875933 h 3214539"/>
                <a:gd name="connsiteX10" fmla="*/ 829559 w 5646656"/>
                <a:gd name="connsiteY10" fmla="*/ 1857080 h 3214539"/>
                <a:gd name="connsiteX11" fmla="*/ 999241 w 5646656"/>
                <a:gd name="connsiteY11" fmla="*/ 1593129 h 3214539"/>
                <a:gd name="connsiteX12" fmla="*/ 1376314 w 5646656"/>
                <a:gd name="connsiteY12" fmla="*/ 1442300 h 3214539"/>
                <a:gd name="connsiteX13" fmla="*/ 1527142 w 5646656"/>
                <a:gd name="connsiteY13" fmla="*/ 1545995 h 3214539"/>
                <a:gd name="connsiteX14" fmla="*/ 1423448 w 5646656"/>
                <a:gd name="connsiteY14" fmla="*/ 1734531 h 3214539"/>
                <a:gd name="connsiteX15" fmla="*/ 1715679 w 5646656"/>
                <a:gd name="connsiteY15" fmla="*/ 1800519 h 3214539"/>
                <a:gd name="connsiteX16" fmla="*/ 2328421 w 5646656"/>
                <a:gd name="connsiteY16" fmla="*/ 1366886 h 3214539"/>
                <a:gd name="connsiteX17" fmla="*/ 2347274 w 5646656"/>
                <a:gd name="connsiteY17" fmla="*/ 1112362 h 3214539"/>
                <a:gd name="connsiteX18" fmla="*/ 2158738 w 5646656"/>
                <a:gd name="connsiteY18" fmla="*/ 999240 h 3214539"/>
                <a:gd name="connsiteX19" fmla="*/ 1941922 w 5646656"/>
                <a:gd name="connsiteY19" fmla="*/ 1008667 h 3214539"/>
                <a:gd name="connsiteX20" fmla="*/ 1970202 w 5646656"/>
                <a:gd name="connsiteY20" fmla="*/ 810704 h 3214539"/>
                <a:gd name="connsiteX21" fmla="*/ 2187019 w 5646656"/>
                <a:gd name="connsiteY21" fmla="*/ 707010 h 3214539"/>
                <a:gd name="connsiteX22" fmla="*/ 2469823 w 5646656"/>
                <a:gd name="connsiteY22" fmla="*/ 763570 h 3214539"/>
                <a:gd name="connsiteX23" fmla="*/ 2441542 w 5646656"/>
                <a:gd name="connsiteY23" fmla="*/ 895546 h 3214539"/>
                <a:gd name="connsiteX24" fmla="*/ 2545237 w 5646656"/>
                <a:gd name="connsiteY24" fmla="*/ 1055801 h 3214539"/>
                <a:gd name="connsiteX25" fmla="*/ 2846895 w 5646656"/>
                <a:gd name="connsiteY25" fmla="*/ 1046374 h 3214539"/>
                <a:gd name="connsiteX26" fmla="*/ 3374796 w 5646656"/>
                <a:gd name="connsiteY26" fmla="*/ 782424 h 3214539"/>
                <a:gd name="connsiteX27" fmla="*/ 3412503 w 5646656"/>
                <a:gd name="connsiteY27" fmla="*/ 622168 h 3214539"/>
                <a:gd name="connsiteX28" fmla="*/ 3271101 w 5646656"/>
                <a:gd name="connsiteY28" fmla="*/ 575034 h 3214539"/>
                <a:gd name="connsiteX29" fmla="*/ 3233394 w 5646656"/>
                <a:gd name="connsiteY29" fmla="*/ 471339 h 3214539"/>
                <a:gd name="connsiteX30" fmla="*/ 3431357 w 5646656"/>
                <a:gd name="connsiteY30" fmla="*/ 405352 h 3214539"/>
                <a:gd name="connsiteX31" fmla="*/ 3525625 w 5646656"/>
                <a:gd name="connsiteY31" fmla="*/ 499620 h 3214539"/>
                <a:gd name="connsiteX32" fmla="*/ 3572759 w 5646656"/>
                <a:gd name="connsiteY32" fmla="*/ 622168 h 3214539"/>
                <a:gd name="connsiteX33" fmla="*/ 3751868 w 5646656"/>
                <a:gd name="connsiteY33" fmla="*/ 612741 h 3214539"/>
                <a:gd name="connsiteX34" fmla="*/ 4298623 w 5646656"/>
                <a:gd name="connsiteY34" fmla="*/ 414779 h 3214539"/>
                <a:gd name="connsiteX35" fmla="*/ 4270342 w 5646656"/>
                <a:gd name="connsiteY35" fmla="*/ 292230 h 3214539"/>
                <a:gd name="connsiteX36" fmla="*/ 4138367 w 5646656"/>
                <a:gd name="connsiteY36" fmla="*/ 292230 h 3214539"/>
                <a:gd name="connsiteX37" fmla="*/ 4128940 w 5646656"/>
                <a:gd name="connsiteY37" fmla="*/ 216816 h 3214539"/>
                <a:gd name="connsiteX38" fmla="*/ 4242062 w 5646656"/>
                <a:gd name="connsiteY38" fmla="*/ 122548 h 3214539"/>
                <a:gd name="connsiteX39" fmla="*/ 4411744 w 5646656"/>
                <a:gd name="connsiteY39" fmla="*/ 122548 h 3214539"/>
                <a:gd name="connsiteX40" fmla="*/ 4468305 w 5646656"/>
                <a:gd name="connsiteY40" fmla="*/ 207389 h 3214539"/>
                <a:gd name="connsiteX41" fmla="*/ 4421171 w 5646656"/>
                <a:gd name="connsiteY41" fmla="*/ 273377 h 3214539"/>
                <a:gd name="connsiteX42" fmla="*/ 4506013 w 5646656"/>
                <a:gd name="connsiteY42" fmla="*/ 358218 h 3214539"/>
                <a:gd name="connsiteX43" fmla="*/ 5147036 w 5646656"/>
                <a:gd name="connsiteY43" fmla="*/ 0 h 3214539"/>
                <a:gd name="connsiteX44" fmla="*/ 5646656 w 5646656"/>
                <a:gd name="connsiteY44" fmla="*/ 377071 h 3214539"/>
                <a:gd name="connsiteX45" fmla="*/ 1385741 w 5646656"/>
                <a:gd name="connsiteY45" fmla="*/ 3214539 h 3214539"/>
                <a:gd name="connsiteX46" fmla="*/ 0 w 5646656"/>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0 w 5599522"/>
                <a:gd name="connsiteY0" fmla="*/ 2846894 h 3214539"/>
                <a:gd name="connsiteX1" fmla="*/ 641023 w 5599522"/>
                <a:gd name="connsiteY1" fmla="*/ 2790333 h 3214539"/>
                <a:gd name="connsiteX2" fmla="*/ 367646 w 5599522"/>
                <a:gd name="connsiteY2" fmla="*/ 2780906 h 3214539"/>
                <a:gd name="connsiteX3" fmla="*/ 273377 w 5599522"/>
                <a:gd name="connsiteY3" fmla="*/ 2630078 h 3214539"/>
                <a:gd name="connsiteX4" fmla="*/ 414780 w 5599522"/>
                <a:gd name="connsiteY4" fmla="*/ 2432115 h 3214539"/>
                <a:gd name="connsiteX5" fmla="*/ 659876 w 5599522"/>
                <a:gd name="connsiteY5" fmla="*/ 2441541 h 3214539"/>
                <a:gd name="connsiteX6" fmla="*/ 735291 w 5599522"/>
                <a:gd name="connsiteY6" fmla="*/ 2658358 h 3214539"/>
                <a:gd name="connsiteX7" fmla="*/ 895547 w 5599522"/>
                <a:gd name="connsiteY7" fmla="*/ 2620651 h 3214539"/>
                <a:gd name="connsiteX8" fmla="*/ 1414021 w 5599522"/>
                <a:gd name="connsiteY8" fmla="*/ 2055043 h 3214539"/>
                <a:gd name="connsiteX9" fmla="*/ 1263192 w 5599522"/>
                <a:gd name="connsiteY9" fmla="*/ 1875933 h 3214539"/>
                <a:gd name="connsiteX10" fmla="*/ 829559 w 5599522"/>
                <a:gd name="connsiteY10" fmla="*/ 1857080 h 3214539"/>
                <a:gd name="connsiteX11" fmla="*/ 999241 w 5599522"/>
                <a:gd name="connsiteY11" fmla="*/ 1593129 h 3214539"/>
                <a:gd name="connsiteX12" fmla="*/ 1376314 w 5599522"/>
                <a:gd name="connsiteY12" fmla="*/ 1442300 h 3214539"/>
                <a:gd name="connsiteX13" fmla="*/ 1527142 w 5599522"/>
                <a:gd name="connsiteY13" fmla="*/ 1545995 h 3214539"/>
                <a:gd name="connsiteX14" fmla="*/ 1423448 w 5599522"/>
                <a:gd name="connsiteY14" fmla="*/ 1734531 h 3214539"/>
                <a:gd name="connsiteX15" fmla="*/ 1715679 w 5599522"/>
                <a:gd name="connsiteY15" fmla="*/ 1800519 h 3214539"/>
                <a:gd name="connsiteX16" fmla="*/ 2328421 w 5599522"/>
                <a:gd name="connsiteY16" fmla="*/ 1366886 h 3214539"/>
                <a:gd name="connsiteX17" fmla="*/ 2347274 w 5599522"/>
                <a:gd name="connsiteY17" fmla="*/ 1112362 h 3214539"/>
                <a:gd name="connsiteX18" fmla="*/ 2158738 w 5599522"/>
                <a:gd name="connsiteY18" fmla="*/ 999240 h 3214539"/>
                <a:gd name="connsiteX19" fmla="*/ 1941922 w 5599522"/>
                <a:gd name="connsiteY19" fmla="*/ 1008667 h 3214539"/>
                <a:gd name="connsiteX20" fmla="*/ 1970202 w 5599522"/>
                <a:gd name="connsiteY20" fmla="*/ 810704 h 3214539"/>
                <a:gd name="connsiteX21" fmla="*/ 2187019 w 5599522"/>
                <a:gd name="connsiteY21" fmla="*/ 707010 h 3214539"/>
                <a:gd name="connsiteX22" fmla="*/ 2469823 w 5599522"/>
                <a:gd name="connsiteY22" fmla="*/ 763570 h 3214539"/>
                <a:gd name="connsiteX23" fmla="*/ 2441542 w 5599522"/>
                <a:gd name="connsiteY23" fmla="*/ 895546 h 3214539"/>
                <a:gd name="connsiteX24" fmla="*/ 2545237 w 5599522"/>
                <a:gd name="connsiteY24" fmla="*/ 1055801 h 3214539"/>
                <a:gd name="connsiteX25" fmla="*/ 2846895 w 5599522"/>
                <a:gd name="connsiteY25" fmla="*/ 1046374 h 3214539"/>
                <a:gd name="connsiteX26" fmla="*/ 3374796 w 5599522"/>
                <a:gd name="connsiteY26" fmla="*/ 782424 h 3214539"/>
                <a:gd name="connsiteX27" fmla="*/ 3412503 w 5599522"/>
                <a:gd name="connsiteY27" fmla="*/ 622168 h 3214539"/>
                <a:gd name="connsiteX28" fmla="*/ 3271101 w 5599522"/>
                <a:gd name="connsiteY28" fmla="*/ 575034 h 3214539"/>
                <a:gd name="connsiteX29" fmla="*/ 3233394 w 5599522"/>
                <a:gd name="connsiteY29" fmla="*/ 471339 h 3214539"/>
                <a:gd name="connsiteX30" fmla="*/ 3431357 w 5599522"/>
                <a:gd name="connsiteY30" fmla="*/ 405352 h 3214539"/>
                <a:gd name="connsiteX31" fmla="*/ 3525625 w 5599522"/>
                <a:gd name="connsiteY31" fmla="*/ 499620 h 3214539"/>
                <a:gd name="connsiteX32" fmla="*/ 3572759 w 5599522"/>
                <a:gd name="connsiteY32" fmla="*/ 622168 h 3214539"/>
                <a:gd name="connsiteX33" fmla="*/ 3751868 w 5599522"/>
                <a:gd name="connsiteY33" fmla="*/ 612741 h 3214539"/>
                <a:gd name="connsiteX34" fmla="*/ 4298623 w 5599522"/>
                <a:gd name="connsiteY34" fmla="*/ 414779 h 3214539"/>
                <a:gd name="connsiteX35" fmla="*/ 4270342 w 5599522"/>
                <a:gd name="connsiteY35" fmla="*/ 292230 h 3214539"/>
                <a:gd name="connsiteX36" fmla="*/ 4138367 w 5599522"/>
                <a:gd name="connsiteY36" fmla="*/ 292230 h 3214539"/>
                <a:gd name="connsiteX37" fmla="*/ 4128940 w 5599522"/>
                <a:gd name="connsiteY37" fmla="*/ 216816 h 3214539"/>
                <a:gd name="connsiteX38" fmla="*/ 4242062 w 5599522"/>
                <a:gd name="connsiteY38" fmla="*/ 122548 h 3214539"/>
                <a:gd name="connsiteX39" fmla="*/ 4411744 w 5599522"/>
                <a:gd name="connsiteY39" fmla="*/ 122548 h 3214539"/>
                <a:gd name="connsiteX40" fmla="*/ 4468305 w 5599522"/>
                <a:gd name="connsiteY40" fmla="*/ 207389 h 3214539"/>
                <a:gd name="connsiteX41" fmla="*/ 4421171 w 5599522"/>
                <a:gd name="connsiteY41" fmla="*/ 273377 h 3214539"/>
                <a:gd name="connsiteX42" fmla="*/ 4506013 w 5599522"/>
                <a:gd name="connsiteY42" fmla="*/ 358218 h 3214539"/>
                <a:gd name="connsiteX43" fmla="*/ 5147036 w 5599522"/>
                <a:gd name="connsiteY43" fmla="*/ 0 h 3214539"/>
                <a:gd name="connsiteX44" fmla="*/ 5599522 w 5599522"/>
                <a:gd name="connsiteY44" fmla="*/ 348790 h 3214539"/>
                <a:gd name="connsiteX45" fmla="*/ 1385741 w 5599522"/>
                <a:gd name="connsiteY45" fmla="*/ 3214539 h 3214539"/>
                <a:gd name="connsiteX46" fmla="*/ 0 w 5599522"/>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689416 w 5874158"/>
                <a:gd name="connsiteY4" fmla="*/ 2432115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934512 w 5874158"/>
                <a:gd name="connsiteY5" fmla="*/ 2441541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642282 w 5874158"/>
                <a:gd name="connsiteY2" fmla="*/ 2780906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915659 w 5874158"/>
                <a:gd name="connsiteY1" fmla="*/ 2790333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74636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74636 w 5874158"/>
                <a:gd name="connsiteY46" fmla="*/ 2846894 h 3214539"/>
                <a:gd name="connsiteX0" fmla="*/ 240190 w 5874158"/>
                <a:gd name="connsiteY0" fmla="*/ 2846894 h 3214539"/>
                <a:gd name="connsiteX1" fmla="*/ 455328 w 5874158"/>
                <a:gd name="connsiteY1" fmla="*/ 2593048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1009927 w 5874158"/>
                <a:gd name="connsiteY6" fmla="*/ 2658358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1170183 w 5874158"/>
                <a:gd name="connsiteY7" fmla="*/ 262065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731772 w 5874158"/>
                <a:gd name="connsiteY7" fmla="*/ 2310631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524543 w 5874158"/>
                <a:gd name="connsiteY6" fmla="*/ 2166712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483575 w 5874158"/>
                <a:gd name="connsiteY5" fmla="*/ 2037577 h 3214539"/>
                <a:gd name="connsiteX6" fmla="*/ 634146 w 5874158"/>
                <a:gd name="connsiteY6" fmla="*/ 2069635 h 3214539"/>
                <a:gd name="connsiteX7" fmla="*/ 838243 w 5874158"/>
                <a:gd name="connsiteY7" fmla="*/ 2210423 h 3214539"/>
                <a:gd name="connsiteX8" fmla="*/ 1688657 w 5874158"/>
                <a:gd name="connsiteY8" fmla="*/ 2055043 h 3214539"/>
                <a:gd name="connsiteX9" fmla="*/ 1537828 w 5874158"/>
                <a:gd name="connsiteY9" fmla="*/ 1875933 h 3214539"/>
                <a:gd name="connsiteX10" fmla="*/ 1104195 w 5874158"/>
                <a:gd name="connsiteY10" fmla="*/ 1857080 h 3214539"/>
                <a:gd name="connsiteX11" fmla="*/ 1273877 w 5874158"/>
                <a:gd name="connsiteY11" fmla="*/ 1593129 h 3214539"/>
                <a:gd name="connsiteX12" fmla="*/ 1650950 w 5874158"/>
                <a:gd name="connsiteY12" fmla="*/ 1442300 h 3214539"/>
                <a:gd name="connsiteX13" fmla="*/ 1801778 w 5874158"/>
                <a:gd name="connsiteY13" fmla="*/ 1545995 h 3214539"/>
                <a:gd name="connsiteX14" fmla="*/ 1698084 w 5874158"/>
                <a:gd name="connsiteY14" fmla="*/ 1734531 h 3214539"/>
                <a:gd name="connsiteX15" fmla="*/ 1990315 w 5874158"/>
                <a:gd name="connsiteY15" fmla="*/ 1800519 h 3214539"/>
                <a:gd name="connsiteX16" fmla="*/ 2603057 w 5874158"/>
                <a:gd name="connsiteY16" fmla="*/ 1366886 h 3214539"/>
                <a:gd name="connsiteX17" fmla="*/ 2621910 w 5874158"/>
                <a:gd name="connsiteY17" fmla="*/ 1112362 h 3214539"/>
                <a:gd name="connsiteX18" fmla="*/ 2433374 w 5874158"/>
                <a:gd name="connsiteY18" fmla="*/ 999240 h 3214539"/>
                <a:gd name="connsiteX19" fmla="*/ 2216558 w 5874158"/>
                <a:gd name="connsiteY19" fmla="*/ 1008667 h 3214539"/>
                <a:gd name="connsiteX20" fmla="*/ 2244838 w 5874158"/>
                <a:gd name="connsiteY20" fmla="*/ 810704 h 3214539"/>
                <a:gd name="connsiteX21" fmla="*/ 2461655 w 5874158"/>
                <a:gd name="connsiteY21" fmla="*/ 707010 h 3214539"/>
                <a:gd name="connsiteX22" fmla="*/ 2744459 w 5874158"/>
                <a:gd name="connsiteY22" fmla="*/ 763570 h 3214539"/>
                <a:gd name="connsiteX23" fmla="*/ 2716178 w 5874158"/>
                <a:gd name="connsiteY23" fmla="*/ 895546 h 3214539"/>
                <a:gd name="connsiteX24" fmla="*/ 2819873 w 5874158"/>
                <a:gd name="connsiteY24" fmla="*/ 1055801 h 3214539"/>
                <a:gd name="connsiteX25" fmla="*/ 3121531 w 5874158"/>
                <a:gd name="connsiteY25" fmla="*/ 1046374 h 3214539"/>
                <a:gd name="connsiteX26" fmla="*/ 3649432 w 5874158"/>
                <a:gd name="connsiteY26" fmla="*/ 782424 h 3214539"/>
                <a:gd name="connsiteX27" fmla="*/ 3687139 w 5874158"/>
                <a:gd name="connsiteY27" fmla="*/ 622168 h 3214539"/>
                <a:gd name="connsiteX28" fmla="*/ 3545737 w 5874158"/>
                <a:gd name="connsiteY28" fmla="*/ 575034 h 3214539"/>
                <a:gd name="connsiteX29" fmla="*/ 3508030 w 5874158"/>
                <a:gd name="connsiteY29" fmla="*/ 471339 h 3214539"/>
                <a:gd name="connsiteX30" fmla="*/ 3705993 w 5874158"/>
                <a:gd name="connsiteY30" fmla="*/ 405352 h 3214539"/>
                <a:gd name="connsiteX31" fmla="*/ 3800261 w 5874158"/>
                <a:gd name="connsiteY31" fmla="*/ 499620 h 3214539"/>
                <a:gd name="connsiteX32" fmla="*/ 3847395 w 5874158"/>
                <a:gd name="connsiteY32" fmla="*/ 622168 h 3214539"/>
                <a:gd name="connsiteX33" fmla="*/ 4026504 w 5874158"/>
                <a:gd name="connsiteY33" fmla="*/ 612741 h 3214539"/>
                <a:gd name="connsiteX34" fmla="*/ 4573259 w 5874158"/>
                <a:gd name="connsiteY34" fmla="*/ 414779 h 3214539"/>
                <a:gd name="connsiteX35" fmla="*/ 4544978 w 5874158"/>
                <a:gd name="connsiteY35" fmla="*/ 292230 h 3214539"/>
                <a:gd name="connsiteX36" fmla="*/ 4413003 w 5874158"/>
                <a:gd name="connsiteY36" fmla="*/ 292230 h 3214539"/>
                <a:gd name="connsiteX37" fmla="*/ 4403576 w 5874158"/>
                <a:gd name="connsiteY37" fmla="*/ 216816 h 3214539"/>
                <a:gd name="connsiteX38" fmla="*/ 4516698 w 5874158"/>
                <a:gd name="connsiteY38" fmla="*/ 122548 h 3214539"/>
                <a:gd name="connsiteX39" fmla="*/ 4686380 w 5874158"/>
                <a:gd name="connsiteY39" fmla="*/ 122548 h 3214539"/>
                <a:gd name="connsiteX40" fmla="*/ 4742941 w 5874158"/>
                <a:gd name="connsiteY40" fmla="*/ 207389 h 3214539"/>
                <a:gd name="connsiteX41" fmla="*/ 4695807 w 5874158"/>
                <a:gd name="connsiteY41" fmla="*/ 273377 h 3214539"/>
                <a:gd name="connsiteX42" fmla="*/ 4780649 w 5874158"/>
                <a:gd name="connsiteY42" fmla="*/ 358218 h 3214539"/>
                <a:gd name="connsiteX43" fmla="*/ 5421672 w 5874158"/>
                <a:gd name="connsiteY43" fmla="*/ 0 h 3214539"/>
                <a:gd name="connsiteX44" fmla="*/ 5874158 w 5874158"/>
                <a:gd name="connsiteY44" fmla="*/ 348790 h 3214539"/>
                <a:gd name="connsiteX45" fmla="*/ 1660377 w 5874158"/>
                <a:gd name="connsiteY45" fmla="*/ 3214539 h 3214539"/>
                <a:gd name="connsiteX46" fmla="*/ 240190 w 5874158"/>
                <a:gd name="connsiteY46"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634146 w 5874158"/>
                <a:gd name="connsiteY5" fmla="*/ 2069635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461591 w 5874158"/>
                <a:gd name="connsiteY1" fmla="*/ 2602442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97816 w 5874158"/>
                <a:gd name="connsiteY2" fmla="*/ 2351889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40190 w 5874158"/>
                <a:gd name="connsiteY0" fmla="*/ 2846894 h 3214539"/>
                <a:gd name="connsiteX1" fmla="*/ 370777 w 5874158"/>
                <a:gd name="connsiteY1" fmla="*/ 2699519 h 3214539"/>
                <a:gd name="connsiteX2" fmla="*/ 279027 w 5874158"/>
                <a:gd name="connsiteY2" fmla="*/ 2433308 h 3214539"/>
                <a:gd name="connsiteX3" fmla="*/ 0 w 5874158"/>
                <a:gd name="connsiteY3" fmla="*/ 2301269 h 3214539"/>
                <a:gd name="connsiteX4" fmla="*/ 157059 w 5874158"/>
                <a:gd name="connsiteY4" fmla="*/ 2097044 h 3214539"/>
                <a:gd name="connsiteX5" fmla="*/ 590305 w 5874158"/>
                <a:gd name="connsiteY5" fmla="*/ 2088424 h 3214539"/>
                <a:gd name="connsiteX6" fmla="*/ 838243 w 5874158"/>
                <a:gd name="connsiteY6" fmla="*/ 2210423 h 3214539"/>
                <a:gd name="connsiteX7" fmla="*/ 1688657 w 5874158"/>
                <a:gd name="connsiteY7" fmla="*/ 2055043 h 3214539"/>
                <a:gd name="connsiteX8" fmla="*/ 1537828 w 5874158"/>
                <a:gd name="connsiteY8" fmla="*/ 1875933 h 3214539"/>
                <a:gd name="connsiteX9" fmla="*/ 1104195 w 5874158"/>
                <a:gd name="connsiteY9" fmla="*/ 1857080 h 3214539"/>
                <a:gd name="connsiteX10" fmla="*/ 1273877 w 5874158"/>
                <a:gd name="connsiteY10" fmla="*/ 1593129 h 3214539"/>
                <a:gd name="connsiteX11" fmla="*/ 1650950 w 5874158"/>
                <a:gd name="connsiteY11" fmla="*/ 1442300 h 3214539"/>
                <a:gd name="connsiteX12" fmla="*/ 1801778 w 5874158"/>
                <a:gd name="connsiteY12" fmla="*/ 1545995 h 3214539"/>
                <a:gd name="connsiteX13" fmla="*/ 1698084 w 5874158"/>
                <a:gd name="connsiteY13" fmla="*/ 1734531 h 3214539"/>
                <a:gd name="connsiteX14" fmla="*/ 1990315 w 5874158"/>
                <a:gd name="connsiteY14" fmla="*/ 1800519 h 3214539"/>
                <a:gd name="connsiteX15" fmla="*/ 2603057 w 5874158"/>
                <a:gd name="connsiteY15" fmla="*/ 1366886 h 3214539"/>
                <a:gd name="connsiteX16" fmla="*/ 2621910 w 5874158"/>
                <a:gd name="connsiteY16" fmla="*/ 1112362 h 3214539"/>
                <a:gd name="connsiteX17" fmla="*/ 2433374 w 5874158"/>
                <a:gd name="connsiteY17" fmla="*/ 999240 h 3214539"/>
                <a:gd name="connsiteX18" fmla="*/ 2216558 w 5874158"/>
                <a:gd name="connsiteY18" fmla="*/ 1008667 h 3214539"/>
                <a:gd name="connsiteX19" fmla="*/ 2244838 w 5874158"/>
                <a:gd name="connsiteY19" fmla="*/ 810704 h 3214539"/>
                <a:gd name="connsiteX20" fmla="*/ 2461655 w 5874158"/>
                <a:gd name="connsiteY20" fmla="*/ 707010 h 3214539"/>
                <a:gd name="connsiteX21" fmla="*/ 2744459 w 5874158"/>
                <a:gd name="connsiteY21" fmla="*/ 763570 h 3214539"/>
                <a:gd name="connsiteX22" fmla="*/ 2716178 w 5874158"/>
                <a:gd name="connsiteY22" fmla="*/ 895546 h 3214539"/>
                <a:gd name="connsiteX23" fmla="*/ 2819873 w 5874158"/>
                <a:gd name="connsiteY23" fmla="*/ 1055801 h 3214539"/>
                <a:gd name="connsiteX24" fmla="*/ 3121531 w 5874158"/>
                <a:gd name="connsiteY24" fmla="*/ 1046374 h 3214539"/>
                <a:gd name="connsiteX25" fmla="*/ 3649432 w 5874158"/>
                <a:gd name="connsiteY25" fmla="*/ 782424 h 3214539"/>
                <a:gd name="connsiteX26" fmla="*/ 3687139 w 5874158"/>
                <a:gd name="connsiteY26" fmla="*/ 622168 h 3214539"/>
                <a:gd name="connsiteX27" fmla="*/ 3545737 w 5874158"/>
                <a:gd name="connsiteY27" fmla="*/ 575034 h 3214539"/>
                <a:gd name="connsiteX28" fmla="*/ 3508030 w 5874158"/>
                <a:gd name="connsiteY28" fmla="*/ 471339 h 3214539"/>
                <a:gd name="connsiteX29" fmla="*/ 3705993 w 5874158"/>
                <a:gd name="connsiteY29" fmla="*/ 405352 h 3214539"/>
                <a:gd name="connsiteX30" fmla="*/ 3800261 w 5874158"/>
                <a:gd name="connsiteY30" fmla="*/ 499620 h 3214539"/>
                <a:gd name="connsiteX31" fmla="*/ 3847395 w 5874158"/>
                <a:gd name="connsiteY31" fmla="*/ 622168 h 3214539"/>
                <a:gd name="connsiteX32" fmla="*/ 4026504 w 5874158"/>
                <a:gd name="connsiteY32" fmla="*/ 612741 h 3214539"/>
                <a:gd name="connsiteX33" fmla="*/ 4573259 w 5874158"/>
                <a:gd name="connsiteY33" fmla="*/ 414779 h 3214539"/>
                <a:gd name="connsiteX34" fmla="*/ 4544978 w 5874158"/>
                <a:gd name="connsiteY34" fmla="*/ 292230 h 3214539"/>
                <a:gd name="connsiteX35" fmla="*/ 4413003 w 5874158"/>
                <a:gd name="connsiteY35" fmla="*/ 292230 h 3214539"/>
                <a:gd name="connsiteX36" fmla="*/ 4403576 w 5874158"/>
                <a:gd name="connsiteY36" fmla="*/ 216816 h 3214539"/>
                <a:gd name="connsiteX37" fmla="*/ 4516698 w 5874158"/>
                <a:gd name="connsiteY37" fmla="*/ 122548 h 3214539"/>
                <a:gd name="connsiteX38" fmla="*/ 4686380 w 5874158"/>
                <a:gd name="connsiteY38" fmla="*/ 122548 h 3214539"/>
                <a:gd name="connsiteX39" fmla="*/ 4742941 w 5874158"/>
                <a:gd name="connsiteY39" fmla="*/ 207389 h 3214539"/>
                <a:gd name="connsiteX40" fmla="*/ 4695807 w 5874158"/>
                <a:gd name="connsiteY40" fmla="*/ 273377 h 3214539"/>
                <a:gd name="connsiteX41" fmla="*/ 4780649 w 5874158"/>
                <a:gd name="connsiteY41" fmla="*/ 358218 h 3214539"/>
                <a:gd name="connsiteX42" fmla="*/ 5421672 w 5874158"/>
                <a:gd name="connsiteY42" fmla="*/ 0 h 3214539"/>
                <a:gd name="connsiteX43" fmla="*/ 5874158 w 5874158"/>
                <a:gd name="connsiteY43" fmla="*/ 348790 h 3214539"/>
                <a:gd name="connsiteX44" fmla="*/ 1660377 w 5874158"/>
                <a:gd name="connsiteY44" fmla="*/ 3214539 h 3214539"/>
                <a:gd name="connsiteX45" fmla="*/ 240190 w 5874158"/>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682394 w 5867895"/>
                <a:gd name="connsiteY7" fmla="*/ 205504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1097932 w 5867895"/>
                <a:gd name="connsiteY9" fmla="*/ 1857080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1267614 w 5867895"/>
                <a:gd name="connsiteY10" fmla="*/ 1593129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644687 w 5867895"/>
                <a:gd name="connsiteY11" fmla="*/ 1442300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531565 w 5867895"/>
                <a:gd name="connsiteY8" fmla="*/ 1875933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43775 w 5867895"/>
                <a:gd name="connsiteY7" fmla="*/ 1929783 h 3214539"/>
                <a:gd name="connsiteX8" fmla="*/ 1177705 w 5867895"/>
                <a:gd name="connsiteY8" fmla="*/ 1637939 h 3214539"/>
                <a:gd name="connsiteX9" fmla="*/ 834885 w 5867895"/>
                <a:gd name="connsiteY9" fmla="*/ 1500088 h 3214539"/>
                <a:gd name="connsiteX10" fmla="*/ 945069 w 5867895"/>
                <a:gd name="connsiteY10" fmla="*/ 1270584 h 3214539"/>
                <a:gd name="connsiteX11" fmla="*/ 1309615 w 5867895"/>
                <a:gd name="connsiteY11" fmla="*/ 1226226 h 3214539"/>
                <a:gd name="connsiteX12" fmla="*/ 1795515 w 5867895"/>
                <a:gd name="connsiteY12" fmla="*/ 1545995 h 3214539"/>
                <a:gd name="connsiteX13" fmla="*/ 1691821 w 5867895"/>
                <a:gd name="connsiteY13" fmla="*/ 1734531 h 3214539"/>
                <a:gd name="connsiteX14" fmla="*/ 1984052 w 5867895"/>
                <a:gd name="connsiteY14" fmla="*/ 1800519 h 3214539"/>
                <a:gd name="connsiteX15" fmla="*/ 2596794 w 5867895"/>
                <a:gd name="connsiteY15" fmla="*/ 1366886 h 3214539"/>
                <a:gd name="connsiteX16" fmla="*/ 2615647 w 5867895"/>
                <a:gd name="connsiteY16" fmla="*/ 1112362 h 3214539"/>
                <a:gd name="connsiteX17" fmla="*/ 2427111 w 5867895"/>
                <a:gd name="connsiteY17" fmla="*/ 999240 h 3214539"/>
                <a:gd name="connsiteX18" fmla="*/ 2210295 w 5867895"/>
                <a:gd name="connsiteY18" fmla="*/ 1008667 h 3214539"/>
                <a:gd name="connsiteX19" fmla="*/ 2238575 w 5867895"/>
                <a:gd name="connsiteY19" fmla="*/ 810704 h 3214539"/>
                <a:gd name="connsiteX20" fmla="*/ 2455392 w 5867895"/>
                <a:gd name="connsiteY20" fmla="*/ 707010 h 3214539"/>
                <a:gd name="connsiteX21" fmla="*/ 2738196 w 5867895"/>
                <a:gd name="connsiteY21" fmla="*/ 763570 h 3214539"/>
                <a:gd name="connsiteX22" fmla="*/ 2709915 w 5867895"/>
                <a:gd name="connsiteY22" fmla="*/ 895546 h 3214539"/>
                <a:gd name="connsiteX23" fmla="*/ 2813610 w 5867895"/>
                <a:gd name="connsiteY23" fmla="*/ 1055801 h 3214539"/>
                <a:gd name="connsiteX24" fmla="*/ 3115268 w 5867895"/>
                <a:gd name="connsiteY24" fmla="*/ 1046374 h 3214539"/>
                <a:gd name="connsiteX25" fmla="*/ 3643169 w 5867895"/>
                <a:gd name="connsiteY25" fmla="*/ 782424 h 3214539"/>
                <a:gd name="connsiteX26" fmla="*/ 3680876 w 5867895"/>
                <a:gd name="connsiteY26" fmla="*/ 622168 h 3214539"/>
                <a:gd name="connsiteX27" fmla="*/ 3539474 w 5867895"/>
                <a:gd name="connsiteY27" fmla="*/ 575034 h 3214539"/>
                <a:gd name="connsiteX28" fmla="*/ 3501767 w 5867895"/>
                <a:gd name="connsiteY28" fmla="*/ 471339 h 3214539"/>
                <a:gd name="connsiteX29" fmla="*/ 3699730 w 5867895"/>
                <a:gd name="connsiteY29" fmla="*/ 405352 h 3214539"/>
                <a:gd name="connsiteX30" fmla="*/ 3793998 w 5867895"/>
                <a:gd name="connsiteY30" fmla="*/ 499620 h 3214539"/>
                <a:gd name="connsiteX31" fmla="*/ 3841132 w 5867895"/>
                <a:gd name="connsiteY31" fmla="*/ 622168 h 3214539"/>
                <a:gd name="connsiteX32" fmla="*/ 4020241 w 5867895"/>
                <a:gd name="connsiteY32" fmla="*/ 612741 h 3214539"/>
                <a:gd name="connsiteX33" fmla="*/ 4566996 w 5867895"/>
                <a:gd name="connsiteY33" fmla="*/ 414779 h 3214539"/>
                <a:gd name="connsiteX34" fmla="*/ 4538715 w 5867895"/>
                <a:gd name="connsiteY34" fmla="*/ 292230 h 3214539"/>
                <a:gd name="connsiteX35" fmla="*/ 4406740 w 5867895"/>
                <a:gd name="connsiteY35" fmla="*/ 292230 h 3214539"/>
                <a:gd name="connsiteX36" fmla="*/ 4397313 w 5867895"/>
                <a:gd name="connsiteY36" fmla="*/ 216816 h 3214539"/>
                <a:gd name="connsiteX37" fmla="*/ 4510435 w 5867895"/>
                <a:gd name="connsiteY37" fmla="*/ 122548 h 3214539"/>
                <a:gd name="connsiteX38" fmla="*/ 4680117 w 5867895"/>
                <a:gd name="connsiteY38" fmla="*/ 122548 h 3214539"/>
                <a:gd name="connsiteX39" fmla="*/ 4736678 w 5867895"/>
                <a:gd name="connsiteY39" fmla="*/ 207389 h 3214539"/>
                <a:gd name="connsiteX40" fmla="*/ 4689544 w 5867895"/>
                <a:gd name="connsiteY40" fmla="*/ 273377 h 3214539"/>
                <a:gd name="connsiteX41" fmla="*/ 4774386 w 5867895"/>
                <a:gd name="connsiteY41" fmla="*/ 358218 h 3214539"/>
                <a:gd name="connsiteX42" fmla="*/ 5415409 w 5867895"/>
                <a:gd name="connsiteY42" fmla="*/ 0 h 3214539"/>
                <a:gd name="connsiteX43" fmla="*/ 5867895 w 5867895"/>
                <a:gd name="connsiteY43" fmla="*/ 348790 h 3214539"/>
                <a:gd name="connsiteX44" fmla="*/ 1654114 w 5867895"/>
                <a:gd name="connsiteY44" fmla="*/ 3214539 h 3214539"/>
                <a:gd name="connsiteX45" fmla="*/ 233927 w 5867895"/>
                <a:gd name="connsiteY4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177705 w 5867895"/>
                <a:gd name="connsiteY7" fmla="*/ 1637939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834885 w 5867895"/>
                <a:gd name="connsiteY8" fmla="*/ 1500088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45069 w 5867895"/>
                <a:gd name="connsiteY9" fmla="*/ 1270584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807282 w 5867895"/>
                <a:gd name="connsiteY9" fmla="*/ 1217348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09615 w 5867895"/>
                <a:gd name="connsiteY10" fmla="*/ 1226226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795515 w 5867895"/>
                <a:gd name="connsiteY11" fmla="*/ 1545995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691821 w 5867895"/>
                <a:gd name="connsiteY12" fmla="*/ 173453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1785767 w 5867895"/>
                <a:gd name="connsiteY12" fmla="*/ 1424511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10131 w 5867895"/>
                <a:gd name="connsiteY11" fmla="*/ 1389419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979515 w 5867895"/>
                <a:gd name="connsiteY9" fmla="*/ 1239269 h 3214539"/>
                <a:gd name="connsiteX10" fmla="*/ 1387903 w 5867895"/>
                <a:gd name="connsiteY10" fmla="*/ 1144807 h 3214539"/>
                <a:gd name="connsiteX11" fmla="*/ 1391550 w 5867895"/>
                <a:gd name="connsiteY11" fmla="*/ 1354973 h 3214539"/>
                <a:gd name="connsiteX12" fmla="*/ 2098917 w 5867895"/>
                <a:gd name="connsiteY12" fmla="*/ 1214700 h 3214539"/>
                <a:gd name="connsiteX13" fmla="*/ 1984052 w 5867895"/>
                <a:gd name="connsiteY13" fmla="*/ 1800519 h 3214539"/>
                <a:gd name="connsiteX14" fmla="*/ 2596794 w 5867895"/>
                <a:gd name="connsiteY14" fmla="*/ 1366886 h 3214539"/>
                <a:gd name="connsiteX15" fmla="*/ 2615647 w 5867895"/>
                <a:gd name="connsiteY15" fmla="*/ 1112362 h 3214539"/>
                <a:gd name="connsiteX16" fmla="*/ 2427111 w 5867895"/>
                <a:gd name="connsiteY16" fmla="*/ 999240 h 3214539"/>
                <a:gd name="connsiteX17" fmla="*/ 2210295 w 5867895"/>
                <a:gd name="connsiteY17" fmla="*/ 1008667 h 3214539"/>
                <a:gd name="connsiteX18" fmla="*/ 2238575 w 5867895"/>
                <a:gd name="connsiteY18" fmla="*/ 810704 h 3214539"/>
                <a:gd name="connsiteX19" fmla="*/ 2455392 w 5867895"/>
                <a:gd name="connsiteY19" fmla="*/ 707010 h 3214539"/>
                <a:gd name="connsiteX20" fmla="*/ 2738196 w 5867895"/>
                <a:gd name="connsiteY20" fmla="*/ 763570 h 3214539"/>
                <a:gd name="connsiteX21" fmla="*/ 2709915 w 5867895"/>
                <a:gd name="connsiteY21" fmla="*/ 895546 h 3214539"/>
                <a:gd name="connsiteX22" fmla="*/ 2813610 w 5867895"/>
                <a:gd name="connsiteY22" fmla="*/ 1055801 h 3214539"/>
                <a:gd name="connsiteX23" fmla="*/ 3115268 w 5867895"/>
                <a:gd name="connsiteY23" fmla="*/ 1046374 h 3214539"/>
                <a:gd name="connsiteX24" fmla="*/ 3643169 w 5867895"/>
                <a:gd name="connsiteY24" fmla="*/ 782424 h 3214539"/>
                <a:gd name="connsiteX25" fmla="*/ 3680876 w 5867895"/>
                <a:gd name="connsiteY25" fmla="*/ 622168 h 3214539"/>
                <a:gd name="connsiteX26" fmla="*/ 3539474 w 5867895"/>
                <a:gd name="connsiteY26" fmla="*/ 575034 h 3214539"/>
                <a:gd name="connsiteX27" fmla="*/ 3501767 w 5867895"/>
                <a:gd name="connsiteY27" fmla="*/ 471339 h 3214539"/>
                <a:gd name="connsiteX28" fmla="*/ 3699730 w 5867895"/>
                <a:gd name="connsiteY28" fmla="*/ 405352 h 3214539"/>
                <a:gd name="connsiteX29" fmla="*/ 3793998 w 5867895"/>
                <a:gd name="connsiteY29" fmla="*/ 499620 h 3214539"/>
                <a:gd name="connsiteX30" fmla="*/ 3841132 w 5867895"/>
                <a:gd name="connsiteY30" fmla="*/ 622168 h 3214539"/>
                <a:gd name="connsiteX31" fmla="*/ 4020241 w 5867895"/>
                <a:gd name="connsiteY31" fmla="*/ 612741 h 3214539"/>
                <a:gd name="connsiteX32" fmla="*/ 4566996 w 5867895"/>
                <a:gd name="connsiteY32" fmla="*/ 414779 h 3214539"/>
                <a:gd name="connsiteX33" fmla="*/ 4538715 w 5867895"/>
                <a:gd name="connsiteY33" fmla="*/ 292230 h 3214539"/>
                <a:gd name="connsiteX34" fmla="*/ 4406740 w 5867895"/>
                <a:gd name="connsiteY34" fmla="*/ 292230 h 3214539"/>
                <a:gd name="connsiteX35" fmla="*/ 4397313 w 5867895"/>
                <a:gd name="connsiteY35" fmla="*/ 216816 h 3214539"/>
                <a:gd name="connsiteX36" fmla="*/ 4510435 w 5867895"/>
                <a:gd name="connsiteY36" fmla="*/ 122548 h 3214539"/>
                <a:gd name="connsiteX37" fmla="*/ 4680117 w 5867895"/>
                <a:gd name="connsiteY37" fmla="*/ 122548 h 3214539"/>
                <a:gd name="connsiteX38" fmla="*/ 4736678 w 5867895"/>
                <a:gd name="connsiteY38" fmla="*/ 207389 h 3214539"/>
                <a:gd name="connsiteX39" fmla="*/ 4689544 w 5867895"/>
                <a:gd name="connsiteY39" fmla="*/ 273377 h 3214539"/>
                <a:gd name="connsiteX40" fmla="*/ 4774386 w 5867895"/>
                <a:gd name="connsiteY40" fmla="*/ 358218 h 3214539"/>
                <a:gd name="connsiteX41" fmla="*/ 5415409 w 5867895"/>
                <a:gd name="connsiteY41" fmla="*/ 0 h 3214539"/>
                <a:gd name="connsiteX42" fmla="*/ 5867895 w 5867895"/>
                <a:gd name="connsiteY42" fmla="*/ 348790 h 3214539"/>
                <a:gd name="connsiteX43" fmla="*/ 1654114 w 5867895"/>
                <a:gd name="connsiteY43" fmla="*/ 3214539 h 3214539"/>
                <a:gd name="connsiteX44" fmla="*/ 233927 w 5867895"/>
                <a:gd name="connsiteY44"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38575 w 5867895"/>
                <a:gd name="connsiteY17" fmla="*/ 810704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455392 w 5867895"/>
                <a:gd name="connsiteY18" fmla="*/ 70701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738196 w 5867895"/>
                <a:gd name="connsiteY19" fmla="*/ 763570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709915 w 5867895"/>
                <a:gd name="connsiteY20" fmla="*/ 895546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813610 w 5867895"/>
                <a:gd name="connsiteY21" fmla="*/ 1055801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15268 w 5867895"/>
                <a:gd name="connsiteY22" fmla="*/ 1046374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615647 w 5867895"/>
                <a:gd name="connsiteY14" fmla="*/ 1112362 h 3214539"/>
                <a:gd name="connsiteX15" fmla="*/ 2427111 w 5867895"/>
                <a:gd name="connsiteY15" fmla="*/ 999240 h 3214539"/>
                <a:gd name="connsiteX16" fmla="*/ 2210295 w 5867895"/>
                <a:gd name="connsiteY16" fmla="*/ 1008667 h 3214539"/>
                <a:gd name="connsiteX17" fmla="*/ 2263627 w 5867895"/>
                <a:gd name="connsiteY17" fmla="*/ 650997 h 3214539"/>
                <a:gd name="connsiteX18" fmla="*/ 2392762 w 5867895"/>
                <a:gd name="connsiteY18" fmla="*/ 559830 h 3214539"/>
                <a:gd name="connsiteX19" fmla="*/ 2540911 w 5867895"/>
                <a:gd name="connsiteY19" fmla="*/ 556891 h 3214539"/>
                <a:gd name="connsiteX20" fmla="*/ 2496973 w 5867895"/>
                <a:gd name="connsiteY20" fmla="*/ 695129 h 3214539"/>
                <a:gd name="connsiteX21" fmla="*/ 2657034 w 5867895"/>
                <a:gd name="connsiteY21" fmla="*/ 767702 h 3214539"/>
                <a:gd name="connsiteX22" fmla="*/ 3143452 w 5867895"/>
                <a:gd name="connsiteY22" fmla="*/ 664330 h 3214539"/>
                <a:gd name="connsiteX23" fmla="*/ 3643169 w 5867895"/>
                <a:gd name="connsiteY23" fmla="*/ 782424 h 3214539"/>
                <a:gd name="connsiteX24" fmla="*/ 3680876 w 5867895"/>
                <a:gd name="connsiteY24" fmla="*/ 622168 h 3214539"/>
                <a:gd name="connsiteX25" fmla="*/ 3539474 w 5867895"/>
                <a:gd name="connsiteY25" fmla="*/ 575034 h 3214539"/>
                <a:gd name="connsiteX26" fmla="*/ 3501767 w 5867895"/>
                <a:gd name="connsiteY26" fmla="*/ 471339 h 3214539"/>
                <a:gd name="connsiteX27" fmla="*/ 3699730 w 5867895"/>
                <a:gd name="connsiteY27" fmla="*/ 405352 h 3214539"/>
                <a:gd name="connsiteX28" fmla="*/ 3793998 w 5867895"/>
                <a:gd name="connsiteY28" fmla="*/ 499620 h 3214539"/>
                <a:gd name="connsiteX29" fmla="*/ 3841132 w 5867895"/>
                <a:gd name="connsiteY29" fmla="*/ 622168 h 3214539"/>
                <a:gd name="connsiteX30" fmla="*/ 4020241 w 5867895"/>
                <a:gd name="connsiteY30" fmla="*/ 612741 h 3214539"/>
                <a:gd name="connsiteX31" fmla="*/ 4566996 w 5867895"/>
                <a:gd name="connsiteY31" fmla="*/ 414779 h 3214539"/>
                <a:gd name="connsiteX32" fmla="*/ 4538715 w 5867895"/>
                <a:gd name="connsiteY32" fmla="*/ 292230 h 3214539"/>
                <a:gd name="connsiteX33" fmla="*/ 4406740 w 5867895"/>
                <a:gd name="connsiteY33" fmla="*/ 292230 h 3214539"/>
                <a:gd name="connsiteX34" fmla="*/ 4397313 w 5867895"/>
                <a:gd name="connsiteY34" fmla="*/ 216816 h 3214539"/>
                <a:gd name="connsiteX35" fmla="*/ 4510435 w 5867895"/>
                <a:gd name="connsiteY35" fmla="*/ 122548 h 3214539"/>
                <a:gd name="connsiteX36" fmla="*/ 4680117 w 5867895"/>
                <a:gd name="connsiteY36" fmla="*/ 122548 h 3214539"/>
                <a:gd name="connsiteX37" fmla="*/ 4736678 w 5867895"/>
                <a:gd name="connsiteY37" fmla="*/ 207389 h 3214539"/>
                <a:gd name="connsiteX38" fmla="*/ 4689544 w 5867895"/>
                <a:gd name="connsiteY38" fmla="*/ 273377 h 3214539"/>
                <a:gd name="connsiteX39" fmla="*/ 4774386 w 5867895"/>
                <a:gd name="connsiteY39" fmla="*/ 358218 h 3214539"/>
                <a:gd name="connsiteX40" fmla="*/ 5415409 w 5867895"/>
                <a:gd name="connsiteY40" fmla="*/ 0 h 3214539"/>
                <a:gd name="connsiteX41" fmla="*/ 5867895 w 5867895"/>
                <a:gd name="connsiteY41" fmla="*/ 348790 h 3214539"/>
                <a:gd name="connsiteX42" fmla="*/ 1654114 w 5867895"/>
                <a:gd name="connsiteY42" fmla="*/ 3214539 h 3214539"/>
                <a:gd name="connsiteX43" fmla="*/ 233927 w 5867895"/>
                <a:gd name="connsiteY43"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596794 w 5867895"/>
                <a:gd name="connsiteY13" fmla="*/ 1366886 h 3214539"/>
                <a:gd name="connsiteX14" fmla="*/ 2427111 w 5867895"/>
                <a:gd name="connsiteY14" fmla="*/ 999240 h 3214539"/>
                <a:gd name="connsiteX15" fmla="*/ 2210295 w 5867895"/>
                <a:gd name="connsiteY15" fmla="*/ 1008667 h 3214539"/>
                <a:gd name="connsiteX16" fmla="*/ 2263627 w 5867895"/>
                <a:gd name="connsiteY16" fmla="*/ 650997 h 3214539"/>
                <a:gd name="connsiteX17" fmla="*/ 2392762 w 5867895"/>
                <a:gd name="connsiteY17" fmla="*/ 559830 h 3214539"/>
                <a:gd name="connsiteX18" fmla="*/ 2540911 w 5867895"/>
                <a:gd name="connsiteY18" fmla="*/ 556891 h 3214539"/>
                <a:gd name="connsiteX19" fmla="*/ 2496973 w 5867895"/>
                <a:gd name="connsiteY19" fmla="*/ 695129 h 3214539"/>
                <a:gd name="connsiteX20" fmla="*/ 2657034 w 5867895"/>
                <a:gd name="connsiteY20" fmla="*/ 767702 h 3214539"/>
                <a:gd name="connsiteX21" fmla="*/ 3143452 w 5867895"/>
                <a:gd name="connsiteY21" fmla="*/ 664330 h 3214539"/>
                <a:gd name="connsiteX22" fmla="*/ 3643169 w 5867895"/>
                <a:gd name="connsiteY22" fmla="*/ 782424 h 3214539"/>
                <a:gd name="connsiteX23" fmla="*/ 3680876 w 5867895"/>
                <a:gd name="connsiteY23" fmla="*/ 622168 h 3214539"/>
                <a:gd name="connsiteX24" fmla="*/ 3539474 w 5867895"/>
                <a:gd name="connsiteY24" fmla="*/ 575034 h 3214539"/>
                <a:gd name="connsiteX25" fmla="*/ 3501767 w 5867895"/>
                <a:gd name="connsiteY25" fmla="*/ 471339 h 3214539"/>
                <a:gd name="connsiteX26" fmla="*/ 3699730 w 5867895"/>
                <a:gd name="connsiteY26" fmla="*/ 405352 h 3214539"/>
                <a:gd name="connsiteX27" fmla="*/ 3793998 w 5867895"/>
                <a:gd name="connsiteY27" fmla="*/ 499620 h 3214539"/>
                <a:gd name="connsiteX28" fmla="*/ 3841132 w 5867895"/>
                <a:gd name="connsiteY28" fmla="*/ 622168 h 3214539"/>
                <a:gd name="connsiteX29" fmla="*/ 4020241 w 5867895"/>
                <a:gd name="connsiteY29" fmla="*/ 612741 h 3214539"/>
                <a:gd name="connsiteX30" fmla="*/ 4566996 w 5867895"/>
                <a:gd name="connsiteY30" fmla="*/ 414779 h 3214539"/>
                <a:gd name="connsiteX31" fmla="*/ 4538715 w 5867895"/>
                <a:gd name="connsiteY31" fmla="*/ 292230 h 3214539"/>
                <a:gd name="connsiteX32" fmla="*/ 4406740 w 5867895"/>
                <a:gd name="connsiteY32" fmla="*/ 292230 h 3214539"/>
                <a:gd name="connsiteX33" fmla="*/ 4397313 w 5867895"/>
                <a:gd name="connsiteY33" fmla="*/ 216816 h 3214539"/>
                <a:gd name="connsiteX34" fmla="*/ 4510435 w 5867895"/>
                <a:gd name="connsiteY34" fmla="*/ 122548 h 3214539"/>
                <a:gd name="connsiteX35" fmla="*/ 4680117 w 5867895"/>
                <a:gd name="connsiteY35" fmla="*/ 122548 h 3214539"/>
                <a:gd name="connsiteX36" fmla="*/ 4736678 w 5867895"/>
                <a:gd name="connsiteY36" fmla="*/ 207389 h 3214539"/>
                <a:gd name="connsiteX37" fmla="*/ 4689544 w 5867895"/>
                <a:gd name="connsiteY37" fmla="*/ 273377 h 3214539"/>
                <a:gd name="connsiteX38" fmla="*/ 4774386 w 5867895"/>
                <a:gd name="connsiteY38" fmla="*/ 358218 h 3214539"/>
                <a:gd name="connsiteX39" fmla="*/ 5415409 w 5867895"/>
                <a:gd name="connsiteY39" fmla="*/ 0 h 3214539"/>
                <a:gd name="connsiteX40" fmla="*/ 5867895 w 5867895"/>
                <a:gd name="connsiteY40" fmla="*/ 348790 h 3214539"/>
                <a:gd name="connsiteX41" fmla="*/ 1654114 w 5867895"/>
                <a:gd name="connsiteY41" fmla="*/ 3214539 h 3214539"/>
                <a:gd name="connsiteX42" fmla="*/ 233927 w 5867895"/>
                <a:gd name="connsiteY42"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210295 w 5867895"/>
                <a:gd name="connsiteY14" fmla="*/ 1008667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427111 w 5867895"/>
                <a:gd name="connsiteY13" fmla="*/ 999240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1984052 w 5867895"/>
                <a:gd name="connsiteY12" fmla="*/ 1800519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507014 w 5867895"/>
                <a:gd name="connsiteY12" fmla="*/ 970670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286193 w 5867895"/>
                <a:gd name="connsiteY13" fmla="*/ 748719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3459 w 5867895"/>
                <a:gd name="connsiteY13" fmla="*/ 814481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085035 w 5867895"/>
                <a:gd name="connsiteY14" fmla="*/ 733094 h 3214539"/>
                <a:gd name="connsiteX15" fmla="*/ 2263627 w 5867895"/>
                <a:gd name="connsiteY15" fmla="*/ 650997 h 3214539"/>
                <a:gd name="connsiteX16" fmla="*/ 2392762 w 5867895"/>
                <a:gd name="connsiteY16" fmla="*/ 559830 h 3214539"/>
                <a:gd name="connsiteX17" fmla="*/ 2540911 w 5867895"/>
                <a:gd name="connsiteY17" fmla="*/ 556891 h 3214539"/>
                <a:gd name="connsiteX18" fmla="*/ 2496973 w 5867895"/>
                <a:gd name="connsiteY18" fmla="*/ 695129 h 3214539"/>
                <a:gd name="connsiteX19" fmla="*/ 2657034 w 5867895"/>
                <a:gd name="connsiteY19" fmla="*/ 767702 h 3214539"/>
                <a:gd name="connsiteX20" fmla="*/ 3143452 w 5867895"/>
                <a:gd name="connsiteY20" fmla="*/ 664330 h 3214539"/>
                <a:gd name="connsiteX21" fmla="*/ 3643169 w 5867895"/>
                <a:gd name="connsiteY21" fmla="*/ 782424 h 3214539"/>
                <a:gd name="connsiteX22" fmla="*/ 3680876 w 5867895"/>
                <a:gd name="connsiteY22" fmla="*/ 622168 h 3214539"/>
                <a:gd name="connsiteX23" fmla="*/ 3539474 w 5867895"/>
                <a:gd name="connsiteY23" fmla="*/ 575034 h 3214539"/>
                <a:gd name="connsiteX24" fmla="*/ 3501767 w 5867895"/>
                <a:gd name="connsiteY24" fmla="*/ 471339 h 3214539"/>
                <a:gd name="connsiteX25" fmla="*/ 3699730 w 5867895"/>
                <a:gd name="connsiteY25" fmla="*/ 405352 h 3214539"/>
                <a:gd name="connsiteX26" fmla="*/ 3793998 w 5867895"/>
                <a:gd name="connsiteY26" fmla="*/ 499620 h 3214539"/>
                <a:gd name="connsiteX27" fmla="*/ 3841132 w 5867895"/>
                <a:gd name="connsiteY27" fmla="*/ 622168 h 3214539"/>
                <a:gd name="connsiteX28" fmla="*/ 4020241 w 5867895"/>
                <a:gd name="connsiteY28" fmla="*/ 612741 h 3214539"/>
                <a:gd name="connsiteX29" fmla="*/ 4566996 w 5867895"/>
                <a:gd name="connsiteY29" fmla="*/ 414779 h 3214539"/>
                <a:gd name="connsiteX30" fmla="*/ 4538715 w 5867895"/>
                <a:gd name="connsiteY30" fmla="*/ 292230 h 3214539"/>
                <a:gd name="connsiteX31" fmla="*/ 4406740 w 5867895"/>
                <a:gd name="connsiteY31" fmla="*/ 292230 h 3214539"/>
                <a:gd name="connsiteX32" fmla="*/ 4397313 w 5867895"/>
                <a:gd name="connsiteY32" fmla="*/ 216816 h 3214539"/>
                <a:gd name="connsiteX33" fmla="*/ 4510435 w 5867895"/>
                <a:gd name="connsiteY33" fmla="*/ 122548 h 3214539"/>
                <a:gd name="connsiteX34" fmla="*/ 4680117 w 5867895"/>
                <a:gd name="connsiteY34" fmla="*/ 122548 h 3214539"/>
                <a:gd name="connsiteX35" fmla="*/ 4736678 w 5867895"/>
                <a:gd name="connsiteY35" fmla="*/ 207389 h 3214539"/>
                <a:gd name="connsiteX36" fmla="*/ 4689544 w 5867895"/>
                <a:gd name="connsiteY36" fmla="*/ 273377 h 3214539"/>
                <a:gd name="connsiteX37" fmla="*/ 4774386 w 5867895"/>
                <a:gd name="connsiteY37" fmla="*/ 358218 h 3214539"/>
                <a:gd name="connsiteX38" fmla="*/ 5415409 w 5867895"/>
                <a:gd name="connsiteY38" fmla="*/ 0 h 3214539"/>
                <a:gd name="connsiteX39" fmla="*/ 5867895 w 5867895"/>
                <a:gd name="connsiteY39" fmla="*/ 348790 h 3214539"/>
                <a:gd name="connsiteX40" fmla="*/ 1654114 w 5867895"/>
                <a:gd name="connsiteY40" fmla="*/ 3214539 h 3214539"/>
                <a:gd name="connsiteX41" fmla="*/ 233927 w 5867895"/>
                <a:gd name="connsiteY41"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43452 w 5867895"/>
                <a:gd name="connsiteY19" fmla="*/ 664330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0926 w 5867895"/>
                <a:gd name="connsiteY19" fmla="*/ 670593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2657034 w 5867895"/>
                <a:gd name="connsiteY18" fmla="*/ 767702 h 3214539"/>
                <a:gd name="connsiteX19" fmla="*/ 3137189 w 5867895"/>
                <a:gd name="connsiteY19" fmla="*/ 667462 h 3214539"/>
                <a:gd name="connsiteX20" fmla="*/ 3643169 w 5867895"/>
                <a:gd name="connsiteY20" fmla="*/ 782424 h 3214539"/>
                <a:gd name="connsiteX21" fmla="*/ 3680876 w 5867895"/>
                <a:gd name="connsiteY21" fmla="*/ 622168 h 3214539"/>
                <a:gd name="connsiteX22" fmla="*/ 3539474 w 5867895"/>
                <a:gd name="connsiteY22" fmla="*/ 575034 h 3214539"/>
                <a:gd name="connsiteX23" fmla="*/ 3501767 w 5867895"/>
                <a:gd name="connsiteY23" fmla="*/ 471339 h 3214539"/>
                <a:gd name="connsiteX24" fmla="*/ 3699730 w 5867895"/>
                <a:gd name="connsiteY24" fmla="*/ 405352 h 3214539"/>
                <a:gd name="connsiteX25" fmla="*/ 3793998 w 5867895"/>
                <a:gd name="connsiteY25" fmla="*/ 499620 h 3214539"/>
                <a:gd name="connsiteX26" fmla="*/ 3841132 w 5867895"/>
                <a:gd name="connsiteY26" fmla="*/ 622168 h 3214539"/>
                <a:gd name="connsiteX27" fmla="*/ 4020241 w 5867895"/>
                <a:gd name="connsiteY27" fmla="*/ 612741 h 3214539"/>
                <a:gd name="connsiteX28" fmla="*/ 4566996 w 5867895"/>
                <a:gd name="connsiteY28" fmla="*/ 414779 h 3214539"/>
                <a:gd name="connsiteX29" fmla="*/ 4538715 w 5867895"/>
                <a:gd name="connsiteY29" fmla="*/ 292230 h 3214539"/>
                <a:gd name="connsiteX30" fmla="*/ 4406740 w 5867895"/>
                <a:gd name="connsiteY30" fmla="*/ 292230 h 3214539"/>
                <a:gd name="connsiteX31" fmla="*/ 4397313 w 5867895"/>
                <a:gd name="connsiteY31" fmla="*/ 216816 h 3214539"/>
                <a:gd name="connsiteX32" fmla="*/ 4510435 w 5867895"/>
                <a:gd name="connsiteY32" fmla="*/ 122548 h 3214539"/>
                <a:gd name="connsiteX33" fmla="*/ 4680117 w 5867895"/>
                <a:gd name="connsiteY33" fmla="*/ 122548 h 3214539"/>
                <a:gd name="connsiteX34" fmla="*/ 4736678 w 5867895"/>
                <a:gd name="connsiteY34" fmla="*/ 207389 h 3214539"/>
                <a:gd name="connsiteX35" fmla="*/ 4689544 w 5867895"/>
                <a:gd name="connsiteY35" fmla="*/ 273377 h 3214539"/>
                <a:gd name="connsiteX36" fmla="*/ 4774386 w 5867895"/>
                <a:gd name="connsiteY36" fmla="*/ 358218 h 3214539"/>
                <a:gd name="connsiteX37" fmla="*/ 5415409 w 5867895"/>
                <a:gd name="connsiteY37" fmla="*/ 0 h 3214539"/>
                <a:gd name="connsiteX38" fmla="*/ 5867895 w 5867895"/>
                <a:gd name="connsiteY38" fmla="*/ 348790 h 3214539"/>
                <a:gd name="connsiteX39" fmla="*/ 1654114 w 5867895"/>
                <a:gd name="connsiteY39" fmla="*/ 3214539 h 3214539"/>
                <a:gd name="connsiteX40" fmla="*/ 233927 w 5867895"/>
                <a:gd name="connsiteY40"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496973 w 5867895"/>
                <a:gd name="connsiteY17" fmla="*/ 695129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392762 w 5867895"/>
                <a:gd name="connsiteY15" fmla="*/ 559830 h 3214539"/>
                <a:gd name="connsiteX16" fmla="*/ 2540911 w 5867895"/>
                <a:gd name="connsiteY16" fmla="*/ 556891 h 3214539"/>
                <a:gd name="connsiteX17" fmla="*/ 2606575 w 5867895"/>
                <a:gd name="connsiteY17" fmla="*/ 666946 h 3214539"/>
                <a:gd name="connsiteX18" fmla="*/ 3137189 w 5867895"/>
                <a:gd name="connsiteY18" fmla="*/ 667462 h 3214539"/>
                <a:gd name="connsiteX19" fmla="*/ 3643169 w 5867895"/>
                <a:gd name="connsiteY19" fmla="*/ 782424 h 3214539"/>
                <a:gd name="connsiteX20" fmla="*/ 3680876 w 5867895"/>
                <a:gd name="connsiteY20" fmla="*/ 622168 h 3214539"/>
                <a:gd name="connsiteX21" fmla="*/ 3539474 w 5867895"/>
                <a:gd name="connsiteY21" fmla="*/ 575034 h 3214539"/>
                <a:gd name="connsiteX22" fmla="*/ 3501767 w 5867895"/>
                <a:gd name="connsiteY22" fmla="*/ 471339 h 3214539"/>
                <a:gd name="connsiteX23" fmla="*/ 3699730 w 5867895"/>
                <a:gd name="connsiteY23" fmla="*/ 405352 h 3214539"/>
                <a:gd name="connsiteX24" fmla="*/ 3793998 w 5867895"/>
                <a:gd name="connsiteY24" fmla="*/ 499620 h 3214539"/>
                <a:gd name="connsiteX25" fmla="*/ 3841132 w 5867895"/>
                <a:gd name="connsiteY25" fmla="*/ 622168 h 3214539"/>
                <a:gd name="connsiteX26" fmla="*/ 4020241 w 5867895"/>
                <a:gd name="connsiteY26" fmla="*/ 612741 h 3214539"/>
                <a:gd name="connsiteX27" fmla="*/ 4566996 w 5867895"/>
                <a:gd name="connsiteY27" fmla="*/ 414779 h 3214539"/>
                <a:gd name="connsiteX28" fmla="*/ 4538715 w 5867895"/>
                <a:gd name="connsiteY28" fmla="*/ 292230 h 3214539"/>
                <a:gd name="connsiteX29" fmla="*/ 4406740 w 5867895"/>
                <a:gd name="connsiteY29" fmla="*/ 292230 h 3214539"/>
                <a:gd name="connsiteX30" fmla="*/ 4397313 w 5867895"/>
                <a:gd name="connsiteY30" fmla="*/ 216816 h 3214539"/>
                <a:gd name="connsiteX31" fmla="*/ 4510435 w 5867895"/>
                <a:gd name="connsiteY31" fmla="*/ 122548 h 3214539"/>
                <a:gd name="connsiteX32" fmla="*/ 4680117 w 5867895"/>
                <a:gd name="connsiteY32" fmla="*/ 122548 h 3214539"/>
                <a:gd name="connsiteX33" fmla="*/ 4736678 w 5867895"/>
                <a:gd name="connsiteY33" fmla="*/ 207389 h 3214539"/>
                <a:gd name="connsiteX34" fmla="*/ 4689544 w 5867895"/>
                <a:gd name="connsiteY34" fmla="*/ 273377 h 3214539"/>
                <a:gd name="connsiteX35" fmla="*/ 4774386 w 5867895"/>
                <a:gd name="connsiteY35" fmla="*/ 358218 h 3214539"/>
                <a:gd name="connsiteX36" fmla="*/ 5415409 w 5867895"/>
                <a:gd name="connsiteY36" fmla="*/ 0 h 3214539"/>
                <a:gd name="connsiteX37" fmla="*/ 5867895 w 5867895"/>
                <a:gd name="connsiteY37" fmla="*/ 348790 h 3214539"/>
                <a:gd name="connsiteX38" fmla="*/ 1654114 w 5867895"/>
                <a:gd name="connsiteY38" fmla="*/ 3214539 h 3214539"/>
                <a:gd name="connsiteX39" fmla="*/ 233927 w 5867895"/>
                <a:gd name="connsiteY39"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540911 w 5867895"/>
                <a:gd name="connsiteY15" fmla="*/ 556891 h 3214539"/>
                <a:gd name="connsiteX16" fmla="*/ 2606575 w 5867895"/>
                <a:gd name="connsiteY16" fmla="*/ 666946 h 3214539"/>
                <a:gd name="connsiteX17" fmla="*/ 3137189 w 5867895"/>
                <a:gd name="connsiteY17" fmla="*/ 667462 h 3214539"/>
                <a:gd name="connsiteX18" fmla="*/ 3643169 w 5867895"/>
                <a:gd name="connsiteY18" fmla="*/ 782424 h 3214539"/>
                <a:gd name="connsiteX19" fmla="*/ 3680876 w 5867895"/>
                <a:gd name="connsiteY19" fmla="*/ 622168 h 3214539"/>
                <a:gd name="connsiteX20" fmla="*/ 3539474 w 5867895"/>
                <a:gd name="connsiteY20" fmla="*/ 575034 h 3214539"/>
                <a:gd name="connsiteX21" fmla="*/ 3501767 w 5867895"/>
                <a:gd name="connsiteY21" fmla="*/ 471339 h 3214539"/>
                <a:gd name="connsiteX22" fmla="*/ 3699730 w 5867895"/>
                <a:gd name="connsiteY22" fmla="*/ 405352 h 3214539"/>
                <a:gd name="connsiteX23" fmla="*/ 3793998 w 5867895"/>
                <a:gd name="connsiteY23" fmla="*/ 499620 h 3214539"/>
                <a:gd name="connsiteX24" fmla="*/ 3841132 w 5867895"/>
                <a:gd name="connsiteY24" fmla="*/ 622168 h 3214539"/>
                <a:gd name="connsiteX25" fmla="*/ 4020241 w 5867895"/>
                <a:gd name="connsiteY25" fmla="*/ 612741 h 3214539"/>
                <a:gd name="connsiteX26" fmla="*/ 4566996 w 5867895"/>
                <a:gd name="connsiteY26" fmla="*/ 414779 h 3214539"/>
                <a:gd name="connsiteX27" fmla="*/ 4538715 w 5867895"/>
                <a:gd name="connsiteY27" fmla="*/ 292230 h 3214539"/>
                <a:gd name="connsiteX28" fmla="*/ 4406740 w 5867895"/>
                <a:gd name="connsiteY28" fmla="*/ 292230 h 3214539"/>
                <a:gd name="connsiteX29" fmla="*/ 4397313 w 5867895"/>
                <a:gd name="connsiteY29" fmla="*/ 216816 h 3214539"/>
                <a:gd name="connsiteX30" fmla="*/ 4510435 w 5867895"/>
                <a:gd name="connsiteY30" fmla="*/ 122548 h 3214539"/>
                <a:gd name="connsiteX31" fmla="*/ 4680117 w 5867895"/>
                <a:gd name="connsiteY31" fmla="*/ 122548 h 3214539"/>
                <a:gd name="connsiteX32" fmla="*/ 4736678 w 5867895"/>
                <a:gd name="connsiteY32" fmla="*/ 207389 h 3214539"/>
                <a:gd name="connsiteX33" fmla="*/ 4689544 w 5867895"/>
                <a:gd name="connsiteY33" fmla="*/ 273377 h 3214539"/>
                <a:gd name="connsiteX34" fmla="*/ 4774386 w 5867895"/>
                <a:gd name="connsiteY34" fmla="*/ 358218 h 3214539"/>
                <a:gd name="connsiteX35" fmla="*/ 5415409 w 5867895"/>
                <a:gd name="connsiteY35" fmla="*/ 0 h 3214539"/>
                <a:gd name="connsiteX36" fmla="*/ 5867895 w 5867895"/>
                <a:gd name="connsiteY36" fmla="*/ 348790 h 3214539"/>
                <a:gd name="connsiteX37" fmla="*/ 1654114 w 5867895"/>
                <a:gd name="connsiteY37" fmla="*/ 3214539 h 3214539"/>
                <a:gd name="connsiteX38" fmla="*/ 233927 w 5867895"/>
                <a:gd name="connsiteY38"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263627 w 5867895"/>
                <a:gd name="connsiteY14" fmla="*/ 650997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606575 w 5867895"/>
                <a:gd name="connsiteY14" fmla="*/ 666946 h 3214539"/>
                <a:gd name="connsiteX15" fmla="*/ 3137189 w 5867895"/>
                <a:gd name="connsiteY15" fmla="*/ 667462 h 3214539"/>
                <a:gd name="connsiteX16" fmla="*/ 3643169 w 5867895"/>
                <a:gd name="connsiteY16" fmla="*/ 782424 h 3214539"/>
                <a:gd name="connsiteX17" fmla="*/ 3680876 w 5867895"/>
                <a:gd name="connsiteY17" fmla="*/ 622168 h 3214539"/>
                <a:gd name="connsiteX18" fmla="*/ 3539474 w 5867895"/>
                <a:gd name="connsiteY18" fmla="*/ 575034 h 3214539"/>
                <a:gd name="connsiteX19" fmla="*/ 3501767 w 5867895"/>
                <a:gd name="connsiteY19" fmla="*/ 471339 h 3214539"/>
                <a:gd name="connsiteX20" fmla="*/ 3699730 w 5867895"/>
                <a:gd name="connsiteY20" fmla="*/ 405352 h 3214539"/>
                <a:gd name="connsiteX21" fmla="*/ 3793998 w 5867895"/>
                <a:gd name="connsiteY21" fmla="*/ 499620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161699 w 5867895"/>
                <a:gd name="connsiteY14" fmla="*/ 691088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468587 w 5867895"/>
                <a:gd name="connsiteY14" fmla="*/ 581485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606575 w 5867895"/>
                <a:gd name="connsiteY15" fmla="*/ 666946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37682 w 5867895"/>
                <a:gd name="connsiteY15" fmla="*/ 717050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349589 w 5867895"/>
                <a:gd name="connsiteY14" fmla="*/ 556433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501767 w 5867895"/>
                <a:gd name="connsiteY20" fmla="*/ 47133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699730 w 5867895"/>
                <a:gd name="connsiteY21" fmla="*/ 40535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357718 w 5867895"/>
                <a:gd name="connsiteY20" fmla="*/ 346079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793998 w 5867895"/>
                <a:gd name="connsiteY22" fmla="*/ 499620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539474 w 5867895"/>
                <a:gd name="connsiteY19" fmla="*/ 575034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680876 w 5867895"/>
                <a:gd name="connsiteY18" fmla="*/ 622168 h 3214539"/>
                <a:gd name="connsiteX19" fmla="*/ 3454923 w 5867895"/>
                <a:gd name="connsiteY19" fmla="*/ 415327 h 3214539"/>
                <a:gd name="connsiteX20" fmla="*/ 3270036 w 5867895"/>
                <a:gd name="connsiteY20" fmla="*/ 314764 h 3214539"/>
                <a:gd name="connsiteX21" fmla="*/ 3536891 w 5867895"/>
                <a:gd name="connsiteY21" fmla="*/ 198672 h 3214539"/>
                <a:gd name="connsiteX22" fmla="*/ 3587318 w 5867895"/>
                <a:gd name="connsiteY22" fmla="*/ 371229 h 3214539"/>
                <a:gd name="connsiteX23" fmla="*/ 3841132 w 5867895"/>
                <a:gd name="connsiteY23" fmla="*/ 622168 h 3214539"/>
                <a:gd name="connsiteX24" fmla="*/ 4020241 w 5867895"/>
                <a:gd name="connsiteY24" fmla="*/ 612741 h 3214539"/>
                <a:gd name="connsiteX25" fmla="*/ 4566996 w 5867895"/>
                <a:gd name="connsiteY25" fmla="*/ 414779 h 3214539"/>
                <a:gd name="connsiteX26" fmla="*/ 4538715 w 5867895"/>
                <a:gd name="connsiteY26" fmla="*/ 292230 h 3214539"/>
                <a:gd name="connsiteX27" fmla="*/ 4406740 w 5867895"/>
                <a:gd name="connsiteY27" fmla="*/ 292230 h 3214539"/>
                <a:gd name="connsiteX28" fmla="*/ 4397313 w 5867895"/>
                <a:gd name="connsiteY28" fmla="*/ 216816 h 3214539"/>
                <a:gd name="connsiteX29" fmla="*/ 4510435 w 5867895"/>
                <a:gd name="connsiteY29" fmla="*/ 122548 h 3214539"/>
                <a:gd name="connsiteX30" fmla="*/ 4680117 w 5867895"/>
                <a:gd name="connsiteY30" fmla="*/ 122548 h 3214539"/>
                <a:gd name="connsiteX31" fmla="*/ 4736678 w 5867895"/>
                <a:gd name="connsiteY31" fmla="*/ 207389 h 3214539"/>
                <a:gd name="connsiteX32" fmla="*/ 4689544 w 5867895"/>
                <a:gd name="connsiteY32" fmla="*/ 273377 h 3214539"/>
                <a:gd name="connsiteX33" fmla="*/ 4774386 w 5867895"/>
                <a:gd name="connsiteY33" fmla="*/ 358218 h 3214539"/>
                <a:gd name="connsiteX34" fmla="*/ 5415409 w 5867895"/>
                <a:gd name="connsiteY34" fmla="*/ 0 h 3214539"/>
                <a:gd name="connsiteX35" fmla="*/ 5867895 w 5867895"/>
                <a:gd name="connsiteY35" fmla="*/ 348790 h 3214539"/>
                <a:gd name="connsiteX36" fmla="*/ 1654114 w 5867895"/>
                <a:gd name="connsiteY36" fmla="*/ 3214539 h 3214539"/>
                <a:gd name="connsiteX37" fmla="*/ 233927 w 5867895"/>
                <a:gd name="connsiteY37"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643169 w 5867895"/>
                <a:gd name="connsiteY17" fmla="*/ 782424 h 3214539"/>
                <a:gd name="connsiteX18" fmla="*/ 3454923 w 5867895"/>
                <a:gd name="connsiteY18" fmla="*/ 415327 h 3214539"/>
                <a:gd name="connsiteX19" fmla="*/ 3270036 w 5867895"/>
                <a:gd name="connsiteY19" fmla="*/ 314764 h 3214539"/>
                <a:gd name="connsiteX20" fmla="*/ 3536891 w 5867895"/>
                <a:gd name="connsiteY20" fmla="*/ 198672 h 3214539"/>
                <a:gd name="connsiteX21" fmla="*/ 3587318 w 5867895"/>
                <a:gd name="connsiteY21" fmla="*/ 371229 h 3214539"/>
                <a:gd name="connsiteX22" fmla="*/ 3841132 w 5867895"/>
                <a:gd name="connsiteY22" fmla="*/ 622168 h 3214539"/>
                <a:gd name="connsiteX23" fmla="*/ 4020241 w 5867895"/>
                <a:gd name="connsiteY23" fmla="*/ 612741 h 3214539"/>
                <a:gd name="connsiteX24" fmla="*/ 4566996 w 5867895"/>
                <a:gd name="connsiteY24" fmla="*/ 414779 h 3214539"/>
                <a:gd name="connsiteX25" fmla="*/ 4538715 w 5867895"/>
                <a:gd name="connsiteY25" fmla="*/ 292230 h 3214539"/>
                <a:gd name="connsiteX26" fmla="*/ 4406740 w 5867895"/>
                <a:gd name="connsiteY26" fmla="*/ 292230 h 3214539"/>
                <a:gd name="connsiteX27" fmla="*/ 4397313 w 5867895"/>
                <a:gd name="connsiteY27" fmla="*/ 216816 h 3214539"/>
                <a:gd name="connsiteX28" fmla="*/ 4510435 w 5867895"/>
                <a:gd name="connsiteY28" fmla="*/ 122548 h 3214539"/>
                <a:gd name="connsiteX29" fmla="*/ 4680117 w 5867895"/>
                <a:gd name="connsiteY29" fmla="*/ 122548 h 3214539"/>
                <a:gd name="connsiteX30" fmla="*/ 4736678 w 5867895"/>
                <a:gd name="connsiteY30" fmla="*/ 207389 h 3214539"/>
                <a:gd name="connsiteX31" fmla="*/ 4689544 w 5867895"/>
                <a:gd name="connsiteY31" fmla="*/ 273377 h 3214539"/>
                <a:gd name="connsiteX32" fmla="*/ 4774386 w 5867895"/>
                <a:gd name="connsiteY32" fmla="*/ 358218 h 3214539"/>
                <a:gd name="connsiteX33" fmla="*/ 5415409 w 5867895"/>
                <a:gd name="connsiteY33" fmla="*/ 0 h 3214539"/>
                <a:gd name="connsiteX34" fmla="*/ 5867895 w 5867895"/>
                <a:gd name="connsiteY34" fmla="*/ 348790 h 3214539"/>
                <a:gd name="connsiteX35" fmla="*/ 1654114 w 5867895"/>
                <a:gd name="connsiteY35" fmla="*/ 3214539 h 3214539"/>
                <a:gd name="connsiteX36" fmla="*/ 233927 w 5867895"/>
                <a:gd name="connsiteY36"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841132 w 5867895"/>
                <a:gd name="connsiteY21" fmla="*/ 622168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70036 w 5867895"/>
                <a:gd name="connsiteY18" fmla="*/ 314764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87318 w 5867895"/>
                <a:gd name="connsiteY20" fmla="*/ 371229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6894 h 3214539"/>
                <a:gd name="connsiteX1" fmla="*/ 364514 w 5867895"/>
                <a:gd name="connsiteY1" fmla="*/ 2699519 h 3214539"/>
                <a:gd name="connsiteX2" fmla="*/ 272764 w 5867895"/>
                <a:gd name="connsiteY2" fmla="*/ 2433308 h 3214539"/>
                <a:gd name="connsiteX3" fmla="*/ 0 w 5867895"/>
                <a:gd name="connsiteY3" fmla="*/ 2379557 h 3214539"/>
                <a:gd name="connsiteX4" fmla="*/ 150796 w 5867895"/>
                <a:gd name="connsiteY4" fmla="*/ 2097044 h 3214539"/>
                <a:gd name="connsiteX5" fmla="*/ 584042 w 5867895"/>
                <a:gd name="connsiteY5" fmla="*/ 2088424 h 3214539"/>
                <a:gd name="connsiteX6" fmla="*/ 831980 w 5867895"/>
                <a:gd name="connsiteY6" fmla="*/ 2210423 h 3214539"/>
                <a:gd name="connsiteX7" fmla="*/ 1086891 w 5867895"/>
                <a:gd name="connsiteY7" fmla="*/ 1578440 h 3214539"/>
                <a:gd name="connsiteX8" fmla="*/ 737808 w 5867895"/>
                <a:gd name="connsiteY8" fmla="*/ 1565850 h 3214539"/>
                <a:gd name="connsiteX9" fmla="*/ 1387903 w 5867895"/>
                <a:gd name="connsiteY9" fmla="*/ 1144807 h 3214539"/>
                <a:gd name="connsiteX10" fmla="*/ 1391550 w 5867895"/>
                <a:gd name="connsiteY10" fmla="*/ 1354973 h 3214539"/>
                <a:gd name="connsiteX11" fmla="*/ 2098917 w 5867895"/>
                <a:gd name="connsiteY11" fmla="*/ 1214700 h 3214539"/>
                <a:gd name="connsiteX12" fmla="*/ 2409937 w 5867895"/>
                <a:gd name="connsiteY12" fmla="*/ 820358 h 3214539"/>
                <a:gd name="connsiteX13" fmla="*/ 2170328 w 5867895"/>
                <a:gd name="connsiteY13" fmla="*/ 817612 h 3214539"/>
                <a:gd name="connsiteX14" fmla="*/ 2537480 w 5867895"/>
                <a:gd name="connsiteY14" fmla="*/ 562697 h 3214539"/>
                <a:gd name="connsiteX15" fmla="*/ 2547077 w 5867895"/>
                <a:gd name="connsiteY15" fmla="*/ 754628 h 3214539"/>
                <a:gd name="connsiteX16" fmla="*/ 3137189 w 5867895"/>
                <a:gd name="connsiteY16" fmla="*/ 667462 h 3214539"/>
                <a:gd name="connsiteX17" fmla="*/ 3454923 w 5867895"/>
                <a:gd name="connsiteY17" fmla="*/ 415327 h 3214539"/>
                <a:gd name="connsiteX18" fmla="*/ 3210537 w 5867895"/>
                <a:gd name="connsiteY18" fmla="*/ 374263 h 3214539"/>
                <a:gd name="connsiteX19" fmla="*/ 3536891 w 5867895"/>
                <a:gd name="connsiteY19" fmla="*/ 198672 h 3214539"/>
                <a:gd name="connsiteX20" fmla="*/ 3556003 w 5867895"/>
                <a:gd name="connsiteY20" fmla="*/ 374360 h 3214539"/>
                <a:gd name="connsiteX21" fmla="*/ 3953866 w 5867895"/>
                <a:gd name="connsiteY21" fmla="*/ 359121 h 3214539"/>
                <a:gd name="connsiteX22" fmla="*/ 4020241 w 5867895"/>
                <a:gd name="connsiteY22" fmla="*/ 612741 h 3214539"/>
                <a:gd name="connsiteX23" fmla="*/ 4566996 w 5867895"/>
                <a:gd name="connsiteY23" fmla="*/ 414779 h 3214539"/>
                <a:gd name="connsiteX24" fmla="*/ 4538715 w 5867895"/>
                <a:gd name="connsiteY24" fmla="*/ 292230 h 3214539"/>
                <a:gd name="connsiteX25" fmla="*/ 4406740 w 5867895"/>
                <a:gd name="connsiteY25" fmla="*/ 292230 h 3214539"/>
                <a:gd name="connsiteX26" fmla="*/ 4397313 w 5867895"/>
                <a:gd name="connsiteY26" fmla="*/ 216816 h 3214539"/>
                <a:gd name="connsiteX27" fmla="*/ 4510435 w 5867895"/>
                <a:gd name="connsiteY27" fmla="*/ 122548 h 3214539"/>
                <a:gd name="connsiteX28" fmla="*/ 4680117 w 5867895"/>
                <a:gd name="connsiteY28" fmla="*/ 122548 h 3214539"/>
                <a:gd name="connsiteX29" fmla="*/ 4736678 w 5867895"/>
                <a:gd name="connsiteY29" fmla="*/ 207389 h 3214539"/>
                <a:gd name="connsiteX30" fmla="*/ 4689544 w 5867895"/>
                <a:gd name="connsiteY30" fmla="*/ 273377 h 3214539"/>
                <a:gd name="connsiteX31" fmla="*/ 4774386 w 5867895"/>
                <a:gd name="connsiteY31" fmla="*/ 358218 h 3214539"/>
                <a:gd name="connsiteX32" fmla="*/ 5415409 w 5867895"/>
                <a:gd name="connsiteY32" fmla="*/ 0 h 3214539"/>
                <a:gd name="connsiteX33" fmla="*/ 5867895 w 5867895"/>
                <a:gd name="connsiteY33" fmla="*/ 348790 h 3214539"/>
                <a:gd name="connsiteX34" fmla="*/ 1654114 w 5867895"/>
                <a:gd name="connsiteY34" fmla="*/ 3214539 h 3214539"/>
                <a:gd name="connsiteX35" fmla="*/ 233927 w 5867895"/>
                <a:gd name="connsiteY35" fmla="*/ 2846894 h 3214539"/>
                <a:gd name="connsiteX0" fmla="*/ 233927 w 5867895"/>
                <a:gd name="connsiteY0" fmla="*/ 2849606 h 3217251"/>
                <a:gd name="connsiteX1" fmla="*/ 364514 w 5867895"/>
                <a:gd name="connsiteY1" fmla="*/ 2702231 h 3217251"/>
                <a:gd name="connsiteX2" fmla="*/ 272764 w 5867895"/>
                <a:gd name="connsiteY2" fmla="*/ 2436020 h 3217251"/>
                <a:gd name="connsiteX3" fmla="*/ 0 w 5867895"/>
                <a:gd name="connsiteY3" fmla="*/ 2382269 h 3217251"/>
                <a:gd name="connsiteX4" fmla="*/ 150796 w 5867895"/>
                <a:gd name="connsiteY4" fmla="*/ 2099756 h 3217251"/>
                <a:gd name="connsiteX5" fmla="*/ 584042 w 5867895"/>
                <a:gd name="connsiteY5" fmla="*/ 2091136 h 3217251"/>
                <a:gd name="connsiteX6" fmla="*/ 831980 w 5867895"/>
                <a:gd name="connsiteY6" fmla="*/ 2213135 h 3217251"/>
                <a:gd name="connsiteX7" fmla="*/ 1086891 w 5867895"/>
                <a:gd name="connsiteY7" fmla="*/ 1581152 h 3217251"/>
                <a:gd name="connsiteX8" fmla="*/ 737808 w 5867895"/>
                <a:gd name="connsiteY8" fmla="*/ 1568562 h 3217251"/>
                <a:gd name="connsiteX9" fmla="*/ 1387903 w 5867895"/>
                <a:gd name="connsiteY9" fmla="*/ 1147519 h 3217251"/>
                <a:gd name="connsiteX10" fmla="*/ 1391550 w 5867895"/>
                <a:gd name="connsiteY10" fmla="*/ 1357685 h 3217251"/>
                <a:gd name="connsiteX11" fmla="*/ 2098917 w 5867895"/>
                <a:gd name="connsiteY11" fmla="*/ 1217412 h 3217251"/>
                <a:gd name="connsiteX12" fmla="*/ 2409937 w 5867895"/>
                <a:gd name="connsiteY12" fmla="*/ 823070 h 3217251"/>
                <a:gd name="connsiteX13" fmla="*/ 2170328 w 5867895"/>
                <a:gd name="connsiteY13" fmla="*/ 820324 h 3217251"/>
                <a:gd name="connsiteX14" fmla="*/ 2537480 w 5867895"/>
                <a:gd name="connsiteY14" fmla="*/ 565409 h 3217251"/>
                <a:gd name="connsiteX15" fmla="*/ 2547077 w 5867895"/>
                <a:gd name="connsiteY15" fmla="*/ 757340 h 3217251"/>
                <a:gd name="connsiteX16" fmla="*/ 3137189 w 5867895"/>
                <a:gd name="connsiteY16" fmla="*/ 670174 h 3217251"/>
                <a:gd name="connsiteX17" fmla="*/ 3454923 w 5867895"/>
                <a:gd name="connsiteY17" fmla="*/ 418039 h 3217251"/>
                <a:gd name="connsiteX18" fmla="*/ 3210537 w 5867895"/>
                <a:gd name="connsiteY18" fmla="*/ 376975 h 3217251"/>
                <a:gd name="connsiteX19" fmla="*/ 3536891 w 5867895"/>
                <a:gd name="connsiteY19" fmla="*/ 201384 h 3217251"/>
                <a:gd name="connsiteX20" fmla="*/ 3556003 w 5867895"/>
                <a:gd name="connsiteY20" fmla="*/ 377072 h 3217251"/>
                <a:gd name="connsiteX21" fmla="*/ 3953866 w 5867895"/>
                <a:gd name="connsiteY21" fmla="*/ 361833 h 3217251"/>
                <a:gd name="connsiteX22" fmla="*/ 4020241 w 5867895"/>
                <a:gd name="connsiteY22" fmla="*/ 615453 h 3217251"/>
                <a:gd name="connsiteX23" fmla="*/ 4566996 w 5867895"/>
                <a:gd name="connsiteY23" fmla="*/ 417491 h 3217251"/>
                <a:gd name="connsiteX24" fmla="*/ 4538715 w 5867895"/>
                <a:gd name="connsiteY24" fmla="*/ 294942 h 3217251"/>
                <a:gd name="connsiteX25" fmla="*/ 4406740 w 5867895"/>
                <a:gd name="connsiteY25" fmla="*/ 294942 h 3217251"/>
                <a:gd name="connsiteX26" fmla="*/ 4397313 w 5867895"/>
                <a:gd name="connsiteY26" fmla="*/ 219528 h 3217251"/>
                <a:gd name="connsiteX27" fmla="*/ 4397701 w 5867895"/>
                <a:gd name="connsiteY27" fmla="*/ 0 h 3217251"/>
                <a:gd name="connsiteX28" fmla="*/ 4680117 w 5867895"/>
                <a:gd name="connsiteY28" fmla="*/ 125260 h 3217251"/>
                <a:gd name="connsiteX29" fmla="*/ 4736678 w 5867895"/>
                <a:gd name="connsiteY29" fmla="*/ 210101 h 3217251"/>
                <a:gd name="connsiteX30" fmla="*/ 4689544 w 5867895"/>
                <a:gd name="connsiteY30" fmla="*/ 276089 h 3217251"/>
                <a:gd name="connsiteX31" fmla="*/ 4774386 w 5867895"/>
                <a:gd name="connsiteY31" fmla="*/ 360930 h 3217251"/>
                <a:gd name="connsiteX32" fmla="*/ 5415409 w 5867895"/>
                <a:gd name="connsiteY32" fmla="*/ 2712 h 3217251"/>
                <a:gd name="connsiteX33" fmla="*/ 5867895 w 5867895"/>
                <a:gd name="connsiteY33" fmla="*/ 351502 h 3217251"/>
                <a:gd name="connsiteX34" fmla="*/ 1654114 w 5867895"/>
                <a:gd name="connsiteY34" fmla="*/ 3217251 h 3217251"/>
                <a:gd name="connsiteX35" fmla="*/ 233927 w 5867895"/>
                <a:gd name="connsiteY35" fmla="*/ 2849606 h 3217251"/>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397313 w 5867895"/>
                <a:gd name="connsiteY26" fmla="*/ 263369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736678 w 5867895"/>
                <a:gd name="connsiteY29" fmla="*/ 253942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06740 w 5867895"/>
                <a:gd name="connsiteY25" fmla="*/ 338783 h 3261092"/>
                <a:gd name="connsiteX26" fmla="*/ 4412970 w 5867895"/>
                <a:gd name="connsiteY26" fmla="*/ 144372 h 3261092"/>
                <a:gd name="connsiteX27" fmla="*/ 4397701 w 5867895"/>
                <a:gd name="connsiteY27" fmla="*/ 43841 h 3261092"/>
                <a:gd name="connsiteX28" fmla="*/ 4586172 w 5867895"/>
                <a:gd name="connsiteY28" fmla="*/ 0 h 3261092"/>
                <a:gd name="connsiteX29" fmla="*/ 4633338 w 5867895"/>
                <a:gd name="connsiteY29" fmla="*/ 91104 h 3261092"/>
                <a:gd name="connsiteX30" fmla="*/ 4689544 w 5867895"/>
                <a:gd name="connsiteY30" fmla="*/ 319930 h 3261092"/>
                <a:gd name="connsiteX31" fmla="*/ 4774386 w 5867895"/>
                <a:gd name="connsiteY31" fmla="*/ 404771 h 3261092"/>
                <a:gd name="connsiteX32" fmla="*/ 5415409 w 5867895"/>
                <a:gd name="connsiteY32" fmla="*/ 46553 h 3261092"/>
                <a:gd name="connsiteX33" fmla="*/ 5867895 w 5867895"/>
                <a:gd name="connsiteY33" fmla="*/ 395343 h 3261092"/>
                <a:gd name="connsiteX34" fmla="*/ 1654114 w 5867895"/>
                <a:gd name="connsiteY34" fmla="*/ 3261092 h 3261092"/>
                <a:gd name="connsiteX35" fmla="*/ 233927 w 5867895"/>
                <a:gd name="connsiteY35"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538715 w 5867895"/>
                <a:gd name="connsiteY24" fmla="*/ 338783 h 3261092"/>
                <a:gd name="connsiteX25" fmla="*/ 4412970 w 5867895"/>
                <a:gd name="connsiteY25" fmla="*/ 144372 h 3261092"/>
                <a:gd name="connsiteX26" fmla="*/ 4397701 w 5867895"/>
                <a:gd name="connsiteY26" fmla="*/ 43841 h 3261092"/>
                <a:gd name="connsiteX27" fmla="*/ 4586172 w 5867895"/>
                <a:gd name="connsiteY27" fmla="*/ 0 h 3261092"/>
                <a:gd name="connsiteX28" fmla="*/ 4633338 w 5867895"/>
                <a:gd name="connsiteY28" fmla="*/ 91104 h 3261092"/>
                <a:gd name="connsiteX29" fmla="*/ 4689544 w 5867895"/>
                <a:gd name="connsiteY29" fmla="*/ 319930 h 3261092"/>
                <a:gd name="connsiteX30" fmla="*/ 4774386 w 5867895"/>
                <a:gd name="connsiteY30" fmla="*/ 404771 h 3261092"/>
                <a:gd name="connsiteX31" fmla="*/ 5415409 w 5867895"/>
                <a:gd name="connsiteY31" fmla="*/ 46553 h 3261092"/>
                <a:gd name="connsiteX32" fmla="*/ 5867895 w 5867895"/>
                <a:gd name="connsiteY32" fmla="*/ 395343 h 3261092"/>
                <a:gd name="connsiteX33" fmla="*/ 1654114 w 5867895"/>
                <a:gd name="connsiteY33" fmla="*/ 3261092 h 3261092"/>
                <a:gd name="connsiteX34" fmla="*/ 233927 w 5867895"/>
                <a:gd name="connsiteY34"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566996 w 5867895"/>
                <a:gd name="connsiteY23" fmla="*/ 461332 h 3261092"/>
                <a:gd name="connsiteX24" fmla="*/ 4412970 w 5867895"/>
                <a:gd name="connsiteY24" fmla="*/ 144372 h 3261092"/>
                <a:gd name="connsiteX25" fmla="*/ 4397701 w 5867895"/>
                <a:gd name="connsiteY25" fmla="*/ 43841 h 3261092"/>
                <a:gd name="connsiteX26" fmla="*/ 4586172 w 5867895"/>
                <a:gd name="connsiteY26" fmla="*/ 0 h 3261092"/>
                <a:gd name="connsiteX27" fmla="*/ 4633338 w 5867895"/>
                <a:gd name="connsiteY27" fmla="*/ 91104 h 3261092"/>
                <a:gd name="connsiteX28" fmla="*/ 4689544 w 5867895"/>
                <a:gd name="connsiteY28" fmla="*/ 319930 h 3261092"/>
                <a:gd name="connsiteX29" fmla="*/ 4774386 w 5867895"/>
                <a:gd name="connsiteY29" fmla="*/ 404771 h 3261092"/>
                <a:gd name="connsiteX30" fmla="*/ 5415409 w 5867895"/>
                <a:gd name="connsiteY30" fmla="*/ 46553 h 3261092"/>
                <a:gd name="connsiteX31" fmla="*/ 5867895 w 5867895"/>
                <a:gd name="connsiteY31" fmla="*/ 395343 h 3261092"/>
                <a:gd name="connsiteX32" fmla="*/ 1654114 w 5867895"/>
                <a:gd name="connsiteY32" fmla="*/ 3261092 h 3261092"/>
                <a:gd name="connsiteX33" fmla="*/ 233927 w 5867895"/>
                <a:gd name="connsiteY33"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020241 w 5867895"/>
                <a:gd name="connsiteY22" fmla="*/ 659294 h 3261092"/>
                <a:gd name="connsiteX23" fmla="*/ 4412970 w 5867895"/>
                <a:gd name="connsiteY23" fmla="*/ 144372 h 3261092"/>
                <a:gd name="connsiteX24" fmla="*/ 4397701 w 5867895"/>
                <a:gd name="connsiteY24" fmla="*/ 43841 h 3261092"/>
                <a:gd name="connsiteX25" fmla="*/ 4586172 w 5867895"/>
                <a:gd name="connsiteY25" fmla="*/ 0 h 3261092"/>
                <a:gd name="connsiteX26" fmla="*/ 4633338 w 5867895"/>
                <a:gd name="connsiteY26" fmla="*/ 91104 h 3261092"/>
                <a:gd name="connsiteX27" fmla="*/ 4689544 w 5867895"/>
                <a:gd name="connsiteY27" fmla="*/ 319930 h 3261092"/>
                <a:gd name="connsiteX28" fmla="*/ 4774386 w 5867895"/>
                <a:gd name="connsiteY28" fmla="*/ 404771 h 3261092"/>
                <a:gd name="connsiteX29" fmla="*/ 5415409 w 5867895"/>
                <a:gd name="connsiteY29" fmla="*/ 46553 h 3261092"/>
                <a:gd name="connsiteX30" fmla="*/ 5867895 w 5867895"/>
                <a:gd name="connsiteY30" fmla="*/ 395343 h 3261092"/>
                <a:gd name="connsiteX31" fmla="*/ 1654114 w 5867895"/>
                <a:gd name="connsiteY31" fmla="*/ 3261092 h 3261092"/>
                <a:gd name="connsiteX32" fmla="*/ 233927 w 5867895"/>
                <a:gd name="connsiteY32"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12970 w 5867895"/>
                <a:gd name="connsiteY22" fmla="*/ 144372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902599 h 3270244"/>
                <a:gd name="connsiteX1" fmla="*/ 364514 w 5867895"/>
                <a:gd name="connsiteY1" fmla="*/ 2755224 h 3270244"/>
                <a:gd name="connsiteX2" fmla="*/ 272764 w 5867895"/>
                <a:gd name="connsiteY2" fmla="*/ 2489013 h 3270244"/>
                <a:gd name="connsiteX3" fmla="*/ 0 w 5867895"/>
                <a:gd name="connsiteY3" fmla="*/ 2435262 h 3270244"/>
                <a:gd name="connsiteX4" fmla="*/ 150796 w 5867895"/>
                <a:gd name="connsiteY4" fmla="*/ 2152749 h 3270244"/>
                <a:gd name="connsiteX5" fmla="*/ 584042 w 5867895"/>
                <a:gd name="connsiteY5" fmla="*/ 2144129 h 3270244"/>
                <a:gd name="connsiteX6" fmla="*/ 831980 w 5867895"/>
                <a:gd name="connsiteY6" fmla="*/ 2266128 h 3270244"/>
                <a:gd name="connsiteX7" fmla="*/ 1086891 w 5867895"/>
                <a:gd name="connsiteY7" fmla="*/ 1634145 h 3270244"/>
                <a:gd name="connsiteX8" fmla="*/ 737808 w 5867895"/>
                <a:gd name="connsiteY8" fmla="*/ 1621555 h 3270244"/>
                <a:gd name="connsiteX9" fmla="*/ 1387903 w 5867895"/>
                <a:gd name="connsiteY9" fmla="*/ 1200512 h 3270244"/>
                <a:gd name="connsiteX10" fmla="*/ 1391550 w 5867895"/>
                <a:gd name="connsiteY10" fmla="*/ 1410678 h 3270244"/>
                <a:gd name="connsiteX11" fmla="*/ 2098917 w 5867895"/>
                <a:gd name="connsiteY11" fmla="*/ 1270405 h 3270244"/>
                <a:gd name="connsiteX12" fmla="*/ 2409937 w 5867895"/>
                <a:gd name="connsiteY12" fmla="*/ 876063 h 3270244"/>
                <a:gd name="connsiteX13" fmla="*/ 2170328 w 5867895"/>
                <a:gd name="connsiteY13" fmla="*/ 873317 h 3270244"/>
                <a:gd name="connsiteX14" fmla="*/ 2537480 w 5867895"/>
                <a:gd name="connsiteY14" fmla="*/ 618402 h 3270244"/>
                <a:gd name="connsiteX15" fmla="*/ 2547077 w 5867895"/>
                <a:gd name="connsiteY15" fmla="*/ 810333 h 3270244"/>
                <a:gd name="connsiteX16" fmla="*/ 3137189 w 5867895"/>
                <a:gd name="connsiteY16" fmla="*/ 723167 h 3270244"/>
                <a:gd name="connsiteX17" fmla="*/ 3454923 w 5867895"/>
                <a:gd name="connsiteY17" fmla="*/ 471032 h 3270244"/>
                <a:gd name="connsiteX18" fmla="*/ 3210537 w 5867895"/>
                <a:gd name="connsiteY18" fmla="*/ 429968 h 3270244"/>
                <a:gd name="connsiteX19" fmla="*/ 3536891 w 5867895"/>
                <a:gd name="connsiteY19" fmla="*/ 254377 h 3270244"/>
                <a:gd name="connsiteX20" fmla="*/ 3556003 w 5867895"/>
                <a:gd name="connsiteY20" fmla="*/ 430065 h 3270244"/>
                <a:gd name="connsiteX21" fmla="*/ 3953866 w 5867895"/>
                <a:gd name="connsiteY21" fmla="*/ 414826 h 3270244"/>
                <a:gd name="connsiteX22" fmla="*/ 4469337 w 5867895"/>
                <a:gd name="connsiteY22" fmla="*/ 203628 h 3270244"/>
                <a:gd name="connsiteX23" fmla="*/ 4397701 w 5867895"/>
                <a:gd name="connsiteY23" fmla="*/ 52993 h 3270244"/>
                <a:gd name="connsiteX24" fmla="*/ 4586172 w 5867895"/>
                <a:gd name="connsiteY24" fmla="*/ 9152 h 3270244"/>
                <a:gd name="connsiteX25" fmla="*/ 4633338 w 5867895"/>
                <a:gd name="connsiteY25" fmla="*/ 100256 h 3270244"/>
                <a:gd name="connsiteX26" fmla="*/ 4689544 w 5867895"/>
                <a:gd name="connsiteY26" fmla="*/ 329082 h 3270244"/>
                <a:gd name="connsiteX27" fmla="*/ 4774386 w 5867895"/>
                <a:gd name="connsiteY27" fmla="*/ 413923 h 3270244"/>
                <a:gd name="connsiteX28" fmla="*/ 5415409 w 5867895"/>
                <a:gd name="connsiteY28" fmla="*/ 55705 h 3270244"/>
                <a:gd name="connsiteX29" fmla="*/ 5867895 w 5867895"/>
                <a:gd name="connsiteY29" fmla="*/ 404495 h 3270244"/>
                <a:gd name="connsiteX30" fmla="*/ 1654114 w 5867895"/>
                <a:gd name="connsiteY30" fmla="*/ 3270244 h 3270244"/>
                <a:gd name="connsiteX31" fmla="*/ 233927 w 5867895"/>
                <a:gd name="connsiteY31" fmla="*/ 2902599 h 3270244"/>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5409 w 5867895"/>
                <a:gd name="connsiteY28" fmla="*/ 46553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412277 w 5867895"/>
                <a:gd name="connsiteY28" fmla="*/ 30895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774386 w 5867895"/>
                <a:gd name="connsiteY27" fmla="*/ 404771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90460 w 5867895"/>
                <a:gd name="connsiteY27" fmla="*/ 129198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4987328 w 5867895"/>
                <a:gd name="connsiteY27" fmla="*/ 132329 h 3261092"/>
                <a:gd name="connsiteX28" fmla="*/ 5396619 w 5867895"/>
                <a:gd name="connsiteY28" fmla="*/ 37158 h 3261092"/>
                <a:gd name="connsiteX29" fmla="*/ 5867895 w 5867895"/>
                <a:gd name="connsiteY29" fmla="*/ 395343 h 3261092"/>
                <a:gd name="connsiteX30" fmla="*/ 1654114 w 5867895"/>
                <a:gd name="connsiteY30" fmla="*/ 3261092 h 3261092"/>
                <a:gd name="connsiteX31" fmla="*/ 233927 w 5867895"/>
                <a:gd name="connsiteY31"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689544 w 5867895"/>
                <a:gd name="connsiteY26" fmla="*/ 319930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633338 w 5867895"/>
                <a:gd name="connsiteY25" fmla="*/ 91104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821229 w 5867895"/>
                <a:gd name="connsiteY25" fmla="*/ 66052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93447 h 3261092"/>
                <a:gd name="connsiteX1" fmla="*/ 364514 w 5867895"/>
                <a:gd name="connsiteY1" fmla="*/ 2746072 h 3261092"/>
                <a:gd name="connsiteX2" fmla="*/ 272764 w 5867895"/>
                <a:gd name="connsiteY2" fmla="*/ 2479861 h 3261092"/>
                <a:gd name="connsiteX3" fmla="*/ 0 w 5867895"/>
                <a:gd name="connsiteY3" fmla="*/ 2426110 h 3261092"/>
                <a:gd name="connsiteX4" fmla="*/ 150796 w 5867895"/>
                <a:gd name="connsiteY4" fmla="*/ 2143597 h 3261092"/>
                <a:gd name="connsiteX5" fmla="*/ 584042 w 5867895"/>
                <a:gd name="connsiteY5" fmla="*/ 2134977 h 3261092"/>
                <a:gd name="connsiteX6" fmla="*/ 831980 w 5867895"/>
                <a:gd name="connsiteY6" fmla="*/ 2256976 h 3261092"/>
                <a:gd name="connsiteX7" fmla="*/ 1086891 w 5867895"/>
                <a:gd name="connsiteY7" fmla="*/ 1624993 h 3261092"/>
                <a:gd name="connsiteX8" fmla="*/ 737808 w 5867895"/>
                <a:gd name="connsiteY8" fmla="*/ 1612403 h 3261092"/>
                <a:gd name="connsiteX9" fmla="*/ 1387903 w 5867895"/>
                <a:gd name="connsiteY9" fmla="*/ 1191360 h 3261092"/>
                <a:gd name="connsiteX10" fmla="*/ 1391550 w 5867895"/>
                <a:gd name="connsiteY10" fmla="*/ 1401526 h 3261092"/>
                <a:gd name="connsiteX11" fmla="*/ 2098917 w 5867895"/>
                <a:gd name="connsiteY11" fmla="*/ 1261253 h 3261092"/>
                <a:gd name="connsiteX12" fmla="*/ 2409937 w 5867895"/>
                <a:gd name="connsiteY12" fmla="*/ 866911 h 3261092"/>
                <a:gd name="connsiteX13" fmla="*/ 2170328 w 5867895"/>
                <a:gd name="connsiteY13" fmla="*/ 864165 h 3261092"/>
                <a:gd name="connsiteX14" fmla="*/ 2537480 w 5867895"/>
                <a:gd name="connsiteY14" fmla="*/ 609250 h 3261092"/>
                <a:gd name="connsiteX15" fmla="*/ 2547077 w 5867895"/>
                <a:gd name="connsiteY15" fmla="*/ 801181 h 3261092"/>
                <a:gd name="connsiteX16" fmla="*/ 3137189 w 5867895"/>
                <a:gd name="connsiteY16" fmla="*/ 714015 h 3261092"/>
                <a:gd name="connsiteX17" fmla="*/ 3454923 w 5867895"/>
                <a:gd name="connsiteY17" fmla="*/ 461880 h 3261092"/>
                <a:gd name="connsiteX18" fmla="*/ 3210537 w 5867895"/>
                <a:gd name="connsiteY18" fmla="*/ 420816 h 3261092"/>
                <a:gd name="connsiteX19" fmla="*/ 3536891 w 5867895"/>
                <a:gd name="connsiteY19" fmla="*/ 245225 h 3261092"/>
                <a:gd name="connsiteX20" fmla="*/ 3556003 w 5867895"/>
                <a:gd name="connsiteY20" fmla="*/ 420913 h 3261092"/>
                <a:gd name="connsiteX21" fmla="*/ 3953866 w 5867895"/>
                <a:gd name="connsiteY21" fmla="*/ 405674 h 3261092"/>
                <a:gd name="connsiteX22" fmla="*/ 4469337 w 5867895"/>
                <a:gd name="connsiteY22" fmla="*/ 194476 h 3261092"/>
                <a:gd name="connsiteX23" fmla="*/ 4397701 w 5867895"/>
                <a:gd name="connsiteY23" fmla="*/ 43841 h 3261092"/>
                <a:gd name="connsiteX24" fmla="*/ 4586172 w 5867895"/>
                <a:gd name="connsiteY24" fmla="*/ 0 h 3261092"/>
                <a:gd name="connsiteX25" fmla="*/ 4777388 w 5867895"/>
                <a:gd name="connsiteY25" fmla="*/ 62921 h 3261092"/>
                <a:gd name="connsiteX26" fmla="*/ 4983906 w 5867895"/>
                <a:gd name="connsiteY26" fmla="*/ 128908 h 3261092"/>
                <a:gd name="connsiteX27" fmla="*/ 5396619 w 5867895"/>
                <a:gd name="connsiteY27" fmla="*/ 37158 h 3261092"/>
                <a:gd name="connsiteX28" fmla="*/ 5867895 w 5867895"/>
                <a:gd name="connsiteY28" fmla="*/ 395343 h 3261092"/>
                <a:gd name="connsiteX29" fmla="*/ 1654114 w 5867895"/>
                <a:gd name="connsiteY29" fmla="*/ 3261092 h 3261092"/>
                <a:gd name="connsiteX30" fmla="*/ 233927 w 5867895"/>
                <a:gd name="connsiteY30" fmla="*/ 2893447 h 3261092"/>
                <a:gd name="connsiteX0" fmla="*/ 233927 w 5867895"/>
                <a:gd name="connsiteY0" fmla="*/ 2875113 h 3242758"/>
                <a:gd name="connsiteX1" fmla="*/ 364514 w 5867895"/>
                <a:gd name="connsiteY1" fmla="*/ 2727738 h 3242758"/>
                <a:gd name="connsiteX2" fmla="*/ 272764 w 5867895"/>
                <a:gd name="connsiteY2" fmla="*/ 2461527 h 3242758"/>
                <a:gd name="connsiteX3" fmla="*/ 0 w 5867895"/>
                <a:gd name="connsiteY3" fmla="*/ 2407776 h 3242758"/>
                <a:gd name="connsiteX4" fmla="*/ 150796 w 5867895"/>
                <a:gd name="connsiteY4" fmla="*/ 2125263 h 3242758"/>
                <a:gd name="connsiteX5" fmla="*/ 584042 w 5867895"/>
                <a:gd name="connsiteY5" fmla="*/ 2116643 h 3242758"/>
                <a:gd name="connsiteX6" fmla="*/ 831980 w 5867895"/>
                <a:gd name="connsiteY6" fmla="*/ 2238642 h 3242758"/>
                <a:gd name="connsiteX7" fmla="*/ 1086891 w 5867895"/>
                <a:gd name="connsiteY7" fmla="*/ 1606659 h 3242758"/>
                <a:gd name="connsiteX8" fmla="*/ 737808 w 5867895"/>
                <a:gd name="connsiteY8" fmla="*/ 1594069 h 3242758"/>
                <a:gd name="connsiteX9" fmla="*/ 1387903 w 5867895"/>
                <a:gd name="connsiteY9" fmla="*/ 1173026 h 3242758"/>
                <a:gd name="connsiteX10" fmla="*/ 1391550 w 5867895"/>
                <a:gd name="connsiteY10" fmla="*/ 1383192 h 3242758"/>
                <a:gd name="connsiteX11" fmla="*/ 2098917 w 5867895"/>
                <a:gd name="connsiteY11" fmla="*/ 1242919 h 3242758"/>
                <a:gd name="connsiteX12" fmla="*/ 2409937 w 5867895"/>
                <a:gd name="connsiteY12" fmla="*/ 848577 h 3242758"/>
                <a:gd name="connsiteX13" fmla="*/ 2170328 w 5867895"/>
                <a:gd name="connsiteY13" fmla="*/ 845831 h 3242758"/>
                <a:gd name="connsiteX14" fmla="*/ 2537480 w 5867895"/>
                <a:gd name="connsiteY14" fmla="*/ 590916 h 3242758"/>
                <a:gd name="connsiteX15" fmla="*/ 2547077 w 5867895"/>
                <a:gd name="connsiteY15" fmla="*/ 782847 h 3242758"/>
                <a:gd name="connsiteX16" fmla="*/ 3137189 w 5867895"/>
                <a:gd name="connsiteY16" fmla="*/ 695681 h 3242758"/>
                <a:gd name="connsiteX17" fmla="*/ 3454923 w 5867895"/>
                <a:gd name="connsiteY17" fmla="*/ 443546 h 3242758"/>
                <a:gd name="connsiteX18" fmla="*/ 3210537 w 5867895"/>
                <a:gd name="connsiteY18" fmla="*/ 402482 h 3242758"/>
                <a:gd name="connsiteX19" fmla="*/ 3536891 w 5867895"/>
                <a:gd name="connsiteY19" fmla="*/ 226891 h 3242758"/>
                <a:gd name="connsiteX20" fmla="*/ 3556003 w 5867895"/>
                <a:gd name="connsiteY20" fmla="*/ 402579 h 3242758"/>
                <a:gd name="connsiteX21" fmla="*/ 3953866 w 5867895"/>
                <a:gd name="connsiteY21" fmla="*/ 387340 h 3242758"/>
                <a:gd name="connsiteX22" fmla="*/ 4469337 w 5867895"/>
                <a:gd name="connsiteY22" fmla="*/ 176142 h 3242758"/>
                <a:gd name="connsiteX23" fmla="*/ 4397701 w 5867895"/>
                <a:gd name="connsiteY23" fmla="*/ 25507 h 3242758"/>
                <a:gd name="connsiteX24" fmla="*/ 4564251 w 5867895"/>
                <a:gd name="connsiteY24" fmla="*/ 41164 h 3242758"/>
                <a:gd name="connsiteX25" fmla="*/ 4777388 w 5867895"/>
                <a:gd name="connsiteY25" fmla="*/ 44587 h 3242758"/>
                <a:gd name="connsiteX26" fmla="*/ 4983906 w 5867895"/>
                <a:gd name="connsiteY26" fmla="*/ 110574 h 3242758"/>
                <a:gd name="connsiteX27" fmla="*/ 5396619 w 5867895"/>
                <a:gd name="connsiteY27" fmla="*/ 18824 h 3242758"/>
                <a:gd name="connsiteX28" fmla="*/ 5867895 w 5867895"/>
                <a:gd name="connsiteY28" fmla="*/ 377009 h 3242758"/>
                <a:gd name="connsiteX29" fmla="*/ 1654114 w 5867895"/>
                <a:gd name="connsiteY29" fmla="*/ 3242758 h 3242758"/>
                <a:gd name="connsiteX30" fmla="*/ 233927 w 5867895"/>
                <a:gd name="connsiteY30" fmla="*/ 2875113 h 3242758"/>
                <a:gd name="connsiteX0" fmla="*/ 233927 w 5867895"/>
                <a:gd name="connsiteY0" fmla="*/ 2857913 h 3225558"/>
                <a:gd name="connsiteX1" fmla="*/ 364514 w 5867895"/>
                <a:gd name="connsiteY1" fmla="*/ 2710538 h 3225558"/>
                <a:gd name="connsiteX2" fmla="*/ 272764 w 5867895"/>
                <a:gd name="connsiteY2" fmla="*/ 2444327 h 3225558"/>
                <a:gd name="connsiteX3" fmla="*/ 0 w 5867895"/>
                <a:gd name="connsiteY3" fmla="*/ 2390576 h 3225558"/>
                <a:gd name="connsiteX4" fmla="*/ 150796 w 5867895"/>
                <a:gd name="connsiteY4" fmla="*/ 2108063 h 3225558"/>
                <a:gd name="connsiteX5" fmla="*/ 584042 w 5867895"/>
                <a:gd name="connsiteY5" fmla="*/ 2099443 h 3225558"/>
                <a:gd name="connsiteX6" fmla="*/ 831980 w 5867895"/>
                <a:gd name="connsiteY6" fmla="*/ 2221442 h 3225558"/>
                <a:gd name="connsiteX7" fmla="*/ 1086891 w 5867895"/>
                <a:gd name="connsiteY7" fmla="*/ 1589459 h 3225558"/>
                <a:gd name="connsiteX8" fmla="*/ 737808 w 5867895"/>
                <a:gd name="connsiteY8" fmla="*/ 1576869 h 3225558"/>
                <a:gd name="connsiteX9" fmla="*/ 1387903 w 5867895"/>
                <a:gd name="connsiteY9" fmla="*/ 1155826 h 3225558"/>
                <a:gd name="connsiteX10" fmla="*/ 1391550 w 5867895"/>
                <a:gd name="connsiteY10" fmla="*/ 1365992 h 3225558"/>
                <a:gd name="connsiteX11" fmla="*/ 2098917 w 5867895"/>
                <a:gd name="connsiteY11" fmla="*/ 1225719 h 3225558"/>
                <a:gd name="connsiteX12" fmla="*/ 2409937 w 5867895"/>
                <a:gd name="connsiteY12" fmla="*/ 831377 h 3225558"/>
                <a:gd name="connsiteX13" fmla="*/ 2170328 w 5867895"/>
                <a:gd name="connsiteY13" fmla="*/ 828631 h 3225558"/>
                <a:gd name="connsiteX14" fmla="*/ 2537480 w 5867895"/>
                <a:gd name="connsiteY14" fmla="*/ 573716 h 3225558"/>
                <a:gd name="connsiteX15" fmla="*/ 2547077 w 5867895"/>
                <a:gd name="connsiteY15" fmla="*/ 765647 h 3225558"/>
                <a:gd name="connsiteX16" fmla="*/ 3137189 w 5867895"/>
                <a:gd name="connsiteY16" fmla="*/ 678481 h 3225558"/>
                <a:gd name="connsiteX17" fmla="*/ 3454923 w 5867895"/>
                <a:gd name="connsiteY17" fmla="*/ 426346 h 3225558"/>
                <a:gd name="connsiteX18" fmla="*/ 3210537 w 5867895"/>
                <a:gd name="connsiteY18" fmla="*/ 385282 h 3225558"/>
                <a:gd name="connsiteX19" fmla="*/ 3536891 w 5867895"/>
                <a:gd name="connsiteY19" fmla="*/ 209691 h 3225558"/>
                <a:gd name="connsiteX20" fmla="*/ 3556003 w 5867895"/>
                <a:gd name="connsiteY20" fmla="*/ 385379 h 3225558"/>
                <a:gd name="connsiteX21" fmla="*/ 3953866 w 5867895"/>
                <a:gd name="connsiteY21" fmla="*/ 370140 h 3225558"/>
                <a:gd name="connsiteX22" fmla="*/ 4469337 w 5867895"/>
                <a:gd name="connsiteY22" fmla="*/ 158942 h 3225558"/>
                <a:gd name="connsiteX23" fmla="*/ 4397701 w 5867895"/>
                <a:gd name="connsiteY23" fmla="*/ 8307 h 3225558"/>
                <a:gd name="connsiteX24" fmla="*/ 4777388 w 5867895"/>
                <a:gd name="connsiteY24" fmla="*/ 27387 h 3225558"/>
                <a:gd name="connsiteX25" fmla="*/ 4983906 w 5867895"/>
                <a:gd name="connsiteY25" fmla="*/ 93374 h 3225558"/>
                <a:gd name="connsiteX26" fmla="*/ 5396619 w 5867895"/>
                <a:gd name="connsiteY26" fmla="*/ 1624 h 3225558"/>
                <a:gd name="connsiteX27" fmla="*/ 5867895 w 5867895"/>
                <a:gd name="connsiteY27" fmla="*/ 359809 h 3225558"/>
                <a:gd name="connsiteX28" fmla="*/ 1654114 w 5867895"/>
                <a:gd name="connsiteY28" fmla="*/ 3225558 h 3225558"/>
                <a:gd name="connsiteX29" fmla="*/ 233927 w 5867895"/>
                <a:gd name="connsiteY29" fmla="*/ 2857913 h 3225558"/>
                <a:gd name="connsiteX0" fmla="*/ 233927 w 5867895"/>
                <a:gd name="connsiteY0" fmla="*/ 2873624 h 3241269"/>
                <a:gd name="connsiteX1" fmla="*/ 364514 w 5867895"/>
                <a:gd name="connsiteY1" fmla="*/ 2726249 h 3241269"/>
                <a:gd name="connsiteX2" fmla="*/ 272764 w 5867895"/>
                <a:gd name="connsiteY2" fmla="*/ 2460038 h 3241269"/>
                <a:gd name="connsiteX3" fmla="*/ 0 w 5867895"/>
                <a:gd name="connsiteY3" fmla="*/ 2406287 h 3241269"/>
                <a:gd name="connsiteX4" fmla="*/ 150796 w 5867895"/>
                <a:gd name="connsiteY4" fmla="*/ 2123774 h 3241269"/>
                <a:gd name="connsiteX5" fmla="*/ 584042 w 5867895"/>
                <a:gd name="connsiteY5" fmla="*/ 2115154 h 3241269"/>
                <a:gd name="connsiteX6" fmla="*/ 831980 w 5867895"/>
                <a:gd name="connsiteY6" fmla="*/ 2237153 h 3241269"/>
                <a:gd name="connsiteX7" fmla="*/ 1086891 w 5867895"/>
                <a:gd name="connsiteY7" fmla="*/ 1605170 h 3241269"/>
                <a:gd name="connsiteX8" fmla="*/ 737808 w 5867895"/>
                <a:gd name="connsiteY8" fmla="*/ 1592580 h 3241269"/>
                <a:gd name="connsiteX9" fmla="*/ 1387903 w 5867895"/>
                <a:gd name="connsiteY9" fmla="*/ 1171537 h 3241269"/>
                <a:gd name="connsiteX10" fmla="*/ 1391550 w 5867895"/>
                <a:gd name="connsiteY10" fmla="*/ 1381703 h 3241269"/>
                <a:gd name="connsiteX11" fmla="*/ 2098917 w 5867895"/>
                <a:gd name="connsiteY11" fmla="*/ 1241430 h 3241269"/>
                <a:gd name="connsiteX12" fmla="*/ 2409937 w 5867895"/>
                <a:gd name="connsiteY12" fmla="*/ 847088 h 3241269"/>
                <a:gd name="connsiteX13" fmla="*/ 2170328 w 5867895"/>
                <a:gd name="connsiteY13" fmla="*/ 844342 h 3241269"/>
                <a:gd name="connsiteX14" fmla="*/ 2537480 w 5867895"/>
                <a:gd name="connsiteY14" fmla="*/ 589427 h 3241269"/>
                <a:gd name="connsiteX15" fmla="*/ 2547077 w 5867895"/>
                <a:gd name="connsiteY15" fmla="*/ 781358 h 3241269"/>
                <a:gd name="connsiteX16" fmla="*/ 3137189 w 5867895"/>
                <a:gd name="connsiteY16" fmla="*/ 694192 h 3241269"/>
                <a:gd name="connsiteX17" fmla="*/ 3454923 w 5867895"/>
                <a:gd name="connsiteY17" fmla="*/ 442057 h 3241269"/>
                <a:gd name="connsiteX18" fmla="*/ 3210537 w 5867895"/>
                <a:gd name="connsiteY18" fmla="*/ 400993 h 3241269"/>
                <a:gd name="connsiteX19" fmla="*/ 3536891 w 5867895"/>
                <a:gd name="connsiteY19" fmla="*/ 225402 h 3241269"/>
                <a:gd name="connsiteX20" fmla="*/ 3556003 w 5867895"/>
                <a:gd name="connsiteY20" fmla="*/ 401090 h 3241269"/>
                <a:gd name="connsiteX21" fmla="*/ 3953866 w 5867895"/>
                <a:gd name="connsiteY21" fmla="*/ 385851 h 3241269"/>
                <a:gd name="connsiteX22" fmla="*/ 4469337 w 5867895"/>
                <a:gd name="connsiteY22" fmla="*/ 174653 h 3241269"/>
                <a:gd name="connsiteX23" fmla="*/ 4397701 w 5867895"/>
                <a:gd name="connsiteY23" fmla="*/ 24018 h 3241269"/>
                <a:gd name="connsiteX24" fmla="*/ 4777388 w 5867895"/>
                <a:gd name="connsiteY24" fmla="*/ 43098 h 3241269"/>
                <a:gd name="connsiteX25" fmla="*/ 4983906 w 5867895"/>
                <a:gd name="connsiteY25" fmla="*/ 109085 h 3241269"/>
                <a:gd name="connsiteX26" fmla="*/ 5396619 w 5867895"/>
                <a:gd name="connsiteY26" fmla="*/ 17335 h 3241269"/>
                <a:gd name="connsiteX27" fmla="*/ 5867895 w 5867895"/>
                <a:gd name="connsiteY27" fmla="*/ 375520 h 3241269"/>
                <a:gd name="connsiteX28" fmla="*/ 1654114 w 5867895"/>
                <a:gd name="connsiteY28" fmla="*/ 3241269 h 3241269"/>
                <a:gd name="connsiteX29" fmla="*/ 233927 w 5867895"/>
                <a:gd name="connsiteY29" fmla="*/ 2873624 h 3241269"/>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60123 w 5867895"/>
                <a:gd name="connsiteY23" fmla="*/ 94365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06887 w 5867895"/>
                <a:gd name="connsiteY23" fmla="*/ 66182 h 3223934"/>
                <a:gd name="connsiteX24" fmla="*/ 4777388 w 5867895"/>
                <a:gd name="connsiteY24" fmla="*/ 25763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60497 h 3228142"/>
                <a:gd name="connsiteX1" fmla="*/ 364514 w 5867895"/>
                <a:gd name="connsiteY1" fmla="*/ 2713122 h 3228142"/>
                <a:gd name="connsiteX2" fmla="*/ 272764 w 5867895"/>
                <a:gd name="connsiteY2" fmla="*/ 2446911 h 3228142"/>
                <a:gd name="connsiteX3" fmla="*/ 0 w 5867895"/>
                <a:gd name="connsiteY3" fmla="*/ 2393160 h 3228142"/>
                <a:gd name="connsiteX4" fmla="*/ 150796 w 5867895"/>
                <a:gd name="connsiteY4" fmla="*/ 2110647 h 3228142"/>
                <a:gd name="connsiteX5" fmla="*/ 584042 w 5867895"/>
                <a:gd name="connsiteY5" fmla="*/ 2102027 h 3228142"/>
                <a:gd name="connsiteX6" fmla="*/ 831980 w 5867895"/>
                <a:gd name="connsiteY6" fmla="*/ 2224026 h 3228142"/>
                <a:gd name="connsiteX7" fmla="*/ 1086891 w 5867895"/>
                <a:gd name="connsiteY7" fmla="*/ 1592043 h 3228142"/>
                <a:gd name="connsiteX8" fmla="*/ 737808 w 5867895"/>
                <a:gd name="connsiteY8" fmla="*/ 1579453 h 3228142"/>
                <a:gd name="connsiteX9" fmla="*/ 1387903 w 5867895"/>
                <a:gd name="connsiteY9" fmla="*/ 1158410 h 3228142"/>
                <a:gd name="connsiteX10" fmla="*/ 1391550 w 5867895"/>
                <a:gd name="connsiteY10" fmla="*/ 1368576 h 3228142"/>
                <a:gd name="connsiteX11" fmla="*/ 2098917 w 5867895"/>
                <a:gd name="connsiteY11" fmla="*/ 1228303 h 3228142"/>
                <a:gd name="connsiteX12" fmla="*/ 2409937 w 5867895"/>
                <a:gd name="connsiteY12" fmla="*/ 833961 h 3228142"/>
                <a:gd name="connsiteX13" fmla="*/ 2170328 w 5867895"/>
                <a:gd name="connsiteY13" fmla="*/ 831215 h 3228142"/>
                <a:gd name="connsiteX14" fmla="*/ 2537480 w 5867895"/>
                <a:gd name="connsiteY14" fmla="*/ 576300 h 3228142"/>
                <a:gd name="connsiteX15" fmla="*/ 2547077 w 5867895"/>
                <a:gd name="connsiteY15" fmla="*/ 768231 h 3228142"/>
                <a:gd name="connsiteX16" fmla="*/ 3137189 w 5867895"/>
                <a:gd name="connsiteY16" fmla="*/ 681065 h 3228142"/>
                <a:gd name="connsiteX17" fmla="*/ 3454923 w 5867895"/>
                <a:gd name="connsiteY17" fmla="*/ 428930 h 3228142"/>
                <a:gd name="connsiteX18" fmla="*/ 3210537 w 5867895"/>
                <a:gd name="connsiteY18" fmla="*/ 387866 h 3228142"/>
                <a:gd name="connsiteX19" fmla="*/ 3536891 w 5867895"/>
                <a:gd name="connsiteY19" fmla="*/ 212275 h 3228142"/>
                <a:gd name="connsiteX20" fmla="*/ 3556003 w 5867895"/>
                <a:gd name="connsiteY20" fmla="*/ 387963 h 3228142"/>
                <a:gd name="connsiteX21" fmla="*/ 3953866 w 5867895"/>
                <a:gd name="connsiteY21" fmla="*/ 372724 h 3228142"/>
                <a:gd name="connsiteX22" fmla="*/ 4469337 w 5867895"/>
                <a:gd name="connsiteY22" fmla="*/ 161526 h 3228142"/>
                <a:gd name="connsiteX23" fmla="*/ 4306887 w 5867895"/>
                <a:gd name="connsiteY23" fmla="*/ 70390 h 3228142"/>
                <a:gd name="connsiteX24" fmla="*/ 4777388 w 5867895"/>
                <a:gd name="connsiteY24" fmla="*/ 29971 h 3228142"/>
                <a:gd name="connsiteX25" fmla="*/ 4983906 w 5867895"/>
                <a:gd name="connsiteY25" fmla="*/ 95958 h 3228142"/>
                <a:gd name="connsiteX26" fmla="*/ 5396619 w 5867895"/>
                <a:gd name="connsiteY26" fmla="*/ 4208 h 3228142"/>
                <a:gd name="connsiteX27" fmla="*/ 5867895 w 5867895"/>
                <a:gd name="connsiteY27" fmla="*/ 362393 h 3228142"/>
                <a:gd name="connsiteX28" fmla="*/ 1654114 w 5867895"/>
                <a:gd name="connsiteY28" fmla="*/ 3228142 h 3228142"/>
                <a:gd name="connsiteX29" fmla="*/ 233927 w 5867895"/>
                <a:gd name="connsiteY29" fmla="*/ 2860497 h 3228142"/>
                <a:gd name="connsiteX0" fmla="*/ 233927 w 5867895"/>
                <a:gd name="connsiteY0" fmla="*/ 2857112 h 3224757"/>
                <a:gd name="connsiteX1" fmla="*/ 364514 w 5867895"/>
                <a:gd name="connsiteY1" fmla="*/ 2709737 h 3224757"/>
                <a:gd name="connsiteX2" fmla="*/ 272764 w 5867895"/>
                <a:gd name="connsiteY2" fmla="*/ 2443526 h 3224757"/>
                <a:gd name="connsiteX3" fmla="*/ 0 w 5867895"/>
                <a:gd name="connsiteY3" fmla="*/ 2389775 h 3224757"/>
                <a:gd name="connsiteX4" fmla="*/ 150796 w 5867895"/>
                <a:gd name="connsiteY4" fmla="*/ 2107262 h 3224757"/>
                <a:gd name="connsiteX5" fmla="*/ 584042 w 5867895"/>
                <a:gd name="connsiteY5" fmla="*/ 2098642 h 3224757"/>
                <a:gd name="connsiteX6" fmla="*/ 831980 w 5867895"/>
                <a:gd name="connsiteY6" fmla="*/ 2220641 h 3224757"/>
                <a:gd name="connsiteX7" fmla="*/ 1086891 w 5867895"/>
                <a:gd name="connsiteY7" fmla="*/ 1588658 h 3224757"/>
                <a:gd name="connsiteX8" fmla="*/ 737808 w 5867895"/>
                <a:gd name="connsiteY8" fmla="*/ 1576068 h 3224757"/>
                <a:gd name="connsiteX9" fmla="*/ 1387903 w 5867895"/>
                <a:gd name="connsiteY9" fmla="*/ 1155025 h 3224757"/>
                <a:gd name="connsiteX10" fmla="*/ 1391550 w 5867895"/>
                <a:gd name="connsiteY10" fmla="*/ 1365191 h 3224757"/>
                <a:gd name="connsiteX11" fmla="*/ 2098917 w 5867895"/>
                <a:gd name="connsiteY11" fmla="*/ 1224918 h 3224757"/>
                <a:gd name="connsiteX12" fmla="*/ 2409937 w 5867895"/>
                <a:gd name="connsiteY12" fmla="*/ 830576 h 3224757"/>
                <a:gd name="connsiteX13" fmla="*/ 2170328 w 5867895"/>
                <a:gd name="connsiteY13" fmla="*/ 827830 h 3224757"/>
                <a:gd name="connsiteX14" fmla="*/ 2537480 w 5867895"/>
                <a:gd name="connsiteY14" fmla="*/ 572915 h 3224757"/>
                <a:gd name="connsiteX15" fmla="*/ 2547077 w 5867895"/>
                <a:gd name="connsiteY15" fmla="*/ 764846 h 3224757"/>
                <a:gd name="connsiteX16" fmla="*/ 3137189 w 5867895"/>
                <a:gd name="connsiteY16" fmla="*/ 677680 h 3224757"/>
                <a:gd name="connsiteX17" fmla="*/ 3454923 w 5867895"/>
                <a:gd name="connsiteY17" fmla="*/ 425545 h 3224757"/>
                <a:gd name="connsiteX18" fmla="*/ 3210537 w 5867895"/>
                <a:gd name="connsiteY18" fmla="*/ 384481 h 3224757"/>
                <a:gd name="connsiteX19" fmla="*/ 3536891 w 5867895"/>
                <a:gd name="connsiteY19" fmla="*/ 208890 h 3224757"/>
                <a:gd name="connsiteX20" fmla="*/ 3556003 w 5867895"/>
                <a:gd name="connsiteY20" fmla="*/ 384578 h 3224757"/>
                <a:gd name="connsiteX21" fmla="*/ 3953866 w 5867895"/>
                <a:gd name="connsiteY21" fmla="*/ 369339 h 3224757"/>
                <a:gd name="connsiteX22" fmla="*/ 4469337 w 5867895"/>
                <a:gd name="connsiteY22" fmla="*/ 158141 h 3224757"/>
                <a:gd name="connsiteX23" fmla="*/ 4328807 w 5867895"/>
                <a:gd name="connsiteY23" fmla="*/ 82663 h 3224757"/>
                <a:gd name="connsiteX24" fmla="*/ 4777388 w 5867895"/>
                <a:gd name="connsiteY24" fmla="*/ 26586 h 3224757"/>
                <a:gd name="connsiteX25" fmla="*/ 4983906 w 5867895"/>
                <a:gd name="connsiteY25" fmla="*/ 92573 h 3224757"/>
                <a:gd name="connsiteX26" fmla="*/ 5396619 w 5867895"/>
                <a:gd name="connsiteY26" fmla="*/ 823 h 3224757"/>
                <a:gd name="connsiteX27" fmla="*/ 5867895 w 5867895"/>
                <a:gd name="connsiteY27" fmla="*/ 359008 h 3224757"/>
                <a:gd name="connsiteX28" fmla="*/ 1654114 w 5867895"/>
                <a:gd name="connsiteY28" fmla="*/ 3224757 h 3224757"/>
                <a:gd name="connsiteX29" fmla="*/ 233927 w 5867895"/>
                <a:gd name="connsiteY29" fmla="*/ 2857112 h 3224757"/>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61963 h 3229608"/>
                <a:gd name="connsiteX1" fmla="*/ 364514 w 5867895"/>
                <a:gd name="connsiteY1" fmla="*/ 2714588 h 3229608"/>
                <a:gd name="connsiteX2" fmla="*/ 272764 w 5867895"/>
                <a:gd name="connsiteY2" fmla="*/ 2448377 h 3229608"/>
                <a:gd name="connsiteX3" fmla="*/ 0 w 5867895"/>
                <a:gd name="connsiteY3" fmla="*/ 2394626 h 3229608"/>
                <a:gd name="connsiteX4" fmla="*/ 150796 w 5867895"/>
                <a:gd name="connsiteY4" fmla="*/ 2112113 h 3229608"/>
                <a:gd name="connsiteX5" fmla="*/ 584042 w 5867895"/>
                <a:gd name="connsiteY5" fmla="*/ 2103493 h 3229608"/>
                <a:gd name="connsiteX6" fmla="*/ 831980 w 5867895"/>
                <a:gd name="connsiteY6" fmla="*/ 2225492 h 3229608"/>
                <a:gd name="connsiteX7" fmla="*/ 1086891 w 5867895"/>
                <a:gd name="connsiteY7" fmla="*/ 1593509 h 3229608"/>
                <a:gd name="connsiteX8" fmla="*/ 737808 w 5867895"/>
                <a:gd name="connsiteY8" fmla="*/ 1580919 h 3229608"/>
                <a:gd name="connsiteX9" fmla="*/ 1387903 w 5867895"/>
                <a:gd name="connsiteY9" fmla="*/ 1159876 h 3229608"/>
                <a:gd name="connsiteX10" fmla="*/ 1391550 w 5867895"/>
                <a:gd name="connsiteY10" fmla="*/ 1370042 h 3229608"/>
                <a:gd name="connsiteX11" fmla="*/ 2098917 w 5867895"/>
                <a:gd name="connsiteY11" fmla="*/ 1229769 h 3229608"/>
                <a:gd name="connsiteX12" fmla="*/ 2409937 w 5867895"/>
                <a:gd name="connsiteY12" fmla="*/ 835427 h 3229608"/>
                <a:gd name="connsiteX13" fmla="*/ 2170328 w 5867895"/>
                <a:gd name="connsiteY13" fmla="*/ 832681 h 3229608"/>
                <a:gd name="connsiteX14" fmla="*/ 2537480 w 5867895"/>
                <a:gd name="connsiteY14" fmla="*/ 577766 h 3229608"/>
                <a:gd name="connsiteX15" fmla="*/ 2547077 w 5867895"/>
                <a:gd name="connsiteY15" fmla="*/ 769697 h 3229608"/>
                <a:gd name="connsiteX16" fmla="*/ 3137189 w 5867895"/>
                <a:gd name="connsiteY16" fmla="*/ 682531 h 3229608"/>
                <a:gd name="connsiteX17" fmla="*/ 3454923 w 5867895"/>
                <a:gd name="connsiteY17" fmla="*/ 430396 h 3229608"/>
                <a:gd name="connsiteX18" fmla="*/ 3210537 w 5867895"/>
                <a:gd name="connsiteY18" fmla="*/ 389332 h 3229608"/>
                <a:gd name="connsiteX19" fmla="*/ 3536891 w 5867895"/>
                <a:gd name="connsiteY19" fmla="*/ 213741 h 3229608"/>
                <a:gd name="connsiteX20" fmla="*/ 3556003 w 5867895"/>
                <a:gd name="connsiteY20" fmla="*/ 389429 h 3229608"/>
                <a:gd name="connsiteX21" fmla="*/ 3953866 w 5867895"/>
                <a:gd name="connsiteY21" fmla="*/ 374190 h 3229608"/>
                <a:gd name="connsiteX22" fmla="*/ 4469337 w 5867895"/>
                <a:gd name="connsiteY22" fmla="*/ 162992 h 3229608"/>
                <a:gd name="connsiteX23" fmla="*/ 4328807 w 5867895"/>
                <a:gd name="connsiteY23" fmla="*/ 87514 h 3229608"/>
                <a:gd name="connsiteX24" fmla="*/ 4777388 w 5867895"/>
                <a:gd name="connsiteY24" fmla="*/ 31437 h 3229608"/>
                <a:gd name="connsiteX25" fmla="*/ 4983906 w 5867895"/>
                <a:gd name="connsiteY25" fmla="*/ 97424 h 3229608"/>
                <a:gd name="connsiteX26" fmla="*/ 5396619 w 5867895"/>
                <a:gd name="connsiteY26" fmla="*/ 5674 h 3229608"/>
                <a:gd name="connsiteX27" fmla="*/ 5867895 w 5867895"/>
                <a:gd name="connsiteY27" fmla="*/ 363859 h 3229608"/>
                <a:gd name="connsiteX28" fmla="*/ 1654114 w 5867895"/>
                <a:gd name="connsiteY28" fmla="*/ 3229608 h 3229608"/>
                <a:gd name="connsiteX29" fmla="*/ 233927 w 5867895"/>
                <a:gd name="connsiteY29" fmla="*/ 2861963 h 3229608"/>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469337 w 5867895"/>
                <a:gd name="connsiteY22" fmla="*/ 157318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54187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233927 w 5867895"/>
                <a:gd name="connsiteY0" fmla="*/ 2856289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233927 w 5867895"/>
                <a:gd name="connsiteY29" fmla="*/ 2856289 h 3223934"/>
                <a:gd name="connsiteX0" fmla="*/ 130336 w 5867895"/>
                <a:gd name="connsiteY0" fmla="*/ 2884464 h 3223934"/>
                <a:gd name="connsiteX1" fmla="*/ 364514 w 5867895"/>
                <a:gd name="connsiteY1" fmla="*/ 2708914 h 3223934"/>
                <a:gd name="connsiteX2" fmla="*/ 272764 w 5867895"/>
                <a:gd name="connsiteY2" fmla="*/ 2442703 h 3223934"/>
                <a:gd name="connsiteX3" fmla="*/ 0 w 5867895"/>
                <a:gd name="connsiteY3" fmla="*/ 2388952 h 3223934"/>
                <a:gd name="connsiteX4" fmla="*/ 150796 w 5867895"/>
                <a:gd name="connsiteY4" fmla="*/ 2106439 h 3223934"/>
                <a:gd name="connsiteX5" fmla="*/ 584042 w 5867895"/>
                <a:gd name="connsiteY5" fmla="*/ 2097819 h 3223934"/>
                <a:gd name="connsiteX6" fmla="*/ 831980 w 5867895"/>
                <a:gd name="connsiteY6" fmla="*/ 2219818 h 3223934"/>
                <a:gd name="connsiteX7" fmla="*/ 1086891 w 5867895"/>
                <a:gd name="connsiteY7" fmla="*/ 1587835 h 3223934"/>
                <a:gd name="connsiteX8" fmla="*/ 737808 w 5867895"/>
                <a:gd name="connsiteY8" fmla="*/ 1575245 h 3223934"/>
                <a:gd name="connsiteX9" fmla="*/ 1387903 w 5867895"/>
                <a:gd name="connsiteY9" fmla="*/ 1154202 h 3223934"/>
                <a:gd name="connsiteX10" fmla="*/ 1391550 w 5867895"/>
                <a:gd name="connsiteY10" fmla="*/ 1364368 h 3223934"/>
                <a:gd name="connsiteX11" fmla="*/ 2098917 w 5867895"/>
                <a:gd name="connsiteY11" fmla="*/ 1224095 h 3223934"/>
                <a:gd name="connsiteX12" fmla="*/ 2409937 w 5867895"/>
                <a:gd name="connsiteY12" fmla="*/ 829753 h 3223934"/>
                <a:gd name="connsiteX13" fmla="*/ 2170328 w 5867895"/>
                <a:gd name="connsiteY13" fmla="*/ 827007 h 3223934"/>
                <a:gd name="connsiteX14" fmla="*/ 2537480 w 5867895"/>
                <a:gd name="connsiteY14" fmla="*/ 572092 h 3223934"/>
                <a:gd name="connsiteX15" fmla="*/ 2547077 w 5867895"/>
                <a:gd name="connsiteY15" fmla="*/ 764023 h 3223934"/>
                <a:gd name="connsiteX16" fmla="*/ 3137189 w 5867895"/>
                <a:gd name="connsiteY16" fmla="*/ 676857 h 3223934"/>
                <a:gd name="connsiteX17" fmla="*/ 3454923 w 5867895"/>
                <a:gd name="connsiteY17" fmla="*/ 424722 h 3223934"/>
                <a:gd name="connsiteX18" fmla="*/ 3210537 w 5867895"/>
                <a:gd name="connsiteY18" fmla="*/ 383658 h 3223934"/>
                <a:gd name="connsiteX19" fmla="*/ 3536891 w 5867895"/>
                <a:gd name="connsiteY19" fmla="*/ 208067 h 3223934"/>
                <a:gd name="connsiteX20" fmla="*/ 3556003 w 5867895"/>
                <a:gd name="connsiteY20" fmla="*/ 383755 h 3223934"/>
                <a:gd name="connsiteX21" fmla="*/ 3953866 w 5867895"/>
                <a:gd name="connsiteY21" fmla="*/ 368516 h 3223934"/>
                <a:gd name="connsiteX22" fmla="*/ 4519441 w 5867895"/>
                <a:gd name="connsiteY22" fmla="*/ 144793 h 3223934"/>
                <a:gd name="connsiteX23" fmla="*/ 4328807 w 5867895"/>
                <a:gd name="connsiteY23" fmla="*/ 81840 h 3223934"/>
                <a:gd name="connsiteX24" fmla="*/ 4702231 w 5867895"/>
                <a:gd name="connsiteY24" fmla="*/ 50815 h 3223934"/>
                <a:gd name="connsiteX25" fmla="*/ 4983906 w 5867895"/>
                <a:gd name="connsiteY25" fmla="*/ 91750 h 3223934"/>
                <a:gd name="connsiteX26" fmla="*/ 5396619 w 5867895"/>
                <a:gd name="connsiteY26" fmla="*/ 0 h 3223934"/>
                <a:gd name="connsiteX27" fmla="*/ 5867895 w 5867895"/>
                <a:gd name="connsiteY27" fmla="*/ 358185 h 3223934"/>
                <a:gd name="connsiteX28" fmla="*/ 1654114 w 5867895"/>
                <a:gd name="connsiteY28" fmla="*/ 3223934 h 3223934"/>
                <a:gd name="connsiteX29" fmla="*/ 130336 w 5867895"/>
                <a:gd name="connsiteY29"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0336 w 5867895"/>
                <a:gd name="connsiteY0" fmla="*/ 2884464 h 3223934"/>
                <a:gd name="connsiteX1" fmla="*/ 272764 w 5867895"/>
                <a:gd name="connsiteY1" fmla="*/ 2442703 h 3223934"/>
                <a:gd name="connsiteX2" fmla="*/ 0 w 5867895"/>
                <a:gd name="connsiteY2" fmla="*/ 2388952 h 3223934"/>
                <a:gd name="connsiteX3" fmla="*/ 150796 w 5867895"/>
                <a:gd name="connsiteY3" fmla="*/ 2106439 h 3223934"/>
                <a:gd name="connsiteX4" fmla="*/ 584042 w 5867895"/>
                <a:gd name="connsiteY4" fmla="*/ 2097819 h 3223934"/>
                <a:gd name="connsiteX5" fmla="*/ 831980 w 5867895"/>
                <a:gd name="connsiteY5" fmla="*/ 2219818 h 3223934"/>
                <a:gd name="connsiteX6" fmla="*/ 1086891 w 5867895"/>
                <a:gd name="connsiteY6" fmla="*/ 1587835 h 3223934"/>
                <a:gd name="connsiteX7" fmla="*/ 737808 w 5867895"/>
                <a:gd name="connsiteY7" fmla="*/ 1575245 h 3223934"/>
                <a:gd name="connsiteX8" fmla="*/ 1387903 w 5867895"/>
                <a:gd name="connsiteY8" fmla="*/ 1154202 h 3223934"/>
                <a:gd name="connsiteX9" fmla="*/ 1391550 w 5867895"/>
                <a:gd name="connsiteY9" fmla="*/ 1364368 h 3223934"/>
                <a:gd name="connsiteX10" fmla="*/ 2098917 w 5867895"/>
                <a:gd name="connsiteY10" fmla="*/ 1224095 h 3223934"/>
                <a:gd name="connsiteX11" fmla="*/ 2409937 w 5867895"/>
                <a:gd name="connsiteY11" fmla="*/ 829753 h 3223934"/>
                <a:gd name="connsiteX12" fmla="*/ 2170328 w 5867895"/>
                <a:gd name="connsiteY12" fmla="*/ 827007 h 3223934"/>
                <a:gd name="connsiteX13" fmla="*/ 2537480 w 5867895"/>
                <a:gd name="connsiteY13" fmla="*/ 572092 h 3223934"/>
                <a:gd name="connsiteX14" fmla="*/ 2547077 w 5867895"/>
                <a:gd name="connsiteY14" fmla="*/ 764023 h 3223934"/>
                <a:gd name="connsiteX15" fmla="*/ 3137189 w 5867895"/>
                <a:gd name="connsiteY15" fmla="*/ 676857 h 3223934"/>
                <a:gd name="connsiteX16" fmla="*/ 3454923 w 5867895"/>
                <a:gd name="connsiteY16" fmla="*/ 424722 h 3223934"/>
                <a:gd name="connsiteX17" fmla="*/ 3210537 w 5867895"/>
                <a:gd name="connsiteY17" fmla="*/ 383658 h 3223934"/>
                <a:gd name="connsiteX18" fmla="*/ 3536891 w 5867895"/>
                <a:gd name="connsiteY18" fmla="*/ 208067 h 3223934"/>
                <a:gd name="connsiteX19" fmla="*/ 3556003 w 5867895"/>
                <a:gd name="connsiteY19" fmla="*/ 383755 h 3223934"/>
                <a:gd name="connsiteX20" fmla="*/ 3953866 w 5867895"/>
                <a:gd name="connsiteY20" fmla="*/ 368516 h 3223934"/>
                <a:gd name="connsiteX21" fmla="*/ 4519441 w 5867895"/>
                <a:gd name="connsiteY21" fmla="*/ 144793 h 3223934"/>
                <a:gd name="connsiteX22" fmla="*/ 4328807 w 5867895"/>
                <a:gd name="connsiteY22" fmla="*/ 81840 h 3223934"/>
                <a:gd name="connsiteX23" fmla="*/ 4702231 w 5867895"/>
                <a:gd name="connsiteY23" fmla="*/ 50815 h 3223934"/>
                <a:gd name="connsiteX24" fmla="*/ 4983906 w 5867895"/>
                <a:gd name="connsiteY24" fmla="*/ 91750 h 3223934"/>
                <a:gd name="connsiteX25" fmla="*/ 5396619 w 5867895"/>
                <a:gd name="connsiteY25" fmla="*/ 0 h 3223934"/>
                <a:gd name="connsiteX26" fmla="*/ 5867895 w 5867895"/>
                <a:gd name="connsiteY26" fmla="*/ 358185 h 3223934"/>
                <a:gd name="connsiteX27" fmla="*/ 1654114 w 5867895"/>
                <a:gd name="connsiteY27" fmla="*/ 3223934 h 3223934"/>
                <a:gd name="connsiteX28" fmla="*/ 130336 w 5867895"/>
                <a:gd name="connsiteY28" fmla="*/ 2884464 h 3223934"/>
                <a:gd name="connsiteX0" fmla="*/ 135633 w 5873192"/>
                <a:gd name="connsiteY0" fmla="*/ 2884464 h 3223934"/>
                <a:gd name="connsiteX1" fmla="*/ 116201 w 5873192"/>
                <a:gd name="connsiteY1" fmla="*/ 2611749 h 3223934"/>
                <a:gd name="connsiteX2" fmla="*/ 5297 w 5873192"/>
                <a:gd name="connsiteY2" fmla="*/ 2388952 h 3223934"/>
                <a:gd name="connsiteX3" fmla="*/ 156093 w 5873192"/>
                <a:gd name="connsiteY3" fmla="*/ 2106439 h 3223934"/>
                <a:gd name="connsiteX4" fmla="*/ 589339 w 5873192"/>
                <a:gd name="connsiteY4" fmla="*/ 2097819 h 3223934"/>
                <a:gd name="connsiteX5" fmla="*/ 837277 w 5873192"/>
                <a:gd name="connsiteY5" fmla="*/ 2219818 h 3223934"/>
                <a:gd name="connsiteX6" fmla="*/ 1092188 w 5873192"/>
                <a:gd name="connsiteY6" fmla="*/ 1587835 h 3223934"/>
                <a:gd name="connsiteX7" fmla="*/ 743105 w 5873192"/>
                <a:gd name="connsiteY7" fmla="*/ 1575245 h 3223934"/>
                <a:gd name="connsiteX8" fmla="*/ 1393200 w 5873192"/>
                <a:gd name="connsiteY8" fmla="*/ 1154202 h 3223934"/>
                <a:gd name="connsiteX9" fmla="*/ 1396847 w 5873192"/>
                <a:gd name="connsiteY9" fmla="*/ 1364368 h 3223934"/>
                <a:gd name="connsiteX10" fmla="*/ 2104214 w 5873192"/>
                <a:gd name="connsiteY10" fmla="*/ 1224095 h 3223934"/>
                <a:gd name="connsiteX11" fmla="*/ 2415234 w 5873192"/>
                <a:gd name="connsiteY11" fmla="*/ 829753 h 3223934"/>
                <a:gd name="connsiteX12" fmla="*/ 2175625 w 5873192"/>
                <a:gd name="connsiteY12" fmla="*/ 827007 h 3223934"/>
                <a:gd name="connsiteX13" fmla="*/ 2542777 w 5873192"/>
                <a:gd name="connsiteY13" fmla="*/ 572092 h 3223934"/>
                <a:gd name="connsiteX14" fmla="*/ 2552374 w 5873192"/>
                <a:gd name="connsiteY14" fmla="*/ 764023 h 3223934"/>
                <a:gd name="connsiteX15" fmla="*/ 3142486 w 5873192"/>
                <a:gd name="connsiteY15" fmla="*/ 676857 h 3223934"/>
                <a:gd name="connsiteX16" fmla="*/ 3460220 w 5873192"/>
                <a:gd name="connsiteY16" fmla="*/ 424722 h 3223934"/>
                <a:gd name="connsiteX17" fmla="*/ 3215834 w 5873192"/>
                <a:gd name="connsiteY17" fmla="*/ 383658 h 3223934"/>
                <a:gd name="connsiteX18" fmla="*/ 3542188 w 5873192"/>
                <a:gd name="connsiteY18" fmla="*/ 208067 h 3223934"/>
                <a:gd name="connsiteX19" fmla="*/ 3561300 w 5873192"/>
                <a:gd name="connsiteY19" fmla="*/ 383755 h 3223934"/>
                <a:gd name="connsiteX20" fmla="*/ 3959163 w 5873192"/>
                <a:gd name="connsiteY20" fmla="*/ 368516 h 3223934"/>
                <a:gd name="connsiteX21" fmla="*/ 4524738 w 5873192"/>
                <a:gd name="connsiteY21" fmla="*/ 144793 h 3223934"/>
                <a:gd name="connsiteX22" fmla="*/ 4334104 w 5873192"/>
                <a:gd name="connsiteY22" fmla="*/ 81840 h 3223934"/>
                <a:gd name="connsiteX23" fmla="*/ 4707528 w 5873192"/>
                <a:gd name="connsiteY23" fmla="*/ 50815 h 3223934"/>
                <a:gd name="connsiteX24" fmla="*/ 4989203 w 5873192"/>
                <a:gd name="connsiteY24" fmla="*/ 91750 h 3223934"/>
                <a:gd name="connsiteX25" fmla="*/ 5401916 w 5873192"/>
                <a:gd name="connsiteY25" fmla="*/ 0 h 3223934"/>
                <a:gd name="connsiteX26" fmla="*/ 5873192 w 5873192"/>
                <a:gd name="connsiteY26" fmla="*/ 358185 h 3223934"/>
                <a:gd name="connsiteX27" fmla="*/ 1659411 w 5873192"/>
                <a:gd name="connsiteY27" fmla="*/ 3223934 h 3223934"/>
                <a:gd name="connsiteX28" fmla="*/ 135633 w 5873192"/>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215540 w 5932639"/>
                <a:gd name="connsiteY3" fmla="*/ 2106439 h 3223934"/>
                <a:gd name="connsiteX4" fmla="*/ 648786 w 5932639"/>
                <a:gd name="connsiteY4" fmla="*/ 2097819 h 3223934"/>
                <a:gd name="connsiteX5" fmla="*/ 896724 w 5932639"/>
                <a:gd name="connsiteY5" fmla="*/ 2219818 h 3223934"/>
                <a:gd name="connsiteX6" fmla="*/ 1151635 w 5932639"/>
                <a:gd name="connsiteY6" fmla="*/ 1587835 h 3223934"/>
                <a:gd name="connsiteX7" fmla="*/ 802552 w 5932639"/>
                <a:gd name="connsiteY7" fmla="*/ 1575245 h 3223934"/>
                <a:gd name="connsiteX8" fmla="*/ 1452647 w 5932639"/>
                <a:gd name="connsiteY8" fmla="*/ 1154202 h 3223934"/>
                <a:gd name="connsiteX9" fmla="*/ 1456294 w 5932639"/>
                <a:gd name="connsiteY9" fmla="*/ 1364368 h 3223934"/>
                <a:gd name="connsiteX10" fmla="*/ 2163661 w 5932639"/>
                <a:gd name="connsiteY10" fmla="*/ 1224095 h 3223934"/>
                <a:gd name="connsiteX11" fmla="*/ 2474681 w 5932639"/>
                <a:gd name="connsiteY11" fmla="*/ 829753 h 3223934"/>
                <a:gd name="connsiteX12" fmla="*/ 2235072 w 5932639"/>
                <a:gd name="connsiteY12" fmla="*/ 827007 h 3223934"/>
                <a:gd name="connsiteX13" fmla="*/ 2602224 w 5932639"/>
                <a:gd name="connsiteY13" fmla="*/ 572092 h 3223934"/>
                <a:gd name="connsiteX14" fmla="*/ 2611821 w 5932639"/>
                <a:gd name="connsiteY14" fmla="*/ 764023 h 3223934"/>
                <a:gd name="connsiteX15" fmla="*/ 3201933 w 5932639"/>
                <a:gd name="connsiteY15" fmla="*/ 676857 h 3223934"/>
                <a:gd name="connsiteX16" fmla="*/ 3519667 w 5932639"/>
                <a:gd name="connsiteY16" fmla="*/ 424722 h 3223934"/>
                <a:gd name="connsiteX17" fmla="*/ 3275281 w 5932639"/>
                <a:gd name="connsiteY17" fmla="*/ 383658 h 3223934"/>
                <a:gd name="connsiteX18" fmla="*/ 3601635 w 5932639"/>
                <a:gd name="connsiteY18" fmla="*/ 208067 h 3223934"/>
                <a:gd name="connsiteX19" fmla="*/ 3620747 w 5932639"/>
                <a:gd name="connsiteY19" fmla="*/ 383755 h 3223934"/>
                <a:gd name="connsiteX20" fmla="*/ 4018610 w 5932639"/>
                <a:gd name="connsiteY20" fmla="*/ 368516 h 3223934"/>
                <a:gd name="connsiteX21" fmla="*/ 4584185 w 5932639"/>
                <a:gd name="connsiteY21" fmla="*/ 144793 h 3223934"/>
                <a:gd name="connsiteX22" fmla="*/ 4393551 w 5932639"/>
                <a:gd name="connsiteY22" fmla="*/ 81840 h 3223934"/>
                <a:gd name="connsiteX23" fmla="*/ 4766975 w 5932639"/>
                <a:gd name="connsiteY23" fmla="*/ 50815 h 3223934"/>
                <a:gd name="connsiteX24" fmla="*/ 5048650 w 5932639"/>
                <a:gd name="connsiteY24" fmla="*/ 91750 h 3223934"/>
                <a:gd name="connsiteX25" fmla="*/ 5461363 w 5932639"/>
                <a:gd name="connsiteY25" fmla="*/ 0 h 3223934"/>
                <a:gd name="connsiteX26" fmla="*/ 5932639 w 5932639"/>
                <a:gd name="connsiteY26" fmla="*/ 358185 h 3223934"/>
                <a:gd name="connsiteX27" fmla="*/ 1718858 w 5932639"/>
                <a:gd name="connsiteY27" fmla="*/ 3223934 h 3223934"/>
                <a:gd name="connsiteX28" fmla="*/ 195080 w 5932639"/>
                <a:gd name="connsiteY28"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648786 w 5932639"/>
                <a:gd name="connsiteY3" fmla="*/ 2097819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5080 w 5932639"/>
                <a:gd name="connsiteY0" fmla="*/ 2884464 h 3223934"/>
                <a:gd name="connsiteX1" fmla="*/ 175648 w 5932639"/>
                <a:gd name="connsiteY1" fmla="*/ 2611749 h 3223934"/>
                <a:gd name="connsiteX2" fmla="*/ 0 w 5932639"/>
                <a:gd name="connsiteY2" fmla="*/ 2501648 h 3223934"/>
                <a:gd name="connsiteX3" fmla="*/ 376862 w 5932639"/>
                <a:gd name="connsiteY3" fmla="*/ 2300673 h 3223934"/>
                <a:gd name="connsiteX4" fmla="*/ 896724 w 5932639"/>
                <a:gd name="connsiteY4" fmla="*/ 2219818 h 3223934"/>
                <a:gd name="connsiteX5" fmla="*/ 1151635 w 5932639"/>
                <a:gd name="connsiteY5" fmla="*/ 1587835 h 3223934"/>
                <a:gd name="connsiteX6" fmla="*/ 802552 w 5932639"/>
                <a:gd name="connsiteY6" fmla="*/ 1575245 h 3223934"/>
                <a:gd name="connsiteX7" fmla="*/ 1452647 w 5932639"/>
                <a:gd name="connsiteY7" fmla="*/ 1154202 h 3223934"/>
                <a:gd name="connsiteX8" fmla="*/ 1456294 w 5932639"/>
                <a:gd name="connsiteY8" fmla="*/ 1364368 h 3223934"/>
                <a:gd name="connsiteX9" fmla="*/ 2163661 w 5932639"/>
                <a:gd name="connsiteY9" fmla="*/ 1224095 h 3223934"/>
                <a:gd name="connsiteX10" fmla="*/ 2474681 w 5932639"/>
                <a:gd name="connsiteY10" fmla="*/ 829753 h 3223934"/>
                <a:gd name="connsiteX11" fmla="*/ 2235072 w 5932639"/>
                <a:gd name="connsiteY11" fmla="*/ 827007 h 3223934"/>
                <a:gd name="connsiteX12" fmla="*/ 2602224 w 5932639"/>
                <a:gd name="connsiteY12" fmla="*/ 572092 h 3223934"/>
                <a:gd name="connsiteX13" fmla="*/ 2611821 w 5932639"/>
                <a:gd name="connsiteY13" fmla="*/ 764023 h 3223934"/>
                <a:gd name="connsiteX14" fmla="*/ 3201933 w 5932639"/>
                <a:gd name="connsiteY14" fmla="*/ 676857 h 3223934"/>
                <a:gd name="connsiteX15" fmla="*/ 3519667 w 5932639"/>
                <a:gd name="connsiteY15" fmla="*/ 424722 h 3223934"/>
                <a:gd name="connsiteX16" fmla="*/ 3275281 w 5932639"/>
                <a:gd name="connsiteY16" fmla="*/ 383658 h 3223934"/>
                <a:gd name="connsiteX17" fmla="*/ 3601635 w 5932639"/>
                <a:gd name="connsiteY17" fmla="*/ 208067 h 3223934"/>
                <a:gd name="connsiteX18" fmla="*/ 3620747 w 5932639"/>
                <a:gd name="connsiteY18" fmla="*/ 383755 h 3223934"/>
                <a:gd name="connsiteX19" fmla="*/ 4018610 w 5932639"/>
                <a:gd name="connsiteY19" fmla="*/ 368516 h 3223934"/>
                <a:gd name="connsiteX20" fmla="*/ 4584185 w 5932639"/>
                <a:gd name="connsiteY20" fmla="*/ 144793 h 3223934"/>
                <a:gd name="connsiteX21" fmla="*/ 4393551 w 5932639"/>
                <a:gd name="connsiteY21" fmla="*/ 81840 h 3223934"/>
                <a:gd name="connsiteX22" fmla="*/ 4766975 w 5932639"/>
                <a:gd name="connsiteY22" fmla="*/ 50815 h 3223934"/>
                <a:gd name="connsiteX23" fmla="*/ 5048650 w 5932639"/>
                <a:gd name="connsiteY23" fmla="*/ 91750 h 3223934"/>
                <a:gd name="connsiteX24" fmla="*/ 5461363 w 5932639"/>
                <a:gd name="connsiteY24" fmla="*/ 0 h 3223934"/>
                <a:gd name="connsiteX25" fmla="*/ 5932639 w 5932639"/>
                <a:gd name="connsiteY25" fmla="*/ 358185 h 3223934"/>
                <a:gd name="connsiteX26" fmla="*/ 1718858 w 5932639"/>
                <a:gd name="connsiteY26" fmla="*/ 3223934 h 3223934"/>
                <a:gd name="connsiteX27" fmla="*/ 195080 w 5932639"/>
                <a:gd name="connsiteY27"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9432 w 5756991"/>
                <a:gd name="connsiteY0" fmla="*/ 2884464 h 3223934"/>
                <a:gd name="connsiteX1" fmla="*/ 0 w 5756991"/>
                <a:gd name="connsiteY1" fmla="*/ 2611749 h 3223934"/>
                <a:gd name="connsiteX2" fmla="*/ 201214 w 5756991"/>
                <a:gd name="connsiteY2" fmla="*/ 2300673 h 3223934"/>
                <a:gd name="connsiteX3" fmla="*/ 721076 w 5756991"/>
                <a:gd name="connsiteY3" fmla="*/ 2219818 h 3223934"/>
                <a:gd name="connsiteX4" fmla="*/ 975987 w 5756991"/>
                <a:gd name="connsiteY4" fmla="*/ 1587835 h 3223934"/>
                <a:gd name="connsiteX5" fmla="*/ 626904 w 5756991"/>
                <a:gd name="connsiteY5" fmla="*/ 1575245 h 3223934"/>
                <a:gd name="connsiteX6" fmla="*/ 1276999 w 5756991"/>
                <a:gd name="connsiteY6" fmla="*/ 1154202 h 3223934"/>
                <a:gd name="connsiteX7" fmla="*/ 1280646 w 5756991"/>
                <a:gd name="connsiteY7" fmla="*/ 1364368 h 3223934"/>
                <a:gd name="connsiteX8" fmla="*/ 1988013 w 5756991"/>
                <a:gd name="connsiteY8" fmla="*/ 1224095 h 3223934"/>
                <a:gd name="connsiteX9" fmla="*/ 2299033 w 5756991"/>
                <a:gd name="connsiteY9" fmla="*/ 829753 h 3223934"/>
                <a:gd name="connsiteX10" fmla="*/ 2059424 w 5756991"/>
                <a:gd name="connsiteY10" fmla="*/ 827007 h 3223934"/>
                <a:gd name="connsiteX11" fmla="*/ 2426576 w 5756991"/>
                <a:gd name="connsiteY11" fmla="*/ 572092 h 3223934"/>
                <a:gd name="connsiteX12" fmla="*/ 2436173 w 5756991"/>
                <a:gd name="connsiteY12" fmla="*/ 764023 h 3223934"/>
                <a:gd name="connsiteX13" fmla="*/ 3026285 w 5756991"/>
                <a:gd name="connsiteY13" fmla="*/ 676857 h 3223934"/>
                <a:gd name="connsiteX14" fmla="*/ 3344019 w 5756991"/>
                <a:gd name="connsiteY14" fmla="*/ 424722 h 3223934"/>
                <a:gd name="connsiteX15" fmla="*/ 3099633 w 5756991"/>
                <a:gd name="connsiteY15" fmla="*/ 383658 h 3223934"/>
                <a:gd name="connsiteX16" fmla="*/ 3425987 w 5756991"/>
                <a:gd name="connsiteY16" fmla="*/ 208067 h 3223934"/>
                <a:gd name="connsiteX17" fmla="*/ 3445099 w 5756991"/>
                <a:gd name="connsiteY17" fmla="*/ 383755 h 3223934"/>
                <a:gd name="connsiteX18" fmla="*/ 3842962 w 5756991"/>
                <a:gd name="connsiteY18" fmla="*/ 368516 h 3223934"/>
                <a:gd name="connsiteX19" fmla="*/ 4408537 w 5756991"/>
                <a:gd name="connsiteY19" fmla="*/ 144793 h 3223934"/>
                <a:gd name="connsiteX20" fmla="*/ 4217903 w 5756991"/>
                <a:gd name="connsiteY20" fmla="*/ 81840 h 3223934"/>
                <a:gd name="connsiteX21" fmla="*/ 4591327 w 5756991"/>
                <a:gd name="connsiteY21" fmla="*/ 50815 h 3223934"/>
                <a:gd name="connsiteX22" fmla="*/ 4873002 w 5756991"/>
                <a:gd name="connsiteY22" fmla="*/ 91750 h 3223934"/>
                <a:gd name="connsiteX23" fmla="*/ 5285715 w 5756991"/>
                <a:gd name="connsiteY23" fmla="*/ 0 h 3223934"/>
                <a:gd name="connsiteX24" fmla="*/ 5756991 w 5756991"/>
                <a:gd name="connsiteY24" fmla="*/ 358185 h 3223934"/>
                <a:gd name="connsiteX25" fmla="*/ 1543210 w 5756991"/>
                <a:gd name="connsiteY25" fmla="*/ 3223934 h 3223934"/>
                <a:gd name="connsiteX26" fmla="*/ 19432 w 5756991"/>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088268 w 5869272"/>
                <a:gd name="connsiteY4" fmla="*/ 158783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92927 w 5869272"/>
                <a:gd name="connsiteY7" fmla="*/ 1364368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389280 w 5869272"/>
                <a:gd name="connsiteY6" fmla="*/ 1154202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39185 w 5869272"/>
                <a:gd name="connsiteY5" fmla="*/ 1575245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298639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408704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752134 w 5869272"/>
                <a:gd name="connsiteY5" fmla="*/ 1772464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411314 w 5869272"/>
                <a:gd name="connsiteY9" fmla="*/ 829753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71705 w 5869272"/>
                <a:gd name="connsiteY10" fmla="*/ 82700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538857 w 5869272"/>
                <a:gd name="connsiteY11" fmla="*/ 572092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262404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474114 w 5869272"/>
                <a:gd name="connsiteY11" fmla="*/ 662249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548454 w 5869272"/>
                <a:gd name="connsiteY12" fmla="*/ 764023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519434 w 5869272"/>
                <a:gd name="connsiteY11" fmla="*/ 645344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632621 w 5869272"/>
                <a:gd name="connsiteY12" fmla="*/ 71894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36887 w 5869272"/>
                <a:gd name="connsiteY11" fmla="*/ 606260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15168 w 5869272"/>
                <a:gd name="connsiteY12" fmla="*/ 779075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456300 w 5869272"/>
                <a:gd name="connsiteY14" fmla="*/ 424722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211914 w 5869272"/>
                <a:gd name="connsiteY15" fmla="*/ 383658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38268 w 5869272"/>
                <a:gd name="connsiteY16" fmla="*/ 208067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38268 w 5869272"/>
                <a:gd name="connsiteY17" fmla="*/ 208067 h 3223934"/>
                <a:gd name="connsiteX18" fmla="*/ 3557380 w 5869272"/>
                <a:gd name="connsiteY18" fmla="*/ 383755 h 3223934"/>
                <a:gd name="connsiteX19" fmla="*/ 3955243 w 5869272"/>
                <a:gd name="connsiteY19" fmla="*/ 368516 h 3223934"/>
                <a:gd name="connsiteX20" fmla="*/ 4520818 w 5869272"/>
                <a:gd name="connsiteY20" fmla="*/ 144793 h 3223934"/>
                <a:gd name="connsiteX21" fmla="*/ 4330184 w 5869272"/>
                <a:gd name="connsiteY21" fmla="*/ 81840 h 3223934"/>
                <a:gd name="connsiteX22" fmla="*/ 4703608 w 5869272"/>
                <a:gd name="connsiteY22" fmla="*/ 50815 h 3223934"/>
                <a:gd name="connsiteX23" fmla="*/ 4985283 w 5869272"/>
                <a:gd name="connsiteY23" fmla="*/ 91750 h 3223934"/>
                <a:gd name="connsiteX24" fmla="*/ 5397996 w 5869272"/>
                <a:gd name="connsiteY24" fmla="*/ 0 h 3223934"/>
                <a:gd name="connsiteX25" fmla="*/ 5869272 w 5869272"/>
                <a:gd name="connsiteY25" fmla="*/ 358185 h 3223934"/>
                <a:gd name="connsiteX26" fmla="*/ 1655491 w 5869272"/>
                <a:gd name="connsiteY26" fmla="*/ 3223934 h 3223934"/>
                <a:gd name="connsiteX27" fmla="*/ 131713 w 5869272"/>
                <a:gd name="connsiteY27"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557380 w 5869272"/>
                <a:gd name="connsiteY17" fmla="*/ 383755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41789 w 5869272"/>
                <a:gd name="connsiteY16" fmla="*/ 273885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41119 w 5869272"/>
                <a:gd name="connsiteY14" fmla="*/ 462313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69272"/>
                <a:gd name="connsiteY0" fmla="*/ 2884464 h 3223934"/>
                <a:gd name="connsiteX1" fmla="*/ 112281 w 5869272"/>
                <a:gd name="connsiteY1" fmla="*/ 2611749 h 3223934"/>
                <a:gd name="connsiteX2" fmla="*/ 313495 w 5869272"/>
                <a:gd name="connsiteY2" fmla="*/ 2300673 h 3223934"/>
                <a:gd name="connsiteX3" fmla="*/ 833357 w 5869272"/>
                <a:gd name="connsiteY3" fmla="*/ 2219818 h 3223934"/>
                <a:gd name="connsiteX4" fmla="*/ 1204808 w 5869272"/>
                <a:gd name="connsiteY4" fmla="*/ 1599105 h 3223934"/>
                <a:gd name="connsiteX5" fmla="*/ 862199 w 5869272"/>
                <a:gd name="connsiteY5" fmla="*/ 1642863 h 3223934"/>
                <a:gd name="connsiteX6" fmla="*/ 1311588 w 5869272"/>
                <a:gd name="connsiteY6" fmla="*/ 1266898 h 3223934"/>
                <a:gd name="connsiteX7" fmla="*/ 1328183 w 5869272"/>
                <a:gd name="connsiteY7" fmla="*/ 1431985 h 3223934"/>
                <a:gd name="connsiteX8" fmla="*/ 2100294 w 5869272"/>
                <a:gd name="connsiteY8" fmla="*/ 1224095 h 3223934"/>
                <a:gd name="connsiteX9" fmla="*/ 2333622 w 5869272"/>
                <a:gd name="connsiteY9" fmla="*/ 908641 h 3223934"/>
                <a:gd name="connsiteX10" fmla="*/ 2106961 w 5869272"/>
                <a:gd name="connsiteY10" fmla="*/ 872087 h 3223934"/>
                <a:gd name="connsiteX11" fmla="*/ 2643797 w 5869272"/>
                <a:gd name="connsiteY11" fmla="*/ 645345 h 3223934"/>
                <a:gd name="connsiteX12" fmla="*/ 2528987 w 5869272"/>
                <a:gd name="connsiteY12" fmla="*/ 773062 h 3223934"/>
                <a:gd name="connsiteX13" fmla="*/ 3138566 w 5869272"/>
                <a:gd name="connsiteY13" fmla="*/ 676857 h 3223934"/>
                <a:gd name="connsiteX14" fmla="*/ 3373515 w 5869272"/>
                <a:gd name="connsiteY14" fmla="*/ 443517 h 3223934"/>
                <a:gd name="connsiteX15" fmla="*/ 3168720 w 5869272"/>
                <a:gd name="connsiteY15" fmla="*/ 449444 h 3223934"/>
                <a:gd name="connsiteX16" fmla="*/ 3584982 w 5869272"/>
                <a:gd name="connsiteY16" fmla="*/ 289548 h 3223934"/>
                <a:gd name="connsiteX17" fmla="*/ 3485392 w 5869272"/>
                <a:gd name="connsiteY17" fmla="*/ 430744 h 3223934"/>
                <a:gd name="connsiteX18" fmla="*/ 3955243 w 5869272"/>
                <a:gd name="connsiteY18" fmla="*/ 368516 h 3223934"/>
                <a:gd name="connsiteX19" fmla="*/ 4520818 w 5869272"/>
                <a:gd name="connsiteY19" fmla="*/ 144793 h 3223934"/>
                <a:gd name="connsiteX20" fmla="*/ 4330184 w 5869272"/>
                <a:gd name="connsiteY20" fmla="*/ 81840 h 3223934"/>
                <a:gd name="connsiteX21" fmla="*/ 4703608 w 5869272"/>
                <a:gd name="connsiteY21" fmla="*/ 50815 h 3223934"/>
                <a:gd name="connsiteX22" fmla="*/ 4985283 w 5869272"/>
                <a:gd name="connsiteY22" fmla="*/ 91750 h 3223934"/>
                <a:gd name="connsiteX23" fmla="*/ 5397996 w 5869272"/>
                <a:gd name="connsiteY23" fmla="*/ 0 h 3223934"/>
                <a:gd name="connsiteX24" fmla="*/ 5869272 w 5869272"/>
                <a:gd name="connsiteY24" fmla="*/ 358185 h 3223934"/>
                <a:gd name="connsiteX25" fmla="*/ 1655491 w 5869272"/>
                <a:gd name="connsiteY25" fmla="*/ 3223934 h 3223934"/>
                <a:gd name="connsiteX26" fmla="*/ 131713 w 5869272"/>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31713 w 5883670"/>
                <a:gd name="connsiteY0" fmla="*/ 2884464 h 3223934"/>
                <a:gd name="connsiteX1" fmla="*/ 112281 w 5883670"/>
                <a:gd name="connsiteY1" fmla="*/ 2611749 h 3223934"/>
                <a:gd name="connsiteX2" fmla="*/ 313495 w 5883670"/>
                <a:gd name="connsiteY2" fmla="*/ 2300673 h 3223934"/>
                <a:gd name="connsiteX3" fmla="*/ 833357 w 5883670"/>
                <a:gd name="connsiteY3" fmla="*/ 2219818 h 3223934"/>
                <a:gd name="connsiteX4" fmla="*/ 1204808 w 5883670"/>
                <a:gd name="connsiteY4" fmla="*/ 1599105 h 3223934"/>
                <a:gd name="connsiteX5" fmla="*/ 862199 w 5883670"/>
                <a:gd name="connsiteY5" fmla="*/ 1642863 h 3223934"/>
                <a:gd name="connsiteX6" fmla="*/ 1311588 w 5883670"/>
                <a:gd name="connsiteY6" fmla="*/ 1266898 h 3223934"/>
                <a:gd name="connsiteX7" fmla="*/ 1328183 w 5883670"/>
                <a:gd name="connsiteY7" fmla="*/ 1431985 h 3223934"/>
                <a:gd name="connsiteX8" fmla="*/ 2100294 w 5883670"/>
                <a:gd name="connsiteY8" fmla="*/ 1224095 h 3223934"/>
                <a:gd name="connsiteX9" fmla="*/ 2333622 w 5883670"/>
                <a:gd name="connsiteY9" fmla="*/ 908641 h 3223934"/>
                <a:gd name="connsiteX10" fmla="*/ 2106961 w 5883670"/>
                <a:gd name="connsiteY10" fmla="*/ 872087 h 3223934"/>
                <a:gd name="connsiteX11" fmla="*/ 2643797 w 5883670"/>
                <a:gd name="connsiteY11" fmla="*/ 645345 h 3223934"/>
                <a:gd name="connsiteX12" fmla="*/ 2528987 w 5883670"/>
                <a:gd name="connsiteY12" fmla="*/ 773062 h 3223934"/>
                <a:gd name="connsiteX13" fmla="*/ 3138566 w 5883670"/>
                <a:gd name="connsiteY13" fmla="*/ 676857 h 3223934"/>
                <a:gd name="connsiteX14" fmla="*/ 3373515 w 5883670"/>
                <a:gd name="connsiteY14" fmla="*/ 443517 h 3223934"/>
                <a:gd name="connsiteX15" fmla="*/ 3168720 w 5883670"/>
                <a:gd name="connsiteY15" fmla="*/ 449444 h 3223934"/>
                <a:gd name="connsiteX16" fmla="*/ 3584982 w 5883670"/>
                <a:gd name="connsiteY16" fmla="*/ 289548 h 3223934"/>
                <a:gd name="connsiteX17" fmla="*/ 3485392 w 5883670"/>
                <a:gd name="connsiteY17" fmla="*/ 430744 h 3223934"/>
                <a:gd name="connsiteX18" fmla="*/ 3955243 w 5883670"/>
                <a:gd name="connsiteY18" fmla="*/ 368516 h 3223934"/>
                <a:gd name="connsiteX19" fmla="*/ 4520818 w 5883670"/>
                <a:gd name="connsiteY19" fmla="*/ 144793 h 3223934"/>
                <a:gd name="connsiteX20" fmla="*/ 4330184 w 5883670"/>
                <a:gd name="connsiteY20" fmla="*/ 81840 h 3223934"/>
                <a:gd name="connsiteX21" fmla="*/ 4703608 w 5883670"/>
                <a:gd name="connsiteY21" fmla="*/ 50815 h 3223934"/>
                <a:gd name="connsiteX22" fmla="*/ 4985283 w 5883670"/>
                <a:gd name="connsiteY22" fmla="*/ 91750 h 3223934"/>
                <a:gd name="connsiteX23" fmla="*/ 5397996 w 5883670"/>
                <a:gd name="connsiteY23" fmla="*/ 0 h 3223934"/>
                <a:gd name="connsiteX24" fmla="*/ 5883670 w 5883670"/>
                <a:gd name="connsiteY24" fmla="*/ 320593 h 3223934"/>
                <a:gd name="connsiteX25" fmla="*/ 1655491 w 5883670"/>
                <a:gd name="connsiteY25" fmla="*/ 3223934 h 3223934"/>
                <a:gd name="connsiteX26" fmla="*/ 131713 w 5883670"/>
                <a:gd name="connsiteY26" fmla="*/ 2884464 h 3223934"/>
                <a:gd name="connsiteX0" fmla="*/ 158988 w 5910945"/>
                <a:gd name="connsiteY0" fmla="*/ 2884464 h 3223934"/>
                <a:gd name="connsiteX1" fmla="*/ 106875 w 5910945"/>
                <a:gd name="connsiteY1" fmla="*/ 2668634 h 3223934"/>
                <a:gd name="connsiteX2" fmla="*/ 340770 w 5910945"/>
                <a:gd name="connsiteY2" fmla="*/ 2300673 h 3223934"/>
                <a:gd name="connsiteX3" fmla="*/ 860632 w 5910945"/>
                <a:gd name="connsiteY3" fmla="*/ 2219818 h 3223934"/>
                <a:gd name="connsiteX4" fmla="*/ 1232083 w 5910945"/>
                <a:gd name="connsiteY4" fmla="*/ 1599105 h 3223934"/>
                <a:gd name="connsiteX5" fmla="*/ 889474 w 5910945"/>
                <a:gd name="connsiteY5" fmla="*/ 1642863 h 3223934"/>
                <a:gd name="connsiteX6" fmla="*/ 1338863 w 5910945"/>
                <a:gd name="connsiteY6" fmla="*/ 1266898 h 3223934"/>
                <a:gd name="connsiteX7" fmla="*/ 1355458 w 5910945"/>
                <a:gd name="connsiteY7" fmla="*/ 1431985 h 3223934"/>
                <a:gd name="connsiteX8" fmla="*/ 2127569 w 5910945"/>
                <a:gd name="connsiteY8" fmla="*/ 1224095 h 3223934"/>
                <a:gd name="connsiteX9" fmla="*/ 2360897 w 5910945"/>
                <a:gd name="connsiteY9" fmla="*/ 908641 h 3223934"/>
                <a:gd name="connsiteX10" fmla="*/ 2134236 w 5910945"/>
                <a:gd name="connsiteY10" fmla="*/ 872087 h 3223934"/>
                <a:gd name="connsiteX11" fmla="*/ 2671072 w 5910945"/>
                <a:gd name="connsiteY11" fmla="*/ 645345 h 3223934"/>
                <a:gd name="connsiteX12" fmla="*/ 2556262 w 5910945"/>
                <a:gd name="connsiteY12" fmla="*/ 773062 h 3223934"/>
                <a:gd name="connsiteX13" fmla="*/ 3165841 w 5910945"/>
                <a:gd name="connsiteY13" fmla="*/ 676857 h 3223934"/>
                <a:gd name="connsiteX14" fmla="*/ 3400790 w 5910945"/>
                <a:gd name="connsiteY14" fmla="*/ 443517 h 3223934"/>
                <a:gd name="connsiteX15" fmla="*/ 3195995 w 5910945"/>
                <a:gd name="connsiteY15" fmla="*/ 449444 h 3223934"/>
                <a:gd name="connsiteX16" fmla="*/ 3612257 w 5910945"/>
                <a:gd name="connsiteY16" fmla="*/ 289548 h 3223934"/>
                <a:gd name="connsiteX17" fmla="*/ 3512667 w 5910945"/>
                <a:gd name="connsiteY17" fmla="*/ 430744 h 3223934"/>
                <a:gd name="connsiteX18" fmla="*/ 3982518 w 5910945"/>
                <a:gd name="connsiteY18" fmla="*/ 368516 h 3223934"/>
                <a:gd name="connsiteX19" fmla="*/ 4548093 w 5910945"/>
                <a:gd name="connsiteY19" fmla="*/ 144793 h 3223934"/>
                <a:gd name="connsiteX20" fmla="*/ 4357459 w 5910945"/>
                <a:gd name="connsiteY20" fmla="*/ 81840 h 3223934"/>
                <a:gd name="connsiteX21" fmla="*/ 4730883 w 5910945"/>
                <a:gd name="connsiteY21" fmla="*/ 50815 h 3223934"/>
                <a:gd name="connsiteX22" fmla="*/ 5012558 w 5910945"/>
                <a:gd name="connsiteY22" fmla="*/ 91750 h 3223934"/>
                <a:gd name="connsiteX23" fmla="*/ 5425271 w 5910945"/>
                <a:gd name="connsiteY23" fmla="*/ 0 h 3223934"/>
                <a:gd name="connsiteX24" fmla="*/ 5910945 w 5910945"/>
                <a:gd name="connsiteY24" fmla="*/ 320593 h 3223934"/>
                <a:gd name="connsiteX25" fmla="*/ 1682766 w 5910945"/>
                <a:gd name="connsiteY25" fmla="*/ 3223934 h 3223934"/>
                <a:gd name="connsiteX26" fmla="*/ 158988 w 5910945"/>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0651 w 5902608"/>
                <a:gd name="connsiteY0" fmla="*/ 2884464 h 3223934"/>
                <a:gd name="connsiteX1" fmla="*/ 98538 w 5902608"/>
                <a:gd name="connsiteY1" fmla="*/ 2668634 h 3223934"/>
                <a:gd name="connsiteX2" fmla="*/ 389623 w 5902608"/>
                <a:gd name="connsiteY2" fmla="*/ 2322004 h 3223934"/>
                <a:gd name="connsiteX3" fmla="*/ 852295 w 5902608"/>
                <a:gd name="connsiteY3" fmla="*/ 2219818 h 3223934"/>
                <a:gd name="connsiteX4" fmla="*/ 1223746 w 5902608"/>
                <a:gd name="connsiteY4" fmla="*/ 1599105 h 3223934"/>
                <a:gd name="connsiteX5" fmla="*/ 881137 w 5902608"/>
                <a:gd name="connsiteY5" fmla="*/ 1642863 h 3223934"/>
                <a:gd name="connsiteX6" fmla="*/ 1330526 w 5902608"/>
                <a:gd name="connsiteY6" fmla="*/ 1266898 h 3223934"/>
                <a:gd name="connsiteX7" fmla="*/ 1347121 w 5902608"/>
                <a:gd name="connsiteY7" fmla="*/ 1431985 h 3223934"/>
                <a:gd name="connsiteX8" fmla="*/ 2119232 w 5902608"/>
                <a:gd name="connsiteY8" fmla="*/ 1224095 h 3223934"/>
                <a:gd name="connsiteX9" fmla="*/ 2352560 w 5902608"/>
                <a:gd name="connsiteY9" fmla="*/ 908641 h 3223934"/>
                <a:gd name="connsiteX10" fmla="*/ 2125899 w 5902608"/>
                <a:gd name="connsiteY10" fmla="*/ 872087 h 3223934"/>
                <a:gd name="connsiteX11" fmla="*/ 2662735 w 5902608"/>
                <a:gd name="connsiteY11" fmla="*/ 645345 h 3223934"/>
                <a:gd name="connsiteX12" fmla="*/ 2547925 w 5902608"/>
                <a:gd name="connsiteY12" fmla="*/ 773062 h 3223934"/>
                <a:gd name="connsiteX13" fmla="*/ 3157504 w 5902608"/>
                <a:gd name="connsiteY13" fmla="*/ 676857 h 3223934"/>
                <a:gd name="connsiteX14" fmla="*/ 3392453 w 5902608"/>
                <a:gd name="connsiteY14" fmla="*/ 443517 h 3223934"/>
                <a:gd name="connsiteX15" fmla="*/ 3187658 w 5902608"/>
                <a:gd name="connsiteY15" fmla="*/ 449444 h 3223934"/>
                <a:gd name="connsiteX16" fmla="*/ 3603920 w 5902608"/>
                <a:gd name="connsiteY16" fmla="*/ 289548 h 3223934"/>
                <a:gd name="connsiteX17" fmla="*/ 3504330 w 5902608"/>
                <a:gd name="connsiteY17" fmla="*/ 430744 h 3223934"/>
                <a:gd name="connsiteX18" fmla="*/ 3974181 w 5902608"/>
                <a:gd name="connsiteY18" fmla="*/ 368516 h 3223934"/>
                <a:gd name="connsiteX19" fmla="*/ 4539756 w 5902608"/>
                <a:gd name="connsiteY19" fmla="*/ 144793 h 3223934"/>
                <a:gd name="connsiteX20" fmla="*/ 4349122 w 5902608"/>
                <a:gd name="connsiteY20" fmla="*/ 81840 h 3223934"/>
                <a:gd name="connsiteX21" fmla="*/ 4722546 w 5902608"/>
                <a:gd name="connsiteY21" fmla="*/ 50815 h 3223934"/>
                <a:gd name="connsiteX22" fmla="*/ 5004221 w 5902608"/>
                <a:gd name="connsiteY22" fmla="*/ 91750 h 3223934"/>
                <a:gd name="connsiteX23" fmla="*/ 5416934 w 5902608"/>
                <a:gd name="connsiteY23" fmla="*/ 0 h 3223934"/>
                <a:gd name="connsiteX24" fmla="*/ 5902608 w 5902608"/>
                <a:gd name="connsiteY24" fmla="*/ 320593 h 3223934"/>
                <a:gd name="connsiteX25" fmla="*/ 1674429 w 5902608"/>
                <a:gd name="connsiteY25" fmla="*/ 3223934 h 3223934"/>
                <a:gd name="connsiteX26" fmla="*/ 150651 w 5902608"/>
                <a:gd name="connsiteY26" fmla="*/ 2884464 h 3223934"/>
                <a:gd name="connsiteX0" fmla="*/ 154261 w 5906218"/>
                <a:gd name="connsiteY0" fmla="*/ 2884464 h 3223934"/>
                <a:gd name="connsiteX1" fmla="*/ 102148 w 5906218"/>
                <a:gd name="connsiteY1" fmla="*/ 2668634 h 3223934"/>
                <a:gd name="connsiteX2" fmla="*/ 393233 w 5906218"/>
                <a:gd name="connsiteY2" fmla="*/ 2322004 h 3223934"/>
                <a:gd name="connsiteX3" fmla="*/ 855905 w 5906218"/>
                <a:gd name="connsiteY3" fmla="*/ 2219818 h 3223934"/>
                <a:gd name="connsiteX4" fmla="*/ 1227356 w 5906218"/>
                <a:gd name="connsiteY4" fmla="*/ 1599105 h 3223934"/>
                <a:gd name="connsiteX5" fmla="*/ 884747 w 5906218"/>
                <a:gd name="connsiteY5" fmla="*/ 1642863 h 3223934"/>
                <a:gd name="connsiteX6" fmla="*/ 1334136 w 5906218"/>
                <a:gd name="connsiteY6" fmla="*/ 1266898 h 3223934"/>
                <a:gd name="connsiteX7" fmla="*/ 1350731 w 5906218"/>
                <a:gd name="connsiteY7" fmla="*/ 1431985 h 3223934"/>
                <a:gd name="connsiteX8" fmla="*/ 2122842 w 5906218"/>
                <a:gd name="connsiteY8" fmla="*/ 1224095 h 3223934"/>
                <a:gd name="connsiteX9" fmla="*/ 2356170 w 5906218"/>
                <a:gd name="connsiteY9" fmla="*/ 908641 h 3223934"/>
                <a:gd name="connsiteX10" fmla="*/ 2129509 w 5906218"/>
                <a:gd name="connsiteY10" fmla="*/ 872087 h 3223934"/>
                <a:gd name="connsiteX11" fmla="*/ 2666345 w 5906218"/>
                <a:gd name="connsiteY11" fmla="*/ 645345 h 3223934"/>
                <a:gd name="connsiteX12" fmla="*/ 2551535 w 5906218"/>
                <a:gd name="connsiteY12" fmla="*/ 773062 h 3223934"/>
                <a:gd name="connsiteX13" fmla="*/ 3161114 w 5906218"/>
                <a:gd name="connsiteY13" fmla="*/ 676857 h 3223934"/>
                <a:gd name="connsiteX14" fmla="*/ 3396063 w 5906218"/>
                <a:gd name="connsiteY14" fmla="*/ 443517 h 3223934"/>
                <a:gd name="connsiteX15" fmla="*/ 3191268 w 5906218"/>
                <a:gd name="connsiteY15" fmla="*/ 449444 h 3223934"/>
                <a:gd name="connsiteX16" fmla="*/ 3607530 w 5906218"/>
                <a:gd name="connsiteY16" fmla="*/ 289548 h 3223934"/>
                <a:gd name="connsiteX17" fmla="*/ 3507940 w 5906218"/>
                <a:gd name="connsiteY17" fmla="*/ 430744 h 3223934"/>
                <a:gd name="connsiteX18" fmla="*/ 3977791 w 5906218"/>
                <a:gd name="connsiteY18" fmla="*/ 368516 h 3223934"/>
                <a:gd name="connsiteX19" fmla="*/ 4543366 w 5906218"/>
                <a:gd name="connsiteY19" fmla="*/ 144793 h 3223934"/>
                <a:gd name="connsiteX20" fmla="*/ 4352732 w 5906218"/>
                <a:gd name="connsiteY20" fmla="*/ 81840 h 3223934"/>
                <a:gd name="connsiteX21" fmla="*/ 4726156 w 5906218"/>
                <a:gd name="connsiteY21" fmla="*/ 50815 h 3223934"/>
                <a:gd name="connsiteX22" fmla="*/ 5007831 w 5906218"/>
                <a:gd name="connsiteY22" fmla="*/ 91750 h 3223934"/>
                <a:gd name="connsiteX23" fmla="*/ 5420544 w 5906218"/>
                <a:gd name="connsiteY23" fmla="*/ 0 h 3223934"/>
                <a:gd name="connsiteX24" fmla="*/ 5906218 w 5906218"/>
                <a:gd name="connsiteY24" fmla="*/ 320593 h 3223934"/>
                <a:gd name="connsiteX25" fmla="*/ 1678039 w 5906218"/>
                <a:gd name="connsiteY25" fmla="*/ 3223934 h 3223934"/>
                <a:gd name="connsiteX26" fmla="*/ 154261 w 5906218"/>
                <a:gd name="connsiteY26" fmla="*/ 2884464 h 3223934"/>
                <a:gd name="connsiteX0" fmla="*/ 159178 w 5911135"/>
                <a:gd name="connsiteY0" fmla="*/ 2884464 h 3223934"/>
                <a:gd name="connsiteX1" fmla="*/ 107065 w 5911135"/>
                <a:gd name="connsiteY1" fmla="*/ 2668634 h 3223934"/>
                <a:gd name="connsiteX2" fmla="*/ 365470 w 5911135"/>
                <a:gd name="connsiteY2" fmla="*/ 2368224 h 3223934"/>
                <a:gd name="connsiteX3" fmla="*/ 860822 w 5911135"/>
                <a:gd name="connsiteY3" fmla="*/ 2219818 h 3223934"/>
                <a:gd name="connsiteX4" fmla="*/ 1232273 w 5911135"/>
                <a:gd name="connsiteY4" fmla="*/ 1599105 h 3223934"/>
                <a:gd name="connsiteX5" fmla="*/ 889664 w 5911135"/>
                <a:gd name="connsiteY5" fmla="*/ 1642863 h 3223934"/>
                <a:gd name="connsiteX6" fmla="*/ 1339053 w 5911135"/>
                <a:gd name="connsiteY6" fmla="*/ 1266898 h 3223934"/>
                <a:gd name="connsiteX7" fmla="*/ 1355648 w 5911135"/>
                <a:gd name="connsiteY7" fmla="*/ 1431985 h 3223934"/>
                <a:gd name="connsiteX8" fmla="*/ 2127759 w 5911135"/>
                <a:gd name="connsiteY8" fmla="*/ 1224095 h 3223934"/>
                <a:gd name="connsiteX9" fmla="*/ 2361087 w 5911135"/>
                <a:gd name="connsiteY9" fmla="*/ 908641 h 3223934"/>
                <a:gd name="connsiteX10" fmla="*/ 2134426 w 5911135"/>
                <a:gd name="connsiteY10" fmla="*/ 872087 h 3223934"/>
                <a:gd name="connsiteX11" fmla="*/ 2671262 w 5911135"/>
                <a:gd name="connsiteY11" fmla="*/ 645345 h 3223934"/>
                <a:gd name="connsiteX12" fmla="*/ 2556452 w 5911135"/>
                <a:gd name="connsiteY12" fmla="*/ 773062 h 3223934"/>
                <a:gd name="connsiteX13" fmla="*/ 3166031 w 5911135"/>
                <a:gd name="connsiteY13" fmla="*/ 676857 h 3223934"/>
                <a:gd name="connsiteX14" fmla="*/ 3400980 w 5911135"/>
                <a:gd name="connsiteY14" fmla="*/ 443517 h 3223934"/>
                <a:gd name="connsiteX15" fmla="*/ 3196185 w 5911135"/>
                <a:gd name="connsiteY15" fmla="*/ 449444 h 3223934"/>
                <a:gd name="connsiteX16" fmla="*/ 3612447 w 5911135"/>
                <a:gd name="connsiteY16" fmla="*/ 289548 h 3223934"/>
                <a:gd name="connsiteX17" fmla="*/ 3512857 w 5911135"/>
                <a:gd name="connsiteY17" fmla="*/ 430744 h 3223934"/>
                <a:gd name="connsiteX18" fmla="*/ 3982708 w 5911135"/>
                <a:gd name="connsiteY18" fmla="*/ 368516 h 3223934"/>
                <a:gd name="connsiteX19" fmla="*/ 4548283 w 5911135"/>
                <a:gd name="connsiteY19" fmla="*/ 144793 h 3223934"/>
                <a:gd name="connsiteX20" fmla="*/ 4357649 w 5911135"/>
                <a:gd name="connsiteY20" fmla="*/ 81840 h 3223934"/>
                <a:gd name="connsiteX21" fmla="*/ 4731073 w 5911135"/>
                <a:gd name="connsiteY21" fmla="*/ 50815 h 3223934"/>
                <a:gd name="connsiteX22" fmla="*/ 5012748 w 5911135"/>
                <a:gd name="connsiteY22" fmla="*/ 91750 h 3223934"/>
                <a:gd name="connsiteX23" fmla="*/ 5425461 w 5911135"/>
                <a:gd name="connsiteY23" fmla="*/ 0 h 3223934"/>
                <a:gd name="connsiteX24" fmla="*/ 5911135 w 5911135"/>
                <a:gd name="connsiteY24" fmla="*/ 320593 h 3223934"/>
                <a:gd name="connsiteX25" fmla="*/ 1682956 w 5911135"/>
                <a:gd name="connsiteY25" fmla="*/ 3223934 h 3223934"/>
                <a:gd name="connsiteX26" fmla="*/ 159178 w 5911135"/>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6202 w 5898159"/>
                <a:gd name="connsiteY0" fmla="*/ 2884464 h 3223934"/>
                <a:gd name="connsiteX1" fmla="*/ 94089 w 5898159"/>
                <a:gd name="connsiteY1" fmla="*/ 2668634 h 3223934"/>
                <a:gd name="connsiteX2" fmla="*/ 352494 w 5898159"/>
                <a:gd name="connsiteY2" fmla="*/ 2368224 h 3223934"/>
                <a:gd name="connsiteX3" fmla="*/ 847846 w 5898159"/>
                <a:gd name="connsiteY3" fmla="*/ 2219818 h 3223934"/>
                <a:gd name="connsiteX4" fmla="*/ 1219297 w 5898159"/>
                <a:gd name="connsiteY4" fmla="*/ 1599105 h 3223934"/>
                <a:gd name="connsiteX5" fmla="*/ 876688 w 5898159"/>
                <a:gd name="connsiteY5" fmla="*/ 1642863 h 3223934"/>
                <a:gd name="connsiteX6" fmla="*/ 1326077 w 5898159"/>
                <a:gd name="connsiteY6" fmla="*/ 1266898 h 3223934"/>
                <a:gd name="connsiteX7" fmla="*/ 1342672 w 5898159"/>
                <a:gd name="connsiteY7" fmla="*/ 1431985 h 3223934"/>
                <a:gd name="connsiteX8" fmla="*/ 2114783 w 5898159"/>
                <a:gd name="connsiteY8" fmla="*/ 1224095 h 3223934"/>
                <a:gd name="connsiteX9" fmla="*/ 2348111 w 5898159"/>
                <a:gd name="connsiteY9" fmla="*/ 908641 h 3223934"/>
                <a:gd name="connsiteX10" fmla="*/ 2121450 w 5898159"/>
                <a:gd name="connsiteY10" fmla="*/ 872087 h 3223934"/>
                <a:gd name="connsiteX11" fmla="*/ 2658286 w 5898159"/>
                <a:gd name="connsiteY11" fmla="*/ 645345 h 3223934"/>
                <a:gd name="connsiteX12" fmla="*/ 2543476 w 5898159"/>
                <a:gd name="connsiteY12" fmla="*/ 773062 h 3223934"/>
                <a:gd name="connsiteX13" fmla="*/ 3153055 w 5898159"/>
                <a:gd name="connsiteY13" fmla="*/ 676857 h 3223934"/>
                <a:gd name="connsiteX14" fmla="*/ 3388004 w 5898159"/>
                <a:gd name="connsiteY14" fmla="*/ 443517 h 3223934"/>
                <a:gd name="connsiteX15" fmla="*/ 3183209 w 5898159"/>
                <a:gd name="connsiteY15" fmla="*/ 449444 h 3223934"/>
                <a:gd name="connsiteX16" fmla="*/ 3599471 w 5898159"/>
                <a:gd name="connsiteY16" fmla="*/ 289548 h 3223934"/>
                <a:gd name="connsiteX17" fmla="*/ 3499881 w 5898159"/>
                <a:gd name="connsiteY17" fmla="*/ 430744 h 3223934"/>
                <a:gd name="connsiteX18" fmla="*/ 3969732 w 5898159"/>
                <a:gd name="connsiteY18" fmla="*/ 368516 h 3223934"/>
                <a:gd name="connsiteX19" fmla="*/ 4535307 w 5898159"/>
                <a:gd name="connsiteY19" fmla="*/ 144793 h 3223934"/>
                <a:gd name="connsiteX20" fmla="*/ 4344673 w 5898159"/>
                <a:gd name="connsiteY20" fmla="*/ 81840 h 3223934"/>
                <a:gd name="connsiteX21" fmla="*/ 4718097 w 5898159"/>
                <a:gd name="connsiteY21" fmla="*/ 50815 h 3223934"/>
                <a:gd name="connsiteX22" fmla="*/ 4999772 w 5898159"/>
                <a:gd name="connsiteY22" fmla="*/ 91750 h 3223934"/>
                <a:gd name="connsiteX23" fmla="*/ 5412485 w 5898159"/>
                <a:gd name="connsiteY23" fmla="*/ 0 h 3223934"/>
                <a:gd name="connsiteX24" fmla="*/ 5898159 w 5898159"/>
                <a:gd name="connsiteY24" fmla="*/ 320593 h 3223934"/>
                <a:gd name="connsiteX25" fmla="*/ 1669980 w 5898159"/>
                <a:gd name="connsiteY25" fmla="*/ 3223934 h 3223934"/>
                <a:gd name="connsiteX26" fmla="*/ 146202 w 5898159"/>
                <a:gd name="connsiteY26" fmla="*/ 2884464 h 3223934"/>
                <a:gd name="connsiteX0" fmla="*/ 145280 w 5897237"/>
                <a:gd name="connsiteY0" fmla="*/ 2884464 h 3223934"/>
                <a:gd name="connsiteX1" fmla="*/ 93167 w 5897237"/>
                <a:gd name="connsiteY1" fmla="*/ 2668634 h 3223934"/>
                <a:gd name="connsiteX2" fmla="*/ 351572 w 5897237"/>
                <a:gd name="connsiteY2" fmla="*/ 2368224 h 3223934"/>
                <a:gd name="connsiteX3" fmla="*/ 846924 w 5897237"/>
                <a:gd name="connsiteY3" fmla="*/ 2219818 h 3223934"/>
                <a:gd name="connsiteX4" fmla="*/ 1218375 w 5897237"/>
                <a:gd name="connsiteY4" fmla="*/ 1599105 h 3223934"/>
                <a:gd name="connsiteX5" fmla="*/ 875766 w 5897237"/>
                <a:gd name="connsiteY5" fmla="*/ 1642863 h 3223934"/>
                <a:gd name="connsiteX6" fmla="*/ 1325155 w 5897237"/>
                <a:gd name="connsiteY6" fmla="*/ 1266898 h 3223934"/>
                <a:gd name="connsiteX7" fmla="*/ 1341750 w 5897237"/>
                <a:gd name="connsiteY7" fmla="*/ 1431985 h 3223934"/>
                <a:gd name="connsiteX8" fmla="*/ 2113861 w 5897237"/>
                <a:gd name="connsiteY8" fmla="*/ 1224095 h 3223934"/>
                <a:gd name="connsiteX9" fmla="*/ 2347189 w 5897237"/>
                <a:gd name="connsiteY9" fmla="*/ 908641 h 3223934"/>
                <a:gd name="connsiteX10" fmla="*/ 2120528 w 5897237"/>
                <a:gd name="connsiteY10" fmla="*/ 872087 h 3223934"/>
                <a:gd name="connsiteX11" fmla="*/ 2657364 w 5897237"/>
                <a:gd name="connsiteY11" fmla="*/ 645345 h 3223934"/>
                <a:gd name="connsiteX12" fmla="*/ 2542554 w 5897237"/>
                <a:gd name="connsiteY12" fmla="*/ 773062 h 3223934"/>
                <a:gd name="connsiteX13" fmla="*/ 3152133 w 5897237"/>
                <a:gd name="connsiteY13" fmla="*/ 676857 h 3223934"/>
                <a:gd name="connsiteX14" fmla="*/ 3387082 w 5897237"/>
                <a:gd name="connsiteY14" fmla="*/ 443517 h 3223934"/>
                <a:gd name="connsiteX15" fmla="*/ 3182287 w 5897237"/>
                <a:gd name="connsiteY15" fmla="*/ 449444 h 3223934"/>
                <a:gd name="connsiteX16" fmla="*/ 3598549 w 5897237"/>
                <a:gd name="connsiteY16" fmla="*/ 289548 h 3223934"/>
                <a:gd name="connsiteX17" fmla="*/ 3498959 w 5897237"/>
                <a:gd name="connsiteY17" fmla="*/ 430744 h 3223934"/>
                <a:gd name="connsiteX18" fmla="*/ 3968810 w 5897237"/>
                <a:gd name="connsiteY18" fmla="*/ 368516 h 3223934"/>
                <a:gd name="connsiteX19" fmla="*/ 4534385 w 5897237"/>
                <a:gd name="connsiteY19" fmla="*/ 144793 h 3223934"/>
                <a:gd name="connsiteX20" fmla="*/ 4343751 w 5897237"/>
                <a:gd name="connsiteY20" fmla="*/ 81840 h 3223934"/>
                <a:gd name="connsiteX21" fmla="*/ 4717175 w 5897237"/>
                <a:gd name="connsiteY21" fmla="*/ 50815 h 3223934"/>
                <a:gd name="connsiteX22" fmla="*/ 4998850 w 5897237"/>
                <a:gd name="connsiteY22" fmla="*/ 91750 h 3223934"/>
                <a:gd name="connsiteX23" fmla="*/ 5411563 w 5897237"/>
                <a:gd name="connsiteY23" fmla="*/ 0 h 3223934"/>
                <a:gd name="connsiteX24" fmla="*/ 5897237 w 5897237"/>
                <a:gd name="connsiteY24" fmla="*/ 320593 h 3223934"/>
                <a:gd name="connsiteX25" fmla="*/ 1669058 w 5897237"/>
                <a:gd name="connsiteY25" fmla="*/ 3223934 h 3223934"/>
                <a:gd name="connsiteX26" fmla="*/ 145280 w 5897237"/>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198905 w 5950862"/>
                <a:gd name="connsiteY0" fmla="*/ 2884464 h 3223934"/>
                <a:gd name="connsiteX1" fmla="*/ 146792 w 5950862"/>
                <a:gd name="connsiteY1" fmla="*/ 2668634 h 3223934"/>
                <a:gd name="connsiteX2" fmla="*/ 405197 w 5950862"/>
                <a:gd name="connsiteY2" fmla="*/ 2368224 h 3223934"/>
                <a:gd name="connsiteX3" fmla="*/ 900549 w 5950862"/>
                <a:gd name="connsiteY3" fmla="*/ 2219818 h 3223934"/>
                <a:gd name="connsiteX4" fmla="*/ 1272000 w 5950862"/>
                <a:gd name="connsiteY4" fmla="*/ 1599105 h 3223934"/>
                <a:gd name="connsiteX5" fmla="*/ 929391 w 5950862"/>
                <a:gd name="connsiteY5" fmla="*/ 1642863 h 3223934"/>
                <a:gd name="connsiteX6" fmla="*/ 1378780 w 5950862"/>
                <a:gd name="connsiteY6" fmla="*/ 1266898 h 3223934"/>
                <a:gd name="connsiteX7" fmla="*/ 1395375 w 5950862"/>
                <a:gd name="connsiteY7" fmla="*/ 1431985 h 3223934"/>
                <a:gd name="connsiteX8" fmla="*/ 2167486 w 5950862"/>
                <a:gd name="connsiteY8" fmla="*/ 1224095 h 3223934"/>
                <a:gd name="connsiteX9" fmla="*/ 2400814 w 5950862"/>
                <a:gd name="connsiteY9" fmla="*/ 908641 h 3223934"/>
                <a:gd name="connsiteX10" fmla="*/ 2174153 w 5950862"/>
                <a:gd name="connsiteY10" fmla="*/ 872087 h 3223934"/>
                <a:gd name="connsiteX11" fmla="*/ 2710989 w 5950862"/>
                <a:gd name="connsiteY11" fmla="*/ 645345 h 3223934"/>
                <a:gd name="connsiteX12" fmla="*/ 2596179 w 5950862"/>
                <a:gd name="connsiteY12" fmla="*/ 773062 h 3223934"/>
                <a:gd name="connsiteX13" fmla="*/ 3205758 w 5950862"/>
                <a:gd name="connsiteY13" fmla="*/ 676857 h 3223934"/>
                <a:gd name="connsiteX14" fmla="*/ 3440707 w 5950862"/>
                <a:gd name="connsiteY14" fmla="*/ 443517 h 3223934"/>
                <a:gd name="connsiteX15" fmla="*/ 3235912 w 5950862"/>
                <a:gd name="connsiteY15" fmla="*/ 449444 h 3223934"/>
                <a:gd name="connsiteX16" fmla="*/ 3652174 w 5950862"/>
                <a:gd name="connsiteY16" fmla="*/ 289548 h 3223934"/>
                <a:gd name="connsiteX17" fmla="*/ 3552584 w 5950862"/>
                <a:gd name="connsiteY17" fmla="*/ 430744 h 3223934"/>
                <a:gd name="connsiteX18" fmla="*/ 4022435 w 5950862"/>
                <a:gd name="connsiteY18" fmla="*/ 368516 h 3223934"/>
                <a:gd name="connsiteX19" fmla="*/ 4588010 w 5950862"/>
                <a:gd name="connsiteY19" fmla="*/ 144793 h 3223934"/>
                <a:gd name="connsiteX20" fmla="*/ 4397376 w 5950862"/>
                <a:gd name="connsiteY20" fmla="*/ 81840 h 3223934"/>
                <a:gd name="connsiteX21" fmla="*/ 4770800 w 5950862"/>
                <a:gd name="connsiteY21" fmla="*/ 50815 h 3223934"/>
                <a:gd name="connsiteX22" fmla="*/ 5052475 w 5950862"/>
                <a:gd name="connsiteY22" fmla="*/ 91750 h 3223934"/>
                <a:gd name="connsiteX23" fmla="*/ 5465188 w 5950862"/>
                <a:gd name="connsiteY23" fmla="*/ 0 h 3223934"/>
                <a:gd name="connsiteX24" fmla="*/ 5950862 w 5950862"/>
                <a:gd name="connsiteY24" fmla="*/ 320593 h 3223934"/>
                <a:gd name="connsiteX25" fmla="*/ 1722683 w 5950862"/>
                <a:gd name="connsiteY25" fmla="*/ 3223934 h 3223934"/>
                <a:gd name="connsiteX26" fmla="*/ 198905 w 5950862"/>
                <a:gd name="connsiteY26" fmla="*/ 2884464 h 3223934"/>
                <a:gd name="connsiteX0" fmla="*/ 212610 w 5964567"/>
                <a:gd name="connsiteY0" fmla="*/ 2884464 h 3223934"/>
                <a:gd name="connsiteX1" fmla="*/ 160497 w 5964567"/>
                <a:gd name="connsiteY1" fmla="*/ 2668634 h 3223934"/>
                <a:gd name="connsiteX2" fmla="*/ 418902 w 5964567"/>
                <a:gd name="connsiteY2" fmla="*/ 2368224 h 3223934"/>
                <a:gd name="connsiteX3" fmla="*/ 914254 w 5964567"/>
                <a:gd name="connsiteY3" fmla="*/ 2219818 h 3223934"/>
                <a:gd name="connsiteX4" fmla="*/ 1285705 w 5964567"/>
                <a:gd name="connsiteY4" fmla="*/ 1599105 h 3223934"/>
                <a:gd name="connsiteX5" fmla="*/ 943096 w 5964567"/>
                <a:gd name="connsiteY5" fmla="*/ 1642863 h 3223934"/>
                <a:gd name="connsiteX6" fmla="*/ 1392485 w 5964567"/>
                <a:gd name="connsiteY6" fmla="*/ 1266898 h 3223934"/>
                <a:gd name="connsiteX7" fmla="*/ 1409080 w 5964567"/>
                <a:gd name="connsiteY7" fmla="*/ 1431985 h 3223934"/>
                <a:gd name="connsiteX8" fmla="*/ 2181191 w 5964567"/>
                <a:gd name="connsiteY8" fmla="*/ 1224095 h 3223934"/>
                <a:gd name="connsiteX9" fmla="*/ 2414519 w 5964567"/>
                <a:gd name="connsiteY9" fmla="*/ 908641 h 3223934"/>
                <a:gd name="connsiteX10" fmla="*/ 2187858 w 5964567"/>
                <a:gd name="connsiteY10" fmla="*/ 872087 h 3223934"/>
                <a:gd name="connsiteX11" fmla="*/ 2724694 w 5964567"/>
                <a:gd name="connsiteY11" fmla="*/ 645345 h 3223934"/>
                <a:gd name="connsiteX12" fmla="*/ 2609884 w 5964567"/>
                <a:gd name="connsiteY12" fmla="*/ 773062 h 3223934"/>
                <a:gd name="connsiteX13" fmla="*/ 3219463 w 5964567"/>
                <a:gd name="connsiteY13" fmla="*/ 676857 h 3223934"/>
                <a:gd name="connsiteX14" fmla="*/ 3454412 w 5964567"/>
                <a:gd name="connsiteY14" fmla="*/ 443517 h 3223934"/>
                <a:gd name="connsiteX15" fmla="*/ 3249617 w 5964567"/>
                <a:gd name="connsiteY15" fmla="*/ 449444 h 3223934"/>
                <a:gd name="connsiteX16" fmla="*/ 3665879 w 5964567"/>
                <a:gd name="connsiteY16" fmla="*/ 289548 h 3223934"/>
                <a:gd name="connsiteX17" fmla="*/ 3566289 w 5964567"/>
                <a:gd name="connsiteY17" fmla="*/ 430744 h 3223934"/>
                <a:gd name="connsiteX18" fmla="*/ 4036140 w 5964567"/>
                <a:gd name="connsiteY18" fmla="*/ 368516 h 3223934"/>
                <a:gd name="connsiteX19" fmla="*/ 4601715 w 5964567"/>
                <a:gd name="connsiteY19" fmla="*/ 144793 h 3223934"/>
                <a:gd name="connsiteX20" fmla="*/ 4411081 w 5964567"/>
                <a:gd name="connsiteY20" fmla="*/ 81840 h 3223934"/>
                <a:gd name="connsiteX21" fmla="*/ 4784505 w 5964567"/>
                <a:gd name="connsiteY21" fmla="*/ 50815 h 3223934"/>
                <a:gd name="connsiteX22" fmla="*/ 5066180 w 5964567"/>
                <a:gd name="connsiteY22" fmla="*/ 91750 h 3223934"/>
                <a:gd name="connsiteX23" fmla="*/ 5478893 w 5964567"/>
                <a:gd name="connsiteY23" fmla="*/ 0 h 3223934"/>
                <a:gd name="connsiteX24" fmla="*/ 5964567 w 5964567"/>
                <a:gd name="connsiteY24" fmla="*/ 320593 h 3223934"/>
                <a:gd name="connsiteX25" fmla="*/ 1736388 w 5964567"/>
                <a:gd name="connsiteY25" fmla="*/ 3223934 h 3223934"/>
                <a:gd name="connsiteX26" fmla="*/ 212610 w 5964567"/>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285706 w 5964568"/>
                <a:gd name="connsiteY4" fmla="*/ 1599105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943097 w 5964568"/>
                <a:gd name="connsiteY5" fmla="*/ 1642863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1028 w 5964568"/>
                <a:gd name="connsiteY4" fmla="*/ 1737763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65114 w 5964568"/>
                <a:gd name="connsiteY4" fmla="*/ 1837312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898845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392486 w 5964568"/>
                <a:gd name="connsiteY6" fmla="*/ 1266898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09081 w 5964568"/>
                <a:gd name="connsiteY7" fmla="*/ 1431985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187859 w 5964568"/>
                <a:gd name="connsiteY10" fmla="*/ 872087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414520 w 5964568"/>
                <a:gd name="connsiteY9" fmla="*/ 90864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2036713 w 5964568"/>
                <a:gd name="connsiteY10" fmla="*/ 964526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9885 w 5964568"/>
                <a:gd name="connsiteY12" fmla="*/ 773062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454413 w 5964568"/>
                <a:gd name="connsiteY14" fmla="*/ 443517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249618 w 5964568"/>
                <a:gd name="connsiteY15" fmla="*/ 449444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65880 w 5964568"/>
                <a:gd name="connsiteY16" fmla="*/ 28954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30744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768007 w 5964568"/>
                <a:gd name="connsiteY16" fmla="*/ 28243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66290 w 5964568"/>
                <a:gd name="connsiteY17" fmla="*/ 420078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601716 w 5964568"/>
                <a:gd name="connsiteY19" fmla="*/ 144793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411082 w 5964568"/>
                <a:gd name="connsiteY20" fmla="*/ 81840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78450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243596 w 5964568"/>
                <a:gd name="connsiteY20" fmla="*/ 10672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4464 h 3223934"/>
                <a:gd name="connsiteX1" fmla="*/ 160498 w 5964568"/>
                <a:gd name="connsiteY1" fmla="*/ 2668634 h 3223934"/>
                <a:gd name="connsiteX2" fmla="*/ 418903 w 5964568"/>
                <a:gd name="connsiteY2" fmla="*/ 2368224 h 3223934"/>
                <a:gd name="connsiteX3" fmla="*/ 914255 w 5964568"/>
                <a:gd name="connsiteY3" fmla="*/ 2219818 h 3223934"/>
                <a:gd name="connsiteX4" fmla="*/ 1020177 w 5964568"/>
                <a:gd name="connsiteY4" fmla="*/ 1815980 h 3223934"/>
                <a:gd name="connsiteX5" fmla="*/ 714335 w 5964568"/>
                <a:gd name="connsiteY5" fmla="*/ 1909510 h 3223934"/>
                <a:gd name="connsiteX6" fmla="*/ 1523207 w 5964568"/>
                <a:gd name="connsiteY6" fmla="*/ 1195792 h 3223934"/>
                <a:gd name="connsiteX7" fmla="*/ 1433591 w 5964568"/>
                <a:gd name="connsiteY7" fmla="*/ 1467539 h 3223934"/>
                <a:gd name="connsiteX8" fmla="*/ 2181192 w 5964568"/>
                <a:gd name="connsiteY8" fmla="*/ 1224095 h 3223934"/>
                <a:gd name="connsiteX9" fmla="*/ 2320564 w 5964568"/>
                <a:gd name="connsiteY9" fmla="*/ 954861 h 3223934"/>
                <a:gd name="connsiteX10" fmla="*/ 1934587 w 5964568"/>
                <a:gd name="connsiteY10" fmla="*/ 936083 h 3223934"/>
                <a:gd name="connsiteX11" fmla="*/ 2724695 w 5964568"/>
                <a:gd name="connsiteY11" fmla="*/ 645345 h 3223934"/>
                <a:gd name="connsiteX12" fmla="*/ 2605800 w 5964568"/>
                <a:gd name="connsiteY12" fmla="*/ 812170 h 3223934"/>
                <a:gd name="connsiteX13" fmla="*/ 3219464 w 5964568"/>
                <a:gd name="connsiteY13" fmla="*/ 676857 h 3223934"/>
                <a:gd name="connsiteX14" fmla="*/ 3356372 w 5964568"/>
                <a:gd name="connsiteY14" fmla="*/ 496846 h 3223934"/>
                <a:gd name="connsiteX15" fmla="*/ 3086216 w 5964568"/>
                <a:gd name="connsiteY15" fmla="*/ 506329 h 3223934"/>
                <a:gd name="connsiteX16" fmla="*/ 3698561 w 5964568"/>
                <a:gd name="connsiteY16" fmla="*/ 229108 h 3223934"/>
                <a:gd name="connsiteX17" fmla="*/ 3574460 w 5964568"/>
                <a:gd name="connsiteY17" fmla="*/ 366749 h 3223934"/>
                <a:gd name="connsiteX18" fmla="*/ 4036141 w 5964568"/>
                <a:gd name="connsiteY18" fmla="*/ 368516 h 3223934"/>
                <a:gd name="connsiteX19" fmla="*/ 4344358 w 5964568"/>
                <a:gd name="connsiteY19" fmla="*/ 191012 h 3223934"/>
                <a:gd name="connsiteX20" fmla="*/ 4198661 w 5964568"/>
                <a:gd name="connsiteY20" fmla="*/ 167168 h 3223934"/>
                <a:gd name="connsiteX21" fmla="*/ 4841696 w 5964568"/>
                <a:gd name="connsiteY21" fmla="*/ 50815 h 3223934"/>
                <a:gd name="connsiteX22" fmla="*/ 5066181 w 5964568"/>
                <a:gd name="connsiteY22" fmla="*/ 91750 h 3223934"/>
                <a:gd name="connsiteX23" fmla="*/ 5478894 w 5964568"/>
                <a:gd name="connsiteY23" fmla="*/ 0 h 3223934"/>
                <a:gd name="connsiteX24" fmla="*/ 5964568 w 5964568"/>
                <a:gd name="connsiteY24" fmla="*/ 320593 h 3223934"/>
                <a:gd name="connsiteX25" fmla="*/ 1736389 w 5964568"/>
                <a:gd name="connsiteY25" fmla="*/ 3223934 h 3223934"/>
                <a:gd name="connsiteX26" fmla="*/ 212611 w 5964568"/>
                <a:gd name="connsiteY26" fmla="*/ 2884464 h 3223934"/>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841696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592 h 3228062"/>
                <a:gd name="connsiteX1" fmla="*/ 160498 w 5964568"/>
                <a:gd name="connsiteY1" fmla="*/ 2672762 h 3228062"/>
                <a:gd name="connsiteX2" fmla="*/ 418903 w 5964568"/>
                <a:gd name="connsiteY2" fmla="*/ 2372352 h 3228062"/>
                <a:gd name="connsiteX3" fmla="*/ 914255 w 5964568"/>
                <a:gd name="connsiteY3" fmla="*/ 2223946 h 3228062"/>
                <a:gd name="connsiteX4" fmla="*/ 1020177 w 5964568"/>
                <a:gd name="connsiteY4" fmla="*/ 1820108 h 3228062"/>
                <a:gd name="connsiteX5" fmla="*/ 714335 w 5964568"/>
                <a:gd name="connsiteY5" fmla="*/ 1913638 h 3228062"/>
                <a:gd name="connsiteX6" fmla="*/ 1523207 w 5964568"/>
                <a:gd name="connsiteY6" fmla="*/ 1199920 h 3228062"/>
                <a:gd name="connsiteX7" fmla="*/ 1433591 w 5964568"/>
                <a:gd name="connsiteY7" fmla="*/ 1471667 h 3228062"/>
                <a:gd name="connsiteX8" fmla="*/ 2181192 w 5964568"/>
                <a:gd name="connsiteY8" fmla="*/ 1228223 h 3228062"/>
                <a:gd name="connsiteX9" fmla="*/ 2320564 w 5964568"/>
                <a:gd name="connsiteY9" fmla="*/ 958989 h 3228062"/>
                <a:gd name="connsiteX10" fmla="*/ 1934587 w 5964568"/>
                <a:gd name="connsiteY10" fmla="*/ 940211 h 3228062"/>
                <a:gd name="connsiteX11" fmla="*/ 2724695 w 5964568"/>
                <a:gd name="connsiteY11" fmla="*/ 649473 h 3228062"/>
                <a:gd name="connsiteX12" fmla="*/ 2605800 w 5964568"/>
                <a:gd name="connsiteY12" fmla="*/ 816298 h 3228062"/>
                <a:gd name="connsiteX13" fmla="*/ 3219464 w 5964568"/>
                <a:gd name="connsiteY13" fmla="*/ 680985 h 3228062"/>
                <a:gd name="connsiteX14" fmla="*/ 3356372 w 5964568"/>
                <a:gd name="connsiteY14" fmla="*/ 500974 h 3228062"/>
                <a:gd name="connsiteX15" fmla="*/ 3086216 w 5964568"/>
                <a:gd name="connsiteY15" fmla="*/ 510457 h 3228062"/>
                <a:gd name="connsiteX16" fmla="*/ 3698561 w 5964568"/>
                <a:gd name="connsiteY16" fmla="*/ 233236 h 3228062"/>
                <a:gd name="connsiteX17" fmla="*/ 3574460 w 5964568"/>
                <a:gd name="connsiteY17" fmla="*/ 370877 h 3228062"/>
                <a:gd name="connsiteX18" fmla="*/ 4036141 w 5964568"/>
                <a:gd name="connsiteY18" fmla="*/ 372644 h 3228062"/>
                <a:gd name="connsiteX19" fmla="*/ 4344358 w 5964568"/>
                <a:gd name="connsiteY19" fmla="*/ 195140 h 3228062"/>
                <a:gd name="connsiteX20" fmla="*/ 4198661 w 5964568"/>
                <a:gd name="connsiteY20" fmla="*/ 171296 h 3228062"/>
                <a:gd name="connsiteX21" fmla="*/ 4788590 w 5964568"/>
                <a:gd name="connsiteY21" fmla="*/ 54943 h 3228062"/>
                <a:gd name="connsiteX22" fmla="*/ 5066181 w 5964568"/>
                <a:gd name="connsiteY22" fmla="*/ 95878 h 3228062"/>
                <a:gd name="connsiteX23" fmla="*/ 5478894 w 5964568"/>
                <a:gd name="connsiteY23" fmla="*/ 4128 h 3228062"/>
                <a:gd name="connsiteX24" fmla="*/ 5964568 w 5964568"/>
                <a:gd name="connsiteY24" fmla="*/ 324721 h 3228062"/>
                <a:gd name="connsiteX25" fmla="*/ 1736389 w 5964568"/>
                <a:gd name="connsiteY25" fmla="*/ 3228062 h 3228062"/>
                <a:gd name="connsiteX26" fmla="*/ 212611 w 5964568"/>
                <a:gd name="connsiteY26" fmla="*/ 2888592 h 3228062"/>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036141 w 5964568"/>
                <a:gd name="connsiteY18" fmla="*/ 372119 h 3227537"/>
                <a:gd name="connsiteX19" fmla="*/ 4344358 w 5964568"/>
                <a:gd name="connsiteY19" fmla="*/ 194615 h 3227537"/>
                <a:gd name="connsiteX20" fmla="*/ 4198661 w 5964568"/>
                <a:gd name="connsiteY20" fmla="*/ 170771 h 3227537"/>
                <a:gd name="connsiteX21" fmla="*/ 4788590 w 5964568"/>
                <a:gd name="connsiteY21" fmla="*/ 54418 h 3227537"/>
                <a:gd name="connsiteX22" fmla="*/ 5066181 w 5964568"/>
                <a:gd name="connsiteY22" fmla="*/ 95353 h 3227537"/>
                <a:gd name="connsiteX23" fmla="*/ 5478894 w 5964568"/>
                <a:gd name="connsiteY23" fmla="*/ 3603 h 3227537"/>
                <a:gd name="connsiteX24" fmla="*/ 5964568 w 5964568"/>
                <a:gd name="connsiteY24" fmla="*/ 324196 h 3227537"/>
                <a:gd name="connsiteX25" fmla="*/ 1736389 w 5964568"/>
                <a:gd name="connsiteY25" fmla="*/ 3227537 h 3227537"/>
                <a:gd name="connsiteX26" fmla="*/ 212611 w 5964568"/>
                <a:gd name="connsiteY26"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574460 w 5964568"/>
                <a:gd name="connsiteY17" fmla="*/ 370352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0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219464 w 5964568"/>
                <a:gd name="connsiteY13" fmla="*/ 680461 h 3227537"/>
                <a:gd name="connsiteX14" fmla="*/ 3356372 w 5964568"/>
                <a:gd name="connsiteY14" fmla="*/ 500449 h 3227537"/>
                <a:gd name="connsiteX15" fmla="*/ 3086216 w 5964568"/>
                <a:gd name="connsiteY15" fmla="*/ 509932 h 3227537"/>
                <a:gd name="connsiteX16" fmla="*/ 3698561 w 5964568"/>
                <a:gd name="connsiteY16" fmla="*/ 232711 h 3227537"/>
                <a:gd name="connsiteX17" fmla="*/ 3623481 w 5964568"/>
                <a:gd name="connsiteY17" fmla="*/ 395239 h 3227537"/>
                <a:gd name="connsiteX18" fmla="*/ 4344358 w 5964568"/>
                <a:gd name="connsiteY18" fmla="*/ 194615 h 3227537"/>
                <a:gd name="connsiteX19" fmla="*/ 4198661 w 5964568"/>
                <a:gd name="connsiteY19" fmla="*/ 170771 h 3227537"/>
                <a:gd name="connsiteX20" fmla="*/ 4788590 w 5964568"/>
                <a:gd name="connsiteY20" fmla="*/ 54418 h 3227537"/>
                <a:gd name="connsiteX21" fmla="*/ 5066181 w 5964568"/>
                <a:gd name="connsiteY21" fmla="*/ 95353 h 3227537"/>
                <a:gd name="connsiteX22" fmla="*/ 5478894 w 5964568"/>
                <a:gd name="connsiteY22" fmla="*/ 3603 h 3227537"/>
                <a:gd name="connsiteX23" fmla="*/ 5964568 w 5964568"/>
                <a:gd name="connsiteY23" fmla="*/ 324196 h 3227537"/>
                <a:gd name="connsiteX24" fmla="*/ 1736389 w 5964568"/>
                <a:gd name="connsiteY24" fmla="*/ 3227537 h 3227537"/>
                <a:gd name="connsiteX25" fmla="*/ 212611 w 5964568"/>
                <a:gd name="connsiteY25"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05800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6372 w 5964568"/>
                <a:gd name="connsiteY13" fmla="*/ 500449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181192 w 5964568"/>
                <a:gd name="connsiteY8" fmla="*/ 1227698 h 3227537"/>
                <a:gd name="connsiteX9" fmla="*/ 2320564 w 5964568"/>
                <a:gd name="connsiteY9" fmla="*/ 958464 h 3227537"/>
                <a:gd name="connsiteX10" fmla="*/ 1934587 w 5964568"/>
                <a:gd name="connsiteY10" fmla="*/ 939686 h 3227537"/>
                <a:gd name="connsiteX11" fmla="*/ 2724695 w 5964568"/>
                <a:gd name="connsiteY11" fmla="*/ 648948 h 3227537"/>
                <a:gd name="connsiteX12" fmla="*/ 2671161 w 5964568"/>
                <a:gd name="connsiteY12" fmla="*/ 815773 h 3227537"/>
                <a:gd name="connsiteX13" fmla="*/ 3352287 w 5964568"/>
                <a:gd name="connsiteY13" fmla="*/ 521781 h 3227537"/>
                <a:gd name="connsiteX14" fmla="*/ 3086216 w 5964568"/>
                <a:gd name="connsiteY14" fmla="*/ 509932 h 3227537"/>
                <a:gd name="connsiteX15" fmla="*/ 3698561 w 5964568"/>
                <a:gd name="connsiteY15" fmla="*/ 232711 h 3227537"/>
                <a:gd name="connsiteX16" fmla="*/ 3623481 w 5964568"/>
                <a:gd name="connsiteY16" fmla="*/ 395239 h 3227537"/>
                <a:gd name="connsiteX17" fmla="*/ 4344358 w 5964568"/>
                <a:gd name="connsiteY17" fmla="*/ 194615 h 3227537"/>
                <a:gd name="connsiteX18" fmla="*/ 4198661 w 5964568"/>
                <a:gd name="connsiteY18" fmla="*/ 170771 h 3227537"/>
                <a:gd name="connsiteX19" fmla="*/ 4788590 w 5964568"/>
                <a:gd name="connsiteY19" fmla="*/ 54418 h 3227537"/>
                <a:gd name="connsiteX20" fmla="*/ 5066181 w 5964568"/>
                <a:gd name="connsiteY20" fmla="*/ 95353 h 3227537"/>
                <a:gd name="connsiteX21" fmla="*/ 5478894 w 5964568"/>
                <a:gd name="connsiteY21" fmla="*/ 3603 h 3227537"/>
                <a:gd name="connsiteX22" fmla="*/ 5964568 w 5964568"/>
                <a:gd name="connsiteY22" fmla="*/ 324196 h 3227537"/>
                <a:gd name="connsiteX23" fmla="*/ 1736389 w 5964568"/>
                <a:gd name="connsiteY23" fmla="*/ 3227537 h 3227537"/>
                <a:gd name="connsiteX24" fmla="*/ 212611 w 5964568"/>
                <a:gd name="connsiteY24"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8806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8806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98561 w 5964568"/>
                <a:gd name="connsiteY14" fmla="*/ 232711 h 3227537"/>
                <a:gd name="connsiteX15" fmla="*/ 3623481 w 5964568"/>
                <a:gd name="connsiteY15" fmla="*/ 395239 h 3227537"/>
                <a:gd name="connsiteX16" fmla="*/ 4344358 w 5964568"/>
                <a:gd name="connsiteY16" fmla="*/ 194615 h 3227537"/>
                <a:gd name="connsiteX17" fmla="*/ 4198661 w 5964568"/>
                <a:gd name="connsiteY17" fmla="*/ 170771 h 3227537"/>
                <a:gd name="connsiteX18" fmla="*/ 4788590 w 5964568"/>
                <a:gd name="connsiteY18" fmla="*/ 54418 h 3227537"/>
                <a:gd name="connsiteX19" fmla="*/ 5066181 w 5964568"/>
                <a:gd name="connsiteY19" fmla="*/ 95353 h 3227537"/>
                <a:gd name="connsiteX20" fmla="*/ 5478894 w 5964568"/>
                <a:gd name="connsiteY20" fmla="*/ 3603 h 3227537"/>
                <a:gd name="connsiteX21" fmla="*/ 5964568 w 5964568"/>
                <a:gd name="connsiteY21" fmla="*/ 324196 h 3227537"/>
                <a:gd name="connsiteX22" fmla="*/ 1736389 w 5964568"/>
                <a:gd name="connsiteY22" fmla="*/ 3227537 h 3227537"/>
                <a:gd name="connsiteX23" fmla="*/ 212611 w 5964568"/>
                <a:gd name="connsiteY2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086216 w 5964568"/>
                <a:gd name="connsiteY13" fmla="*/ 509932 h 3227537"/>
                <a:gd name="connsiteX14" fmla="*/ 3623481 w 5964568"/>
                <a:gd name="connsiteY14" fmla="*/ 395239 h 3227537"/>
                <a:gd name="connsiteX15" fmla="*/ 4344358 w 5964568"/>
                <a:gd name="connsiteY15" fmla="*/ 194615 h 3227537"/>
                <a:gd name="connsiteX16" fmla="*/ 4198661 w 5964568"/>
                <a:gd name="connsiteY16" fmla="*/ 170771 h 3227537"/>
                <a:gd name="connsiteX17" fmla="*/ 4788590 w 5964568"/>
                <a:gd name="connsiteY17" fmla="*/ 54418 h 3227537"/>
                <a:gd name="connsiteX18" fmla="*/ 5066181 w 5964568"/>
                <a:gd name="connsiteY18" fmla="*/ 95353 h 3227537"/>
                <a:gd name="connsiteX19" fmla="*/ 5478894 w 5964568"/>
                <a:gd name="connsiteY19" fmla="*/ 3603 h 3227537"/>
                <a:gd name="connsiteX20" fmla="*/ 5964568 w 5964568"/>
                <a:gd name="connsiteY20" fmla="*/ 324196 h 3227537"/>
                <a:gd name="connsiteX21" fmla="*/ 1736389 w 5964568"/>
                <a:gd name="connsiteY21" fmla="*/ 3227537 h 3227537"/>
                <a:gd name="connsiteX22" fmla="*/ 212611 w 5964568"/>
                <a:gd name="connsiteY2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352287 w 5964568"/>
                <a:gd name="connsiteY12" fmla="*/ 521781 h 3227537"/>
                <a:gd name="connsiteX13" fmla="*/ 3623481 w 5964568"/>
                <a:gd name="connsiteY13" fmla="*/ 395239 h 3227537"/>
                <a:gd name="connsiteX14" fmla="*/ 4344358 w 5964568"/>
                <a:gd name="connsiteY14" fmla="*/ 194615 h 3227537"/>
                <a:gd name="connsiteX15" fmla="*/ 4198661 w 5964568"/>
                <a:gd name="connsiteY15" fmla="*/ 170771 h 3227537"/>
                <a:gd name="connsiteX16" fmla="*/ 4788590 w 5964568"/>
                <a:gd name="connsiteY16" fmla="*/ 54418 h 3227537"/>
                <a:gd name="connsiteX17" fmla="*/ 5066181 w 5964568"/>
                <a:gd name="connsiteY17" fmla="*/ 95353 h 3227537"/>
                <a:gd name="connsiteX18" fmla="*/ 5478894 w 5964568"/>
                <a:gd name="connsiteY18" fmla="*/ 3603 h 3227537"/>
                <a:gd name="connsiteX19" fmla="*/ 5964568 w 5964568"/>
                <a:gd name="connsiteY19" fmla="*/ 324196 h 3227537"/>
                <a:gd name="connsiteX20" fmla="*/ 1736389 w 5964568"/>
                <a:gd name="connsiteY20" fmla="*/ 3227537 h 3227537"/>
                <a:gd name="connsiteX21" fmla="*/ 212611 w 5964568"/>
                <a:gd name="connsiteY21"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2671161 w 5964568"/>
                <a:gd name="connsiteY11" fmla="*/ 815773 h 3227537"/>
                <a:gd name="connsiteX12" fmla="*/ 3623481 w 5964568"/>
                <a:gd name="connsiteY12" fmla="*/ 395239 h 3227537"/>
                <a:gd name="connsiteX13" fmla="*/ 4344358 w 5964568"/>
                <a:gd name="connsiteY13" fmla="*/ 194615 h 3227537"/>
                <a:gd name="connsiteX14" fmla="*/ 4198661 w 5964568"/>
                <a:gd name="connsiteY14" fmla="*/ 170771 h 3227537"/>
                <a:gd name="connsiteX15" fmla="*/ 4788590 w 5964568"/>
                <a:gd name="connsiteY15" fmla="*/ 54418 h 3227537"/>
                <a:gd name="connsiteX16" fmla="*/ 5066181 w 5964568"/>
                <a:gd name="connsiteY16" fmla="*/ 95353 h 3227537"/>
                <a:gd name="connsiteX17" fmla="*/ 5478894 w 5964568"/>
                <a:gd name="connsiteY17" fmla="*/ 3603 h 3227537"/>
                <a:gd name="connsiteX18" fmla="*/ 5964568 w 5964568"/>
                <a:gd name="connsiteY18" fmla="*/ 324196 h 3227537"/>
                <a:gd name="connsiteX19" fmla="*/ 1736389 w 5964568"/>
                <a:gd name="connsiteY19" fmla="*/ 3227537 h 3227537"/>
                <a:gd name="connsiteX20" fmla="*/ 212611 w 5964568"/>
                <a:gd name="connsiteY20"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2724695 w 5964568"/>
                <a:gd name="connsiteY10" fmla="*/ 648948 h 3227537"/>
                <a:gd name="connsiteX11" fmla="*/ 3623481 w 5964568"/>
                <a:gd name="connsiteY11" fmla="*/ 395239 h 3227537"/>
                <a:gd name="connsiteX12" fmla="*/ 4344358 w 5964568"/>
                <a:gd name="connsiteY12" fmla="*/ 194615 h 3227537"/>
                <a:gd name="connsiteX13" fmla="*/ 4198661 w 5964568"/>
                <a:gd name="connsiteY13" fmla="*/ 170771 h 3227537"/>
                <a:gd name="connsiteX14" fmla="*/ 4788590 w 5964568"/>
                <a:gd name="connsiteY14" fmla="*/ 54418 h 3227537"/>
                <a:gd name="connsiteX15" fmla="*/ 5066181 w 5964568"/>
                <a:gd name="connsiteY15" fmla="*/ 95353 h 3227537"/>
                <a:gd name="connsiteX16" fmla="*/ 5478894 w 5964568"/>
                <a:gd name="connsiteY16" fmla="*/ 3603 h 3227537"/>
                <a:gd name="connsiteX17" fmla="*/ 5964568 w 5964568"/>
                <a:gd name="connsiteY17" fmla="*/ 324196 h 3227537"/>
                <a:gd name="connsiteX18" fmla="*/ 1736389 w 5964568"/>
                <a:gd name="connsiteY18" fmla="*/ 3227537 h 3227537"/>
                <a:gd name="connsiteX19" fmla="*/ 212611 w 5964568"/>
                <a:gd name="connsiteY19"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1934587 w 5964568"/>
                <a:gd name="connsiteY9" fmla="*/ 939686 h 3227537"/>
                <a:gd name="connsiteX10" fmla="*/ 3623481 w 5964568"/>
                <a:gd name="connsiteY10" fmla="*/ 395239 h 3227537"/>
                <a:gd name="connsiteX11" fmla="*/ 4344358 w 5964568"/>
                <a:gd name="connsiteY11" fmla="*/ 194615 h 3227537"/>
                <a:gd name="connsiteX12" fmla="*/ 4198661 w 5964568"/>
                <a:gd name="connsiteY12" fmla="*/ 170771 h 3227537"/>
                <a:gd name="connsiteX13" fmla="*/ 4788590 w 5964568"/>
                <a:gd name="connsiteY13" fmla="*/ 54418 h 3227537"/>
                <a:gd name="connsiteX14" fmla="*/ 5066181 w 5964568"/>
                <a:gd name="connsiteY14" fmla="*/ 95353 h 3227537"/>
                <a:gd name="connsiteX15" fmla="*/ 5478894 w 5964568"/>
                <a:gd name="connsiteY15" fmla="*/ 3603 h 3227537"/>
                <a:gd name="connsiteX16" fmla="*/ 5964568 w 5964568"/>
                <a:gd name="connsiteY16" fmla="*/ 324196 h 3227537"/>
                <a:gd name="connsiteX17" fmla="*/ 1736389 w 5964568"/>
                <a:gd name="connsiteY17" fmla="*/ 3227537 h 3227537"/>
                <a:gd name="connsiteX18" fmla="*/ 212611 w 5964568"/>
                <a:gd name="connsiteY18"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2320564 w 5964568"/>
                <a:gd name="connsiteY8" fmla="*/ 958464 h 3227537"/>
                <a:gd name="connsiteX9" fmla="*/ 3623481 w 5964568"/>
                <a:gd name="connsiteY9" fmla="*/ 395239 h 3227537"/>
                <a:gd name="connsiteX10" fmla="*/ 4344358 w 5964568"/>
                <a:gd name="connsiteY10" fmla="*/ 194615 h 3227537"/>
                <a:gd name="connsiteX11" fmla="*/ 4198661 w 5964568"/>
                <a:gd name="connsiteY11" fmla="*/ 170771 h 3227537"/>
                <a:gd name="connsiteX12" fmla="*/ 4788590 w 5964568"/>
                <a:gd name="connsiteY12" fmla="*/ 54418 h 3227537"/>
                <a:gd name="connsiteX13" fmla="*/ 5066181 w 5964568"/>
                <a:gd name="connsiteY13" fmla="*/ 95353 h 3227537"/>
                <a:gd name="connsiteX14" fmla="*/ 5478894 w 5964568"/>
                <a:gd name="connsiteY14" fmla="*/ 3603 h 3227537"/>
                <a:gd name="connsiteX15" fmla="*/ 5964568 w 5964568"/>
                <a:gd name="connsiteY15" fmla="*/ 324196 h 3227537"/>
                <a:gd name="connsiteX16" fmla="*/ 1736389 w 5964568"/>
                <a:gd name="connsiteY16" fmla="*/ 3227537 h 3227537"/>
                <a:gd name="connsiteX17" fmla="*/ 212611 w 5964568"/>
                <a:gd name="connsiteY17"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1433591 w 5964568"/>
                <a:gd name="connsiteY7" fmla="*/ 1471142 h 3227537"/>
                <a:gd name="connsiteX8" fmla="*/ 3623481 w 5964568"/>
                <a:gd name="connsiteY8" fmla="*/ 395239 h 3227537"/>
                <a:gd name="connsiteX9" fmla="*/ 4344358 w 5964568"/>
                <a:gd name="connsiteY9" fmla="*/ 194615 h 3227537"/>
                <a:gd name="connsiteX10" fmla="*/ 4198661 w 5964568"/>
                <a:gd name="connsiteY10" fmla="*/ 170771 h 3227537"/>
                <a:gd name="connsiteX11" fmla="*/ 4788590 w 5964568"/>
                <a:gd name="connsiteY11" fmla="*/ 54418 h 3227537"/>
                <a:gd name="connsiteX12" fmla="*/ 5066181 w 5964568"/>
                <a:gd name="connsiteY12" fmla="*/ 95353 h 3227537"/>
                <a:gd name="connsiteX13" fmla="*/ 5478894 w 5964568"/>
                <a:gd name="connsiteY13" fmla="*/ 3603 h 3227537"/>
                <a:gd name="connsiteX14" fmla="*/ 5964568 w 5964568"/>
                <a:gd name="connsiteY14" fmla="*/ 324196 h 3227537"/>
                <a:gd name="connsiteX15" fmla="*/ 1736389 w 5964568"/>
                <a:gd name="connsiteY15" fmla="*/ 3227537 h 3227537"/>
                <a:gd name="connsiteX16" fmla="*/ 212611 w 5964568"/>
                <a:gd name="connsiteY16"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1523207 w 5964568"/>
                <a:gd name="connsiteY6" fmla="*/ 1199395 h 3227537"/>
                <a:gd name="connsiteX7" fmla="*/ 3623481 w 5964568"/>
                <a:gd name="connsiteY7" fmla="*/ 395239 h 3227537"/>
                <a:gd name="connsiteX8" fmla="*/ 4344358 w 5964568"/>
                <a:gd name="connsiteY8" fmla="*/ 194615 h 3227537"/>
                <a:gd name="connsiteX9" fmla="*/ 4198661 w 5964568"/>
                <a:gd name="connsiteY9" fmla="*/ 170771 h 3227537"/>
                <a:gd name="connsiteX10" fmla="*/ 4788590 w 5964568"/>
                <a:gd name="connsiteY10" fmla="*/ 54418 h 3227537"/>
                <a:gd name="connsiteX11" fmla="*/ 5066181 w 5964568"/>
                <a:gd name="connsiteY11" fmla="*/ 95353 h 3227537"/>
                <a:gd name="connsiteX12" fmla="*/ 5478894 w 5964568"/>
                <a:gd name="connsiteY12" fmla="*/ 3603 h 3227537"/>
                <a:gd name="connsiteX13" fmla="*/ 5964568 w 5964568"/>
                <a:gd name="connsiteY13" fmla="*/ 324196 h 3227537"/>
                <a:gd name="connsiteX14" fmla="*/ 1736389 w 5964568"/>
                <a:gd name="connsiteY14" fmla="*/ 3227537 h 3227537"/>
                <a:gd name="connsiteX15" fmla="*/ 212611 w 5964568"/>
                <a:gd name="connsiteY15"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714335 w 5964568"/>
                <a:gd name="connsiteY5" fmla="*/ 1913113 h 3227537"/>
                <a:gd name="connsiteX6" fmla="*/ 3623481 w 5964568"/>
                <a:gd name="connsiteY6" fmla="*/ 395239 h 3227537"/>
                <a:gd name="connsiteX7" fmla="*/ 4344358 w 5964568"/>
                <a:gd name="connsiteY7" fmla="*/ 194615 h 3227537"/>
                <a:gd name="connsiteX8" fmla="*/ 4198661 w 5964568"/>
                <a:gd name="connsiteY8" fmla="*/ 170771 h 3227537"/>
                <a:gd name="connsiteX9" fmla="*/ 4788590 w 5964568"/>
                <a:gd name="connsiteY9" fmla="*/ 54418 h 3227537"/>
                <a:gd name="connsiteX10" fmla="*/ 5066181 w 5964568"/>
                <a:gd name="connsiteY10" fmla="*/ 95353 h 3227537"/>
                <a:gd name="connsiteX11" fmla="*/ 5478894 w 5964568"/>
                <a:gd name="connsiteY11" fmla="*/ 3603 h 3227537"/>
                <a:gd name="connsiteX12" fmla="*/ 5964568 w 5964568"/>
                <a:gd name="connsiteY12" fmla="*/ 324196 h 3227537"/>
                <a:gd name="connsiteX13" fmla="*/ 1736389 w 5964568"/>
                <a:gd name="connsiteY13" fmla="*/ 3227537 h 3227537"/>
                <a:gd name="connsiteX14" fmla="*/ 212611 w 5964568"/>
                <a:gd name="connsiteY14"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1020177 w 5964568"/>
                <a:gd name="connsiteY4" fmla="*/ 1819583 h 3227537"/>
                <a:gd name="connsiteX5" fmla="*/ 3623481 w 5964568"/>
                <a:gd name="connsiteY5" fmla="*/ 395239 h 3227537"/>
                <a:gd name="connsiteX6" fmla="*/ 4344358 w 5964568"/>
                <a:gd name="connsiteY6" fmla="*/ 194615 h 3227537"/>
                <a:gd name="connsiteX7" fmla="*/ 4198661 w 5964568"/>
                <a:gd name="connsiteY7" fmla="*/ 170771 h 3227537"/>
                <a:gd name="connsiteX8" fmla="*/ 4788590 w 5964568"/>
                <a:gd name="connsiteY8" fmla="*/ 54418 h 3227537"/>
                <a:gd name="connsiteX9" fmla="*/ 5066181 w 5964568"/>
                <a:gd name="connsiteY9" fmla="*/ 95353 h 3227537"/>
                <a:gd name="connsiteX10" fmla="*/ 5478894 w 5964568"/>
                <a:gd name="connsiteY10" fmla="*/ 3603 h 3227537"/>
                <a:gd name="connsiteX11" fmla="*/ 5964568 w 5964568"/>
                <a:gd name="connsiteY11" fmla="*/ 324196 h 3227537"/>
                <a:gd name="connsiteX12" fmla="*/ 1736389 w 5964568"/>
                <a:gd name="connsiteY12" fmla="*/ 3227537 h 3227537"/>
                <a:gd name="connsiteX13" fmla="*/ 212611 w 5964568"/>
                <a:gd name="connsiteY13"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914255 w 5964568"/>
                <a:gd name="connsiteY3" fmla="*/ 2223421 h 3227537"/>
                <a:gd name="connsiteX4" fmla="*/ 3623481 w 5964568"/>
                <a:gd name="connsiteY4" fmla="*/ 395239 h 3227537"/>
                <a:gd name="connsiteX5" fmla="*/ 4344358 w 5964568"/>
                <a:gd name="connsiteY5" fmla="*/ 194615 h 3227537"/>
                <a:gd name="connsiteX6" fmla="*/ 4198661 w 5964568"/>
                <a:gd name="connsiteY6" fmla="*/ 170771 h 3227537"/>
                <a:gd name="connsiteX7" fmla="*/ 4788590 w 5964568"/>
                <a:gd name="connsiteY7" fmla="*/ 54418 h 3227537"/>
                <a:gd name="connsiteX8" fmla="*/ 5066181 w 5964568"/>
                <a:gd name="connsiteY8" fmla="*/ 95353 h 3227537"/>
                <a:gd name="connsiteX9" fmla="*/ 5478894 w 5964568"/>
                <a:gd name="connsiteY9" fmla="*/ 3603 h 3227537"/>
                <a:gd name="connsiteX10" fmla="*/ 5964568 w 5964568"/>
                <a:gd name="connsiteY10" fmla="*/ 324196 h 3227537"/>
                <a:gd name="connsiteX11" fmla="*/ 1736389 w 5964568"/>
                <a:gd name="connsiteY11" fmla="*/ 3227537 h 3227537"/>
                <a:gd name="connsiteX12" fmla="*/ 212611 w 5964568"/>
                <a:gd name="connsiteY12" fmla="*/ 2873847 h 3227537"/>
                <a:gd name="connsiteX0" fmla="*/ 212611 w 5964568"/>
                <a:gd name="connsiteY0" fmla="*/ 2873847 h 3227537"/>
                <a:gd name="connsiteX1" fmla="*/ 160498 w 5964568"/>
                <a:gd name="connsiteY1" fmla="*/ 2672237 h 3227537"/>
                <a:gd name="connsiteX2" fmla="*/ 418903 w 5964568"/>
                <a:gd name="connsiteY2" fmla="*/ 2371827 h 3227537"/>
                <a:gd name="connsiteX3" fmla="*/ 3623481 w 5964568"/>
                <a:gd name="connsiteY3" fmla="*/ 395239 h 3227537"/>
                <a:gd name="connsiteX4" fmla="*/ 4344358 w 5964568"/>
                <a:gd name="connsiteY4" fmla="*/ 194615 h 3227537"/>
                <a:gd name="connsiteX5" fmla="*/ 4198661 w 5964568"/>
                <a:gd name="connsiteY5" fmla="*/ 170771 h 3227537"/>
                <a:gd name="connsiteX6" fmla="*/ 4788590 w 5964568"/>
                <a:gd name="connsiteY6" fmla="*/ 54418 h 3227537"/>
                <a:gd name="connsiteX7" fmla="*/ 5066181 w 5964568"/>
                <a:gd name="connsiteY7" fmla="*/ 95353 h 3227537"/>
                <a:gd name="connsiteX8" fmla="*/ 5478894 w 5964568"/>
                <a:gd name="connsiteY8" fmla="*/ 3603 h 3227537"/>
                <a:gd name="connsiteX9" fmla="*/ 5964568 w 5964568"/>
                <a:gd name="connsiteY9" fmla="*/ 324196 h 3227537"/>
                <a:gd name="connsiteX10" fmla="*/ 1736389 w 5964568"/>
                <a:gd name="connsiteY10" fmla="*/ 3227537 h 3227537"/>
                <a:gd name="connsiteX11" fmla="*/ 212611 w 5964568"/>
                <a:gd name="connsiteY11" fmla="*/ 2873847 h 3227537"/>
                <a:gd name="connsiteX0" fmla="*/ 234797 w 5986754"/>
                <a:gd name="connsiteY0" fmla="*/ 2873847 h 3227537"/>
                <a:gd name="connsiteX1" fmla="*/ 182684 w 5986754"/>
                <a:gd name="connsiteY1" fmla="*/ 2672237 h 3227537"/>
                <a:gd name="connsiteX2" fmla="*/ 3645667 w 5986754"/>
                <a:gd name="connsiteY2" fmla="*/ 395239 h 3227537"/>
                <a:gd name="connsiteX3" fmla="*/ 4366544 w 5986754"/>
                <a:gd name="connsiteY3" fmla="*/ 194615 h 3227537"/>
                <a:gd name="connsiteX4" fmla="*/ 4220847 w 5986754"/>
                <a:gd name="connsiteY4" fmla="*/ 170771 h 3227537"/>
                <a:gd name="connsiteX5" fmla="*/ 4810776 w 5986754"/>
                <a:gd name="connsiteY5" fmla="*/ 54418 h 3227537"/>
                <a:gd name="connsiteX6" fmla="*/ 5088367 w 5986754"/>
                <a:gd name="connsiteY6" fmla="*/ 95353 h 3227537"/>
                <a:gd name="connsiteX7" fmla="*/ 5501080 w 5986754"/>
                <a:gd name="connsiteY7" fmla="*/ 3603 h 3227537"/>
                <a:gd name="connsiteX8" fmla="*/ 5986754 w 5986754"/>
                <a:gd name="connsiteY8" fmla="*/ 324196 h 3227537"/>
                <a:gd name="connsiteX9" fmla="*/ 1758575 w 5986754"/>
                <a:gd name="connsiteY9" fmla="*/ 3227537 h 3227537"/>
                <a:gd name="connsiteX10" fmla="*/ 234797 w 5986754"/>
                <a:gd name="connsiteY10" fmla="*/ 2873847 h 3227537"/>
                <a:gd name="connsiteX0" fmla="*/ 0 w 5751957"/>
                <a:gd name="connsiteY0" fmla="*/ 2873847 h 3227537"/>
                <a:gd name="connsiteX1" fmla="*/ 3410870 w 5751957"/>
                <a:gd name="connsiteY1" fmla="*/ 395239 h 3227537"/>
                <a:gd name="connsiteX2" fmla="*/ 4131747 w 5751957"/>
                <a:gd name="connsiteY2" fmla="*/ 194615 h 3227537"/>
                <a:gd name="connsiteX3" fmla="*/ 3986050 w 5751957"/>
                <a:gd name="connsiteY3" fmla="*/ 170771 h 3227537"/>
                <a:gd name="connsiteX4" fmla="*/ 4575979 w 5751957"/>
                <a:gd name="connsiteY4" fmla="*/ 54418 h 3227537"/>
                <a:gd name="connsiteX5" fmla="*/ 4853570 w 5751957"/>
                <a:gd name="connsiteY5" fmla="*/ 95353 h 3227537"/>
                <a:gd name="connsiteX6" fmla="*/ 5266283 w 5751957"/>
                <a:gd name="connsiteY6" fmla="*/ 3603 h 3227537"/>
                <a:gd name="connsiteX7" fmla="*/ 5751957 w 5751957"/>
                <a:gd name="connsiteY7" fmla="*/ 324196 h 3227537"/>
                <a:gd name="connsiteX8" fmla="*/ 1523778 w 5751957"/>
                <a:gd name="connsiteY8" fmla="*/ 3227537 h 3227537"/>
                <a:gd name="connsiteX9" fmla="*/ 0 w 5751957"/>
                <a:gd name="connsiteY9" fmla="*/ 2873847 h 3227537"/>
                <a:gd name="connsiteX0" fmla="*/ 0 w 4228179"/>
                <a:gd name="connsiteY0" fmla="*/ 3227537 h 3227537"/>
                <a:gd name="connsiteX1" fmla="*/ 1887092 w 4228179"/>
                <a:gd name="connsiteY1" fmla="*/ 395239 h 3227537"/>
                <a:gd name="connsiteX2" fmla="*/ 2607969 w 4228179"/>
                <a:gd name="connsiteY2" fmla="*/ 194615 h 3227537"/>
                <a:gd name="connsiteX3" fmla="*/ 2462272 w 4228179"/>
                <a:gd name="connsiteY3" fmla="*/ 170771 h 3227537"/>
                <a:gd name="connsiteX4" fmla="*/ 3052201 w 4228179"/>
                <a:gd name="connsiteY4" fmla="*/ 54418 h 3227537"/>
                <a:gd name="connsiteX5" fmla="*/ 3329792 w 4228179"/>
                <a:gd name="connsiteY5" fmla="*/ 95353 h 3227537"/>
                <a:gd name="connsiteX6" fmla="*/ 3742505 w 4228179"/>
                <a:gd name="connsiteY6" fmla="*/ 3603 h 3227537"/>
                <a:gd name="connsiteX7" fmla="*/ 4228179 w 4228179"/>
                <a:gd name="connsiteY7" fmla="*/ 324196 h 3227537"/>
                <a:gd name="connsiteX8" fmla="*/ 0 w 4228179"/>
                <a:gd name="connsiteY8" fmla="*/ 3227537 h 3227537"/>
                <a:gd name="connsiteX0" fmla="*/ 0 w 2670487"/>
                <a:gd name="connsiteY0" fmla="*/ 1789322 h 1789322"/>
                <a:gd name="connsiteX1" fmla="*/ 329400 w 2670487"/>
                <a:gd name="connsiteY1" fmla="*/ 395239 h 1789322"/>
                <a:gd name="connsiteX2" fmla="*/ 1050277 w 2670487"/>
                <a:gd name="connsiteY2" fmla="*/ 194615 h 1789322"/>
                <a:gd name="connsiteX3" fmla="*/ 904580 w 2670487"/>
                <a:gd name="connsiteY3" fmla="*/ 170771 h 1789322"/>
                <a:gd name="connsiteX4" fmla="*/ 1494509 w 2670487"/>
                <a:gd name="connsiteY4" fmla="*/ 54418 h 1789322"/>
                <a:gd name="connsiteX5" fmla="*/ 1772100 w 2670487"/>
                <a:gd name="connsiteY5" fmla="*/ 95353 h 1789322"/>
                <a:gd name="connsiteX6" fmla="*/ 2184813 w 2670487"/>
                <a:gd name="connsiteY6" fmla="*/ 3603 h 1789322"/>
                <a:gd name="connsiteX7" fmla="*/ 2670487 w 2670487"/>
                <a:gd name="connsiteY7" fmla="*/ 324196 h 1789322"/>
                <a:gd name="connsiteX8" fmla="*/ 0 w 2670487"/>
                <a:gd name="connsiteY8" fmla="*/ 1789322 h 1789322"/>
                <a:gd name="connsiteX0" fmla="*/ 0 w 2670487"/>
                <a:gd name="connsiteY0" fmla="*/ 1789322 h 1789322"/>
                <a:gd name="connsiteX1" fmla="*/ 329400 w 2670487"/>
                <a:gd name="connsiteY1" fmla="*/ 395239 h 1789322"/>
                <a:gd name="connsiteX2" fmla="*/ 1050277 w 2670487"/>
                <a:gd name="connsiteY2" fmla="*/ 194615 h 1789322"/>
                <a:gd name="connsiteX3" fmla="*/ 904580 w 2670487"/>
                <a:gd name="connsiteY3" fmla="*/ 170771 h 1789322"/>
                <a:gd name="connsiteX4" fmla="*/ 1494509 w 2670487"/>
                <a:gd name="connsiteY4" fmla="*/ 54418 h 1789322"/>
                <a:gd name="connsiteX5" fmla="*/ 1772100 w 2670487"/>
                <a:gd name="connsiteY5" fmla="*/ 95353 h 1789322"/>
                <a:gd name="connsiteX6" fmla="*/ 2184813 w 2670487"/>
                <a:gd name="connsiteY6" fmla="*/ 3603 h 1789322"/>
                <a:gd name="connsiteX7" fmla="*/ 2670487 w 2670487"/>
                <a:gd name="connsiteY7" fmla="*/ 324196 h 1789322"/>
                <a:gd name="connsiteX8" fmla="*/ 0 w 2670487"/>
                <a:gd name="connsiteY8" fmla="*/ 1789322 h 1789322"/>
                <a:gd name="connsiteX0" fmla="*/ 429128 w 2341087"/>
                <a:gd name="connsiteY0" fmla="*/ 1046638 h 1046638"/>
                <a:gd name="connsiteX1" fmla="*/ 0 w 2341087"/>
                <a:gd name="connsiteY1" fmla="*/ 395239 h 1046638"/>
                <a:gd name="connsiteX2" fmla="*/ 720877 w 2341087"/>
                <a:gd name="connsiteY2" fmla="*/ 194615 h 1046638"/>
                <a:gd name="connsiteX3" fmla="*/ 575180 w 2341087"/>
                <a:gd name="connsiteY3" fmla="*/ 170771 h 1046638"/>
                <a:gd name="connsiteX4" fmla="*/ 1165109 w 2341087"/>
                <a:gd name="connsiteY4" fmla="*/ 54418 h 1046638"/>
                <a:gd name="connsiteX5" fmla="*/ 1442700 w 2341087"/>
                <a:gd name="connsiteY5" fmla="*/ 95353 h 1046638"/>
                <a:gd name="connsiteX6" fmla="*/ 1855413 w 2341087"/>
                <a:gd name="connsiteY6" fmla="*/ 3603 h 1046638"/>
                <a:gd name="connsiteX7" fmla="*/ 2341087 w 2341087"/>
                <a:gd name="connsiteY7" fmla="*/ 324196 h 1046638"/>
                <a:gd name="connsiteX8" fmla="*/ 429128 w 2341087"/>
                <a:gd name="connsiteY8" fmla="*/ 1046638 h 1046638"/>
                <a:gd name="connsiteX0" fmla="*/ 429128 w 2341087"/>
                <a:gd name="connsiteY0" fmla="*/ 1046638 h 1046638"/>
                <a:gd name="connsiteX1" fmla="*/ 0 w 2341087"/>
                <a:gd name="connsiteY1" fmla="*/ 395239 h 1046638"/>
                <a:gd name="connsiteX2" fmla="*/ 720877 w 2341087"/>
                <a:gd name="connsiteY2" fmla="*/ 194615 h 1046638"/>
                <a:gd name="connsiteX3" fmla="*/ 575180 w 2341087"/>
                <a:gd name="connsiteY3" fmla="*/ 170771 h 1046638"/>
                <a:gd name="connsiteX4" fmla="*/ 1165109 w 2341087"/>
                <a:gd name="connsiteY4" fmla="*/ 54418 h 1046638"/>
                <a:gd name="connsiteX5" fmla="*/ 1442700 w 2341087"/>
                <a:gd name="connsiteY5" fmla="*/ 95353 h 1046638"/>
                <a:gd name="connsiteX6" fmla="*/ 1855413 w 2341087"/>
                <a:gd name="connsiteY6" fmla="*/ 3603 h 1046638"/>
                <a:gd name="connsiteX7" fmla="*/ 2341087 w 2341087"/>
                <a:gd name="connsiteY7" fmla="*/ 324196 h 1046638"/>
                <a:gd name="connsiteX8" fmla="*/ 429128 w 2341087"/>
                <a:gd name="connsiteY8" fmla="*/ 1046638 h 1046638"/>
                <a:gd name="connsiteX0" fmla="*/ 1011569 w 2341087"/>
                <a:gd name="connsiteY0" fmla="*/ 775499 h 775499"/>
                <a:gd name="connsiteX1" fmla="*/ 0 w 2341087"/>
                <a:gd name="connsiteY1" fmla="*/ 395239 h 775499"/>
                <a:gd name="connsiteX2" fmla="*/ 720877 w 2341087"/>
                <a:gd name="connsiteY2" fmla="*/ 194615 h 775499"/>
                <a:gd name="connsiteX3" fmla="*/ 575180 w 2341087"/>
                <a:gd name="connsiteY3" fmla="*/ 170771 h 775499"/>
                <a:gd name="connsiteX4" fmla="*/ 1165109 w 2341087"/>
                <a:gd name="connsiteY4" fmla="*/ 54418 h 775499"/>
                <a:gd name="connsiteX5" fmla="*/ 1442700 w 2341087"/>
                <a:gd name="connsiteY5" fmla="*/ 95353 h 775499"/>
                <a:gd name="connsiteX6" fmla="*/ 1855413 w 2341087"/>
                <a:gd name="connsiteY6" fmla="*/ 3603 h 775499"/>
                <a:gd name="connsiteX7" fmla="*/ 2341087 w 2341087"/>
                <a:gd name="connsiteY7" fmla="*/ 324196 h 775499"/>
                <a:gd name="connsiteX8" fmla="*/ 1011569 w 2341087"/>
                <a:gd name="connsiteY8" fmla="*/ 775499 h 775499"/>
                <a:gd name="connsiteX0" fmla="*/ 1011569 w 2341087"/>
                <a:gd name="connsiteY0" fmla="*/ 775499 h 775499"/>
                <a:gd name="connsiteX1" fmla="*/ 0 w 2341087"/>
                <a:gd name="connsiteY1" fmla="*/ 395239 h 775499"/>
                <a:gd name="connsiteX2" fmla="*/ 720877 w 2341087"/>
                <a:gd name="connsiteY2" fmla="*/ 194615 h 775499"/>
                <a:gd name="connsiteX3" fmla="*/ 575180 w 2341087"/>
                <a:gd name="connsiteY3" fmla="*/ 170771 h 775499"/>
                <a:gd name="connsiteX4" fmla="*/ 1165109 w 2341087"/>
                <a:gd name="connsiteY4" fmla="*/ 54418 h 775499"/>
                <a:gd name="connsiteX5" fmla="*/ 1442700 w 2341087"/>
                <a:gd name="connsiteY5" fmla="*/ 95353 h 775499"/>
                <a:gd name="connsiteX6" fmla="*/ 1855413 w 2341087"/>
                <a:gd name="connsiteY6" fmla="*/ 3603 h 775499"/>
                <a:gd name="connsiteX7" fmla="*/ 2341087 w 2341087"/>
                <a:gd name="connsiteY7" fmla="*/ 324196 h 775499"/>
                <a:gd name="connsiteX8" fmla="*/ 1011569 w 2341087"/>
                <a:gd name="connsiteY8" fmla="*/ 775499 h 775499"/>
                <a:gd name="connsiteX0" fmla="*/ 1011569 w 1855412"/>
                <a:gd name="connsiteY0" fmla="*/ 775499 h 814960"/>
                <a:gd name="connsiteX1" fmla="*/ 0 w 1855412"/>
                <a:gd name="connsiteY1" fmla="*/ 395239 h 814960"/>
                <a:gd name="connsiteX2" fmla="*/ 720877 w 1855412"/>
                <a:gd name="connsiteY2" fmla="*/ 194615 h 814960"/>
                <a:gd name="connsiteX3" fmla="*/ 575180 w 1855412"/>
                <a:gd name="connsiteY3" fmla="*/ 170771 h 814960"/>
                <a:gd name="connsiteX4" fmla="*/ 1165109 w 1855412"/>
                <a:gd name="connsiteY4" fmla="*/ 54418 h 814960"/>
                <a:gd name="connsiteX5" fmla="*/ 1442700 w 1855412"/>
                <a:gd name="connsiteY5" fmla="*/ 95353 h 814960"/>
                <a:gd name="connsiteX6" fmla="*/ 1855413 w 1855412"/>
                <a:gd name="connsiteY6" fmla="*/ 3603 h 814960"/>
                <a:gd name="connsiteX7" fmla="*/ 1514833 w 1855412"/>
                <a:gd name="connsiteY7" fmla="*/ 571758 h 814960"/>
                <a:gd name="connsiteX8" fmla="*/ 1011569 w 1855412"/>
                <a:gd name="connsiteY8" fmla="*/ 775499 h 814960"/>
                <a:gd name="connsiteX0" fmla="*/ 1011569 w 1855413"/>
                <a:gd name="connsiteY0" fmla="*/ 775499 h 775499"/>
                <a:gd name="connsiteX1" fmla="*/ 0 w 1855413"/>
                <a:gd name="connsiteY1" fmla="*/ 395239 h 775499"/>
                <a:gd name="connsiteX2" fmla="*/ 720877 w 1855413"/>
                <a:gd name="connsiteY2" fmla="*/ 194615 h 775499"/>
                <a:gd name="connsiteX3" fmla="*/ 575180 w 1855413"/>
                <a:gd name="connsiteY3" fmla="*/ 170771 h 775499"/>
                <a:gd name="connsiteX4" fmla="*/ 1165109 w 1855413"/>
                <a:gd name="connsiteY4" fmla="*/ 54418 h 775499"/>
                <a:gd name="connsiteX5" fmla="*/ 1442700 w 1855413"/>
                <a:gd name="connsiteY5" fmla="*/ 95353 h 775499"/>
                <a:gd name="connsiteX6" fmla="*/ 1855413 w 1855413"/>
                <a:gd name="connsiteY6" fmla="*/ 3603 h 775499"/>
                <a:gd name="connsiteX7" fmla="*/ 1514833 w 1855413"/>
                <a:gd name="connsiteY7" fmla="*/ 571758 h 775499"/>
                <a:gd name="connsiteX8" fmla="*/ 1011569 w 1855413"/>
                <a:gd name="connsiteY8" fmla="*/ 775499 h 775499"/>
                <a:gd name="connsiteX0" fmla="*/ 1011569 w 1855413"/>
                <a:gd name="connsiteY0" fmla="*/ 775499 h 775499"/>
                <a:gd name="connsiteX1" fmla="*/ 0 w 1855413"/>
                <a:gd name="connsiteY1" fmla="*/ 395239 h 775499"/>
                <a:gd name="connsiteX2" fmla="*/ 720877 w 1855413"/>
                <a:gd name="connsiteY2" fmla="*/ 194615 h 775499"/>
                <a:gd name="connsiteX3" fmla="*/ 575180 w 1855413"/>
                <a:gd name="connsiteY3" fmla="*/ 170771 h 775499"/>
                <a:gd name="connsiteX4" fmla="*/ 1165109 w 1855413"/>
                <a:gd name="connsiteY4" fmla="*/ 54418 h 775499"/>
                <a:gd name="connsiteX5" fmla="*/ 1442700 w 1855413"/>
                <a:gd name="connsiteY5" fmla="*/ 95353 h 775499"/>
                <a:gd name="connsiteX6" fmla="*/ 1855413 w 1855413"/>
                <a:gd name="connsiteY6" fmla="*/ 3603 h 775499"/>
                <a:gd name="connsiteX7" fmla="*/ 1514833 w 1855413"/>
                <a:gd name="connsiteY7" fmla="*/ 571758 h 775499"/>
                <a:gd name="connsiteX8" fmla="*/ 1011569 w 1855413"/>
                <a:gd name="connsiteY8" fmla="*/ 775499 h 775499"/>
                <a:gd name="connsiteX0" fmla="*/ 1011569 w 1514833"/>
                <a:gd name="connsiteY0" fmla="*/ 775499 h 775499"/>
                <a:gd name="connsiteX1" fmla="*/ 0 w 1514833"/>
                <a:gd name="connsiteY1" fmla="*/ 395239 h 775499"/>
                <a:gd name="connsiteX2" fmla="*/ 720877 w 1514833"/>
                <a:gd name="connsiteY2" fmla="*/ 194615 h 775499"/>
                <a:gd name="connsiteX3" fmla="*/ 575180 w 1514833"/>
                <a:gd name="connsiteY3" fmla="*/ 170771 h 775499"/>
                <a:gd name="connsiteX4" fmla="*/ 1165109 w 1514833"/>
                <a:gd name="connsiteY4" fmla="*/ 54418 h 775499"/>
                <a:gd name="connsiteX5" fmla="*/ 1442700 w 1514833"/>
                <a:gd name="connsiteY5" fmla="*/ 95353 h 775499"/>
                <a:gd name="connsiteX6" fmla="*/ 1514833 w 1514833"/>
                <a:gd name="connsiteY6" fmla="*/ 571758 h 775499"/>
                <a:gd name="connsiteX7" fmla="*/ 1011569 w 1514833"/>
                <a:gd name="connsiteY7" fmla="*/ 775499 h 775499"/>
                <a:gd name="connsiteX0" fmla="*/ 954378 w 1514833"/>
                <a:gd name="connsiteY0" fmla="*/ 768389 h 768389"/>
                <a:gd name="connsiteX1" fmla="*/ 0 w 1514833"/>
                <a:gd name="connsiteY1" fmla="*/ 395239 h 768389"/>
                <a:gd name="connsiteX2" fmla="*/ 720877 w 1514833"/>
                <a:gd name="connsiteY2" fmla="*/ 194615 h 768389"/>
                <a:gd name="connsiteX3" fmla="*/ 575180 w 1514833"/>
                <a:gd name="connsiteY3" fmla="*/ 170771 h 768389"/>
                <a:gd name="connsiteX4" fmla="*/ 1165109 w 1514833"/>
                <a:gd name="connsiteY4" fmla="*/ 54418 h 768389"/>
                <a:gd name="connsiteX5" fmla="*/ 1442700 w 1514833"/>
                <a:gd name="connsiteY5" fmla="*/ 95353 h 768389"/>
                <a:gd name="connsiteX6" fmla="*/ 1514833 w 1514833"/>
                <a:gd name="connsiteY6" fmla="*/ 571758 h 768389"/>
                <a:gd name="connsiteX7" fmla="*/ 954378 w 1514833"/>
                <a:gd name="connsiteY7" fmla="*/ 768389 h 76838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442700 w 1514833"/>
                <a:gd name="connsiteY5" fmla="*/ 95353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442700 w 1514833"/>
                <a:gd name="connsiteY5" fmla="*/ 95353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271128 w 1514833"/>
                <a:gd name="connsiteY5" fmla="*/ 123795 h 761279"/>
                <a:gd name="connsiteX6" fmla="*/ 1514833 w 1514833"/>
                <a:gd name="connsiteY6" fmla="*/ 571758 h 761279"/>
                <a:gd name="connsiteX7" fmla="*/ 942124 w 1514833"/>
                <a:gd name="connsiteY7" fmla="*/ 761279 h 761279"/>
                <a:gd name="connsiteX0" fmla="*/ 942124 w 1514833"/>
                <a:gd name="connsiteY0" fmla="*/ 761279 h 761279"/>
                <a:gd name="connsiteX1" fmla="*/ 0 w 1514833"/>
                <a:gd name="connsiteY1" fmla="*/ 395239 h 761279"/>
                <a:gd name="connsiteX2" fmla="*/ 720877 w 1514833"/>
                <a:gd name="connsiteY2" fmla="*/ 194615 h 761279"/>
                <a:gd name="connsiteX3" fmla="*/ 575180 w 1514833"/>
                <a:gd name="connsiteY3" fmla="*/ 170771 h 761279"/>
                <a:gd name="connsiteX4" fmla="*/ 1165109 w 1514833"/>
                <a:gd name="connsiteY4" fmla="*/ 54418 h 761279"/>
                <a:gd name="connsiteX5" fmla="*/ 1271128 w 1514833"/>
                <a:gd name="connsiteY5" fmla="*/ 123795 h 761279"/>
                <a:gd name="connsiteX6" fmla="*/ 1514833 w 1514833"/>
                <a:gd name="connsiteY6" fmla="*/ 571758 h 761279"/>
                <a:gd name="connsiteX7" fmla="*/ 942124 w 1514833"/>
                <a:gd name="connsiteY7" fmla="*/ 761279 h 761279"/>
                <a:gd name="connsiteX0" fmla="*/ 378388 w 951097"/>
                <a:gd name="connsiteY0" fmla="*/ 761279 h 761279"/>
                <a:gd name="connsiteX1" fmla="*/ 0 w 951097"/>
                <a:gd name="connsiteY1" fmla="*/ 317021 h 761279"/>
                <a:gd name="connsiteX2" fmla="*/ 157141 w 951097"/>
                <a:gd name="connsiteY2" fmla="*/ 194615 h 761279"/>
                <a:gd name="connsiteX3" fmla="*/ 11444 w 951097"/>
                <a:gd name="connsiteY3" fmla="*/ 170771 h 761279"/>
                <a:gd name="connsiteX4" fmla="*/ 601373 w 951097"/>
                <a:gd name="connsiteY4" fmla="*/ 54418 h 761279"/>
                <a:gd name="connsiteX5" fmla="*/ 707392 w 951097"/>
                <a:gd name="connsiteY5" fmla="*/ 123795 h 761279"/>
                <a:gd name="connsiteX6" fmla="*/ 951097 w 951097"/>
                <a:gd name="connsiteY6" fmla="*/ 571758 h 761279"/>
                <a:gd name="connsiteX7" fmla="*/ 378388 w 951097"/>
                <a:gd name="connsiteY7" fmla="*/ 761279 h 761279"/>
                <a:gd name="connsiteX0" fmla="*/ 378388 w 951097"/>
                <a:gd name="connsiteY0" fmla="*/ 761279 h 761279"/>
                <a:gd name="connsiteX1" fmla="*/ 0 w 951097"/>
                <a:gd name="connsiteY1" fmla="*/ 317021 h 761279"/>
                <a:gd name="connsiteX2" fmla="*/ 157141 w 951097"/>
                <a:gd name="connsiteY2" fmla="*/ 194615 h 761279"/>
                <a:gd name="connsiteX3" fmla="*/ 11444 w 951097"/>
                <a:gd name="connsiteY3" fmla="*/ 170771 h 761279"/>
                <a:gd name="connsiteX4" fmla="*/ 601373 w 951097"/>
                <a:gd name="connsiteY4" fmla="*/ 54418 h 761279"/>
                <a:gd name="connsiteX5" fmla="*/ 707392 w 951097"/>
                <a:gd name="connsiteY5" fmla="*/ 123795 h 761279"/>
                <a:gd name="connsiteX6" fmla="*/ 951097 w 951097"/>
                <a:gd name="connsiteY6" fmla="*/ 571758 h 761279"/>
                <a:gd name="connsiteX7" fmla="*/ 378388 w 951097"/>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69137 w 941846"/>
                <a:gd name="connsiteY0" fmla="*/ 761279 h 761279"/>
                <a:gd name="connsiteX1" fmla="*/ 3004 w 941846"/>
                <a:gd name="connsiteY1" fmla="*/ 327687 h 761279"/>
                <a:gd name="connsiteX2" fmla="*/ 147890 w 941846"/>
                <a:gd name="connsiteY2" fmla="*/ 194615 h 761279"/>
                <a:gd name="connsiteX3" fmla="*/ 2193 w 941846"/>
                <a:gd name="connsiteY3" fmla="*/ 170771 h 761279"/>
                <a:gd name="connsiteX4" fmla="*/ 592122 w 941846"/>
                <a:gd name="connsiteY4" fmla="*/ 54418 h 761279"/>
                <a:gd name="connsiteX5" fmla="*/ 698141 w 941846"/>
                <a:gd name="connsiteY5" fmla="*/ 123795 h 761279"/>
                <a:gd name="connsiteX6" fmla="*/ 941846 w 941846"/>
                <a:gd name="connsiteY6" fmla="*/ 571758 h 761279"/>
                <a:gd name="connsiteX7" fmla="*/ 369137 w 941846"/>
                <a:gd name="connsiteY7" fmla="*/ 761279 h 761279"/>
                <a:gd name="connsiteX0" fmla="*/ 370219 w 942928"/>
                <a:gd name="connsiteY0" fmla="*/ 761279 h 761279"/>
                <a:gd name="connsiteX1" fmla="*/ 0 w 942928"/>
                <a:gd name="connsiteY1" fmla="*/ 324131 h 761279"/>
                <a:gd name="connsiteX2" fmla="*/ 148972 w 942928"/>
                <a:gd name="connsiteY2" fmla="*/ 194615 h 761279"/>
                <a:gd name="connsiteX3" fmla="*/ 3275 w 942928"/>
                <a:gd name="connsiteY3" fmla="*/ 170771 h 761279"/>
                <a:gd name="connsiteX4" fmla="*/ 593204 w 942928"/>
                <a:gd name="connsiteY4" fmla="*/ 54418 h 761279"/>
                <a:gd name="connsiteX5" fmla="*/ 699223 w 942928"/>
                <a:gd name="connsiteY5" fmla="*/ 123795 h 761279"/>
                <a:gd name="connsiteX6" fmla="*/ 942928 w 942928"/>
                <a:gd name="connsiteY6" fmla="*/ 571758 h 761279"/>
                <a:gd name="connsiteX7" fmla="*/ 370219 w 942928"/>
                <a:gd name="connsiteY7" fmla="*/ 761279 h 761279"/>
                <a:gd name="connsiteX0" fmla="*/ 370219 w 930673"/>
                <a:gd name="connsiteY0" fmla="*/ 761279 h 761279"/>
                <a:gd name="connsiteX1" fmla="*/ 0 w 930673"/>
                <a:gd name="connsiteY1" fmla="*/ 324131 h 761279"/>
                <a:gd name="connsiteX2" fmla="*/ 148972 w 930673"/>
                <a:gd name="connsiteY2" fmla="*/ 194615 h 761279"/>
                <a:gd name="connsiteX3" fmla="*/ 3275 w 930673"/>
                <a:gd name="connsiteY3" fmla="*/ 170771 h 761279"/>
                <a:gd name="connsiteX4" fmla="*/ 593204 w 930673"/>
                <a:gd name="connsiteY4" fmla="*/ 54418 h 761279"/>
                <a:gd name="connsiteX5" fmla="*/ 699223 w 930673"/>
                <a:gd name="connsiteY5" fmla="*/ 123795 h 761279"/>
                <a:gd name="connsiteX6" fmla="*/ 930673 w 930673"/>
                <a:gd name="connsiteY6" fmla="*/ 571758 h 761279"/>
                <a:gd name="connsiteX7" fmla="*/ 370219 w 930673"/>
                <a:gd name="connsiteY7" fmla="*/ 761279 h 761279"/>
                <a:gd name="connsiteX0" fmla="*/ 370219 w 926589"/>
                <a:gd name="connsiteY0" fmla="*/ 761279 h 761279"/>
                <a:gd name="connsiteX1" fmla="*/ 0 w 926589"/>
                <a:gd name="connsiteY1" fmla="*/ 324131 h 761279"/>
                <a:gd name="connsiteX2" fmla="*/ 148972 w 926589"/>
                <a:gd name="connsiteY2" fmla="*/ 194615 h 761279"/>
                <a:gd name="connsiteX3" fmla="*/ 3275 w 926589"/>
                <a:gd name="connsiteY3" fmla="*/ 170771 h 761279"/>
                <a:gd name="connsiteX4" fmla="*/ 593204 w 926589"/>
                <a:gd name="connsiteY4" fmla="*/ 54418 h 761279"/>
                <a:gd name="connsiteX5" fmla="*/ 699223 w 926589"/>
                <a:gd name="connsiteY5" fmla="*/ 123795 h 761279"/>
                <a:gd name="connsiteX6" fmla="*/ 926589 w 926589"/>
                <a:gd name="connsiteY6" fmla="*/ 561092 h 761279"/>
                <a:gd name="connsiteX7" fmla="*/ 370219 w 926589"/>
                <a:gd name="connsiteY7" fmla="*/ 761279 h 761279"/>
                <a:gd name="connsiteX0" fmla="*/ 370219 w 926589"/>
                <a:gd name="connsiteY0" fmla="*/ 761279 h 761279"/>
                <a:gd name="connsiteX1" fmla="*/ 0 w 926589"/>
                <a:gd name="connsiteY1" fmla="*/ 324131 h 761279"/>
                <a:gd name="connsiteX2" fmla="*/ 148972 w 926589"/>
                <a:gd name="connsiteY2" fmla="*/ 194615 h 761279"/>
                <a:gd name="connsiteX3" fmla="*/ 3275 w 926589"/>
                <a:gd name="connsiteY3" fmla="*/ 170771 h 761279"/>
                <a:gd name="connsiteX4" fmla="*/ 593204 w 926589"/>
                <a:gd name="connsiteY4" fmla="*/ 54418 h 761279"/>
                <a:gd name="connsiteX5" fmla="*/ 699223 w 926589"/>
                <a:gd name="connsiteY5" fmla="*/ 123795 h 761279"/>
                <a:gd name="connsiteX6" fmla="*/ 926589 w 926589"/>
                <a:gd name="connsiteY6" fmla="*/ 561092 h 761279"/>
                <a:gd name="connsiteX7" fmla="*/ 370219 w 926589"/>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699223 w 922505"/>
                <a:gd name="connsiteY5" fmla="*/ 123795 h 761279"/>
                <a:gd name="connsiteX6" fmla="*/ 922505 w 922505"/>
                <a:gd name="connsiteY6" fmla="*/ 564648 h 761279"/>
                <a:gd name="connsiteX7" fmla="*/ 370219 w 922505"/>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699223 w 922505"/>
                <a:gd name="connsiteY5" fmla="*/ 123795 h 761279"/>
                <a:gd name="connsiteX6" fmla="*/ 922505 w 922505"/>
                <a:gd name="connsiteY6" fmla="*/ 564648 h 761279"/>
                <a:gd name="connsiteX7" fmla="*/ 370219 w 922505"/>
                <a:gd name="connsiteY7" fmla="*/ 761279 h 761279"/>
                <a:gd name="connsiteX0" fmla="*/ 370219 w 922505"/>
                <a:gd name="connsiteY0" fmla="*/ 761279 h 761279"/>
                <a:gd name="connsiteX1" fmla="*/ 0 w 922505"/>
                <a:gd name="connsiteY1" fmla="*/ 324131 h 761279"/>
                <a:gd name="connsiteX2" fmla="*/ 148972 w 922505"/>
                <a:gd name="connsiteY2" fmla="*/ 194615 h 761279"/>
                <a:gd name="connsiteX3" fmla="*/ 3275 w 922505"/>
                <a:gd name="connsiteY3" fmla="*/ 170771 h 761279"/>
                <a:gd name="connsiteX4" fmla="*/ 593204 w 922505"/>
                <a:gd name="connsiteY4" fmla="*/ 54418 h 761279"/>
                <a:gd name="connsiteX5" fmla="*/ 723901 w 922505"/>
                <a:gd name="connsiteY5" fmla="*/ 117659 h 761279"/>
                <a:gd name="connsiteX6" fmla="*/ 922505 w 922505"/>
                <a:gd name="connsiteY6" fmla="*/ 564648 h 761279"/>
                <a:gd name="connsiteX7" fmla="*/ 370219 w 922505"/>
                <a:gd name="connsiteY7" fmla="*/ 761279 h 761279"/>
                <a:gd name="connsiteX0" fmla="*/ 370219 w 954235"/>
                <a:gd name="connsiteY0" fmla="*/ 761279 h 761279"/>
                <a:gd name="connsiteX1" fmla="*/ 0 w 954235"/>
                <a:gd name="connsiteY1" fmla="*/ 324131 h 761279"/>
                <a:gd name="connsiteX2" fmla="*/ 148972 w 954235"/>
                <a:gd name="connsiteY2" fmla="*/ 194615 h 761279"/>
                <a:gd name="connsiteX3" fmla="*/ 3275 w 954235"/>
                <a:gd name="connsiteY3" fmla="*/ 170771 h 761279"/>
                <a:gd name="connsiteX4" fmla="*/ 593204 w 954235"/>
                <a:gd name="connsiteY4" fmla="*/ 54418 h 761279"/>
                <a:gd name="connsiteX5" fmla="*/ 723901 w 954235"/>
                <a:gd name="connsiteY5" fmla="*/ 117659 h 761279"/>
                <a:gd name="connsiteX6" fmla="*/ 954235 w 954235"/>
                <a:gd name="connsiteY6" fmla="*/ 552375 h 761279"/>
                <a:gd name="connsiteX7" fmla="*/ 370219 w 954235"/>
                <a:gd name="connsiteY7" fmla="*/ 761279 h 761279"/>
                <a:gd name="connsiteX0" fmla="*/ 319346 w 954235"/>
                <a:gd name="connsiteY0" fmla="*/ 696168 h 696168"/>
                <a:gd name="connsiteX1" fmla="*/ 0 w 954235"/>
                <a:gd name="connsiteY1" fmla="*/ 324131 h 696168"/>
                <a:gd name="connsiteX2" fmla="*/ 148972 w 954235"/>
                <a:gd name="connsiteY2" fmla="*/ 194615 h 696168"/>
                <a:gd name="connsiteX3" fmla="*/ 3275 w 954235"/>
                <a:gd name="connsiteY3" fmla="*/ 170771 h 696168"/>
                <a:gd name="connsiteX4" fmla="*/ 593204 w 954235"/>
                <a:gd name="connsiteY4" fmla="*/ 54418 h 696168"/>
                <a:gd name="connsiteX5" fmla="*/ 723901 w 954235"/>
                <a:gd name="connsiteY5" fmla="*/ 117659 h 696168"/>
                <a:gd name="connsiteX6" fmla="*/ 954235 w 954235"/>
                <a:gd name="connsiteY6" fmla="*/ 552375 h 696168"/>
                <a:gd name="connsiteX7" fmla="*/ 319346 w 954235"/>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9346 w 912339"/>
                <a:gd name="connsiteY0" fmla="*/ 696168 h 696168"/>
                <a:gd name="connsiteX1" fmla="*/ 0 w 912339"/>
                <a:gd name="connsiteY1" fmla="*/ 324131 h 696168"/>
                <a:gd name="connsiteX2" fmla="*/ 148972 w 912339"/>
                <a:gd name="connsiteY2" fmla="*/ 194615 h 696168"/>
                <a:gd name="connsiteX3" fmla="*/ 3275 w 912339"/>
                <a:gd name="connsiteY3" fmla="*/ 170771 h 696168"/>
                <a:gd name="connsiteX4" fmla="*/ 593204 w 912339"/>
                <a:gd name="connsiteY4" fmla="*/ 54418 h 696168"/>
                <a:gd name="connsiteX5" fmla="*/ 723901 w 912339"/>
                <a:gd name="connsiteY5" fmla="*/ 117659 h 696168"/>
                <a:gd name="connsiteX6" fmla="*/ 912339 w 912339"/>
                <a:gd name="connsiteY6" fmla="*/ 471637 h 696168"/>
                <a:gd name="connsiteX7" fmla="*/ 319346 w 912339"/>
                <a:gd name="connsiteY7" fmla="*/ 696168 h 696168"/>
                <a:gd name="connsiteX0" fmla="*/ 318264 w 911257"/>
                <a:gd name="connsiteY0" fmla="*/ 696168 h 696168"/>
                <a:gd name="connsiteX1" fmla="*/ 30008 w 911257"/>
                <a:gd name="connsiteY1" fmla="*/ 360210 h 696168"/>
                <a:gd name="connsiteX2" fmla="*/ 147890 w 911257"/>
                <a:gd name="connsiteY2" fmla="*/ 194615 h 696168"/>
                <a:gd name="connsiteX3" fmla="*/ 2193 w 911257"/>
                <a:gd name="connsiteY3" fmla="*/ 170771 h 696168"/>
                <a:gd name="connsiteX4" fmla="*/ 592122 w 911257"/>
                <a:gd name="connsiteY4" fmla="*/ 54418 h 696168"/>
                <a:gd name="connsiteX5" fmla="*/ 722819 w 911257"/>
                <a:gd name="connsiteY5" fmla="*/ 117659 h 696168"/>
                <a:gd name="connsiteX6" fmla="*/ 911257 w 911257"/>
                <a:gd name="connsiteY6" fmla="*/ 471637 h 696168"/>
                <a:gd name="connsiteX7" fmla="*/ 318264 w 911257"/>
                <a:gd name="connsiteY7" fmla="*/ 696168 h 696168"/>
                <a:gd name="connsiteX0" fmla="*/ 318264 w 911257"/>
                <a:gd name="connsiteY0" fmla="*/ 696168 h 696168"/>
                <a:gd name="connsiteX1" fmla="*/ 30008 w 911257"/>
                <a:gd name="connsiteY1" fmla="*/ 360210 h 696168"/>
                <a:gd name="connsiteX2" fmla="*/ 147890 w 911257"/>
                <a:gd name="connsiteY2" fmla="*/ 194615 h 696168"/>
                <a:gd name="connsiteX3" fmla="*/ 2193 w 911257"/>
                <a:gd name="connsiteY3" fmla="*/ 170771 h 696168"/>
                <a:gd name="connsiteX4" fmla="*/ 592122 w 911257"/>
                <a:gd name="connsiteY4" fmla="*/ 54418 h 696168"/>
                <a:gd name="connsiteX5" fmla="*/ 747002 w 911257"/>
                <a:gd name="connsiteY5" fmla="*/ 162756 h 696168"/>
                <a:gd name="connsiteX6" fmla="*/ 911257 w 911257"/>
                <a:gd name="connsiteY6" fmla="*/ 471637 h 696168"/>
                <a:gd name="connsiteX7" fmla="*/ 318264 w 911257"/>
                <a:gd name="connsiteY7" fmla="*/ 696168 h 696168"/>
                <a:gd name="connsiteX0" fmla="*/ 318255 w 911248"/>
                <a:gd name="connsiteY0" fmla="*/ 638868 h 638868"/>
                <a:gd name="connsiteX1" fmla="*/ 29999 w 911248"/>
                <a:gd name="connsiteY1" fmla="*/ 302910 h 638868"/>
                <a:gd name="connsiteX2" fmla="*/ 147881 w 911248"/>
                <a:gd name="connsiteY2" fmla="*/ 137315 h 638868"/>
                <a:gd name="connsiteX3" fmla="*/ 2184 w 911248"/>
                <a:gd name="connsiteY3" fmla="*/ 113471 h 638868"/>
                <a:gd name="connsiteX4" fmla="*/ 595567 w 911248"/>
                <a:gd name="connsiteY4" fmla="*/ 69274 h 638868"/>
                <a:gd name="connsiteX5" fmla="*/ 746993 w 911248"/>
                <a:gd name="connsiteY5" fmla="*/ 105456 h 638868"/>
                <a:gd name="connsiteX6" fmla="*/ 911248 w 911248"/>
                <a:gd name="connsiteY6" fmla="*/ 414337 h 638868"/>
                <a:gd name="connsiteX7" fmla="*/ 318255 w 911248"/>
                <a:gd name="connsiteY7" fmla="*/ 638868 h 638868"/>
                <a:gd name="connsiteX0" fmla="*/ 318255 w 911248"/>
                <a:gd name="connsiteY0" fmla="*/ 638868 h 638868"/>
                <a:gd name="connsiteX1" fmla="*/ 29999 w 911248"/>
                <a:gd name="connsiteY1" fmla="*/ 302910 h 638868"/>
                <a:gd name="connsiteX2" fmla="*/ 178971 w 911248"/>
                <a:gd name="connsiteY2" fmla="*/ 164373 h 638868"/>
                <a:gd name="connsiteX3" fmla="*/ 2184 w 911248"/>
                <a:gd name="connsiteY3" fmla="*/ 113471 h 638868"/>
                <a:gd name="connsiteX4" fmla="*/ 595567 w 911248"/>
                <a:gd name="connsiteY4" fmla="*/ 69274 h 638868"/>
                <a:gd name="connsiteX5" fmla="*/ 746993 w 911248"/>
                <a:gd name="connsiteY5" fmla="*/ 105456 h 638868"/>
                <a:gd name="connsiteX6" fmla="*/ 911248 w 911248"/>
                <a:gd name="connsiteY6" fmla="*/ 414337 h 638868"/>
                <a:gd name="connsiteX7" fmla="*/ 318255 w 911248"/>
                <a:gd name="connsiteY7" fmla="*/ 638868 h 638868"/>
                <a:gd name="connsiteX0" fmla="*/ 288256 w 881249"/>
                <a:gd name="connsiteY0" fmla="*/ 628242 h 628242"/>
                <a:gd name="connsiteX1" fmla="*/ 0 w 881249"/>
                <a:gd name="connsiteY1" fmla="*/ 292284 h 628242"/>
                <a:gd name="connsiteX2" fmla="*/ 148972 w 881249"/>
                <a:gd name="connsiteY2" fmla="*/ 153747 h 628242"/>
                <a:gd name="connsiteX3" fmla="*/ 3275 w 881249"/>
                <a:gd name="connsiteY3" fmla="*/ 150949 h 628242"/>
                <a:gd name="connsiteX4" fmla="*/ 565568 w 881249"/>
                <a:gd name="connsiteY4" fmla="*/ 58648 h 628242"/>
                <a:gd name="connsiteX5" fmla="*/ 716994 w 881249"/>
                <a:gd name="connsiteY5" fmla="*/ 94830 h 628242"/>
                <a:gd name="connsiteX6" fmla="*/ 881249 w 881249"/>
                <a:gd name="connsiteY6" fmla="*/ 403711 h 628242"/>
                <a:gd name="connsiteX7" fmla="*/ 288256 w 881249"/>
                <a:gd name="connsiteY7" fmla="*/ 628242 h 62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249" h="628242">
                  <a:moveTo>
                    <a:pt x="288256" y="628242"/>
                  </a:moveTo>
                  <a:cubicBezTo>
                    <a:pt x="164850" y="482526"/>
                    <a:pt x="123406" y="438000"/>
                    <a:pt x="0" y="292284"/>
                  </a:cubicBezTo>
                  <a:cubicBezTo>
                    <a:pt x="79035" y="264602"/>
                    <a:pt x="273700" y="176344"/>
                    <a:pt x="148972" y="153747"/>
                  </a:cubicBezTo>
                  <a:cubicBezTo>
                    <a:pt x="93557" y="144827"/>
                    <a:pt x="37886" y="185345"/>
                    <a:pt x="3275" y="150949"/>
                  </a:cubicBezTo>
                  <a:cubicBezTo>
                    <a:pt x="-46426" y="93141"/>
                    <a:pt x="739648" y="-94094"/>
                    <a:pt x="565568" y="58648"/>
                  </a:cubicBezTo>
                  <a:cubicBezTo>
                    <a:pt x="484209" y="145559"/>
                    <a:pt x="620173" y="105328"/>
                    <a:pt x="716994" y="94830"/>
                  </a:cubicBezTo>
                  <a:lnTo>
                    <a:pt x="881249" y="403711"/>
                  </a:lnTo>
                  <a:cubicBezTo>
                    <a:pt x="610743" y="494732"/>
                    <a:pt x="512831" y="534438"/>
                    <a:pt x="288256" y="628242"/>
                  </a:cubicBezTo>
                  <a:close/>
                </a:path>
              </a:pathLst>
            </a:custGeom>
            <a:solidFill>
              <a:srgbClr val="DFE6ED">
                <a:alpha val="54000"/>
              </a:srgbClr>
            </a:solidFill>
            <a:ln>
              <a:noFill/>
            </a:ln>
            <a:effectLst>
              <a:outerShdw blurRad="279400" dist="38100" dir="2700000" algn="tl" rotWithShape="0">
                <a:prstClr val="black">
                  <a:alpha val="40000"/>
                </a:prstClr>
              </a:outerShdw>
            </a:effectLst>
            <a:scene3d>
              <a:camera prst="orthographicFront"/>
              <a:lightRig rig="sunset" dir="t"/>
            </a:scene3d>
            <a:sp3d prstMaterial="clear">
              <a:bevelT w="50800" h="133350"/>
              <a:bevelB w="25400" h="107950"/>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chemeClr val="tx1"/>
                </a:solidFill>
                <a:latin typeface="微软雅黑" panose="020B0503020204020204" pitchFamily="34" charset="-122"/>
                <a:ea typeface="微软雅黑" panose="020B0503020204020204" pitchFamily="34" charset="-122"/>
              </a:endParaRPr>
            </a:p>
          </p:txBody>
        </p:sp>
      </p:grpSp>
      <p:sp>
        <p:nvSpPr>
          <p:cNvPr id="37" name="Freihandform 36"/>
          <p:cNvSpPr/>
          <p:nvPr/>
        </p:nvSpPr>
        <p:spPr bwMode="auto">
          <a:xfrm>
            <a:off x="6097586" y="2851762"/>
            <a:ext cx="3269063" cy="2194502"/>
          </a:xfrm>
          <a:custGeom>
            <a:avLst/>
            <a:gdLst>
              <a:gd name="connsiteX0" fmla="*/ 240631 w 3116179"/>
              <a:gd name="connsiteY0" fmla="*/ 2671010 h 2671010"/>
              <a:gd name="connsiteX1" fmla="*/ 3116179 w 3116179"/>
              <a:gd name="connsiteY1" fmla="*/ 72189 h 2671010"/>
              <a:gd name="connsiteX2" fmla="*/ 3043989 w 3116179"/>
              <a:gd name="connsiteY2" fmla="*/ 0 h 2671010"/>
              <a:gd name="connsiteX3" fmla="*/ 0 w 3116179"/>
              <a:gd name="connsiteY3" fmla="*/ 2538663 h 2671010"/>
              <a:gd name="connsiteX4" fmla="*/ 240631 w 3116179"/>
              <a:gd name="connsiteY4" fmla="*/ 2671010 h 2671010"/>
              <a:gd name="connsiteX0" fmla="*/ 280520 w 3116179"/>
              <a:gd name="connsiteY0" fmla="*/ 2680216 h 2680216"/>
              <a:gd name="connsiteX1" fmla="*/ 3116179 w 3116179"/>
              <a:gd name="connsiteY1" fmla="*/ 72189 h 2680216"/>
              <a:gd name="connsiteX2" fmla="*/ 3043989 w 3116179"/>
              <a:gd name="connsiteY2" fmla="*/ 0 h 2680216"/>
              <a:gd name="connsiteX3" fmla="*/ 0 w 3116179"/>
              <a:gd name="connsiteY3" fmla="*/ 2538663 h 2680216"/>
              <a:gd name="connsiteX4" fmla="*/ 280520 w 3116179"/>
              <a:gd name="connsiteY4" fmla="*/ 2680216 h 2680216"/>
              <a:gd name="connsiteX0" fmla="*/ 78002 w 2913661"/>
              <a:gd name="connsiteY0" fmla="*/ 2680216 h 2680216"/>
              <a:gd name="connsiteX1" fmla="*/ 2913661 w 2913661"/>
              <a:gd name="connsiteY1" fmla="*/ 72189 h 2680216"/>
              <a:gd name="connsiteX2" fmla="*/ 2841471 w 2913661"/>
              <a:gd name="connsiteY2" fmla="*/ 0 h 2680216"/>
              <a:gd name="connsiteX3" fmla="*/ 0 w 2913661"/>
              <a:gd name="connsiteY3" fmla="*/ 2658333 h 2680216"/>
              <a:gd name="connsiteX4" fmla="*/ 78002 w 2913661"/>
              <a:gd name="connsiteY4" fmla="*/ 2680216 h 2680216"/>
              <a:gd name="connsiteX0" fmla="*/ 78002 w 2913661"/>
              <a:gd name="connsiteY0" fmla="*/ 2680216 h 2680216"/>
              <a:gd name="connsiteX1" fmla="*/ 2913661 w 2913661"/>
              <a:gd name="connsiteY1" fmla="*/ 72189 h 2680216"/>
              <a:gd name="connsiteX2" fmla="*/ 2841471 w 2913661"/>
              <a:gd name="connsiteY2" fmla="*/ 0 h 2680216"/>
              <a:gd name="connsiteX3" fmla="*/ 0 w 2913661"/>
              <a:gd name="connsiteY3" fmla="*/ 2658333 h 2680216"/>
              <a:gd name="connsiteX4" fmla="*/ 78002 w 2913661"/>
              <a:gd name="connsiteY4" fmla="*/ 2680216 h 2680216"/>
              <a:gd name="connsiteX0" fmla="*/ 78002 w 2947951"/>
              <a:gd name="connsiteY0" fmla="*/ 2680216 h 2680216"/>
              <a:gd name="connsiteX1" fmla="*/ 2947951 w 2947951"/>
              <a:gd name="connsiteY1" fmla="*/ 106479 h 2680216"/>
              <a:gd name="connsiteX2" fmla="*/ 2841471 w 2947951"/>
              <a:gd name="connsiteY2" fmla="*/ 0 h 2680216"/>
              <a:gd name="connsiteX3" fmla="*/ 0 w 2947951"/>
              <a:gd name="connsiteY3" fmla="*/ 2658333 h 2680216"/>
              <a:gd name="connsiteX4" fmla="*/ 78002 w 2947951"/>
              <a:gd name="connsiteY4" fmla="*/ 2680216 h 2680216"/>
              <a:gd name="connsiteX0" fmla="*/ 78002 w 2947951"/>
              <a:gd name="connsiteY0" fmla="*/ 2634496 h 2634496"/>
              <a:gd name="connsiteX1" fmla="*/ 2947951 w 2947951"/>
              <a:gd name="connsiteY1" fmla="*/ 60759 h 2634496"/>
              <a:gd name="connsiteX2" fmla="*/ 2925291 w 2947951"/>
              <a:gd name="connsiteY2" fmla="*/ 0 h 2634496"/>
              <a:gd name="connsiteX3" fmla="*/ 0 w 2947951"/>
              <a:gd name="connsiteY3" fmla="*/ 2612613 h 2634496"/>
              <a:gd name="connsiteX4" fmla="*/ 78002 w 2947951"/>
              <a:gd name="connsiteY4" fmla="*/ 2634496 h 2634496"/>
              <a:gd name="connsiteX0" fmla="*/ 78002 w 2947951"/>
              <a:gd name="connsiteY0" fmla="*/ 2634496 h 2634496"/>
              <a:gd name="connsiteX1" fmla="*/ 2947951 w 2947951"/>
              <a:gd name="connsiteY1" fmla="*/ 60759 h 2634496"/>
              <a:gd name="connsiteX2" fmla="*/ 2925291 w 2947951"/>
              <a:gd name="connsiteY2" fmla="*/ 0 h 2634496"/>
              <a:gd name="connsiteX3" fmla="*/ 0 w 2947951"/>
              <a:gd name="connsiteY3" fmla="*/ 2612613 h 2634496"/>
              <a:gd name="connsiteX4" fmla="*/ 78002 w 2947951"/>
              <a:gd name="connsiteY4" fmla="*/ 2634496 h 2634496"/>
              <a:gd name="connsiteX0" fmla="*/ 78002 w 2947951"/>
              <a:gd name="connsiteY0" fmla="*/ 2619256 h 2619256"/>
              <a:gd name="connsiteX1" fmla="*/ 2947951 w 2947951"/>
              <a:gd name="connsiteY1" fmla="*/ 45519 h 2619256"/>
              <a:gd name="connsiteX2" fmla="*/ 2936721 w 2947951"/>
              <a:gd name="connsiteY2" fmla="*/ 0 h 2619256"/>
              <a:gd name="connsiteX3" fmla="*/ 0 w 2947951"/>
              <a:gd name="connsiteY3" fmla="*/ 2597373 h 2619256"/>
              <a:gd name="connsiteX4" fmla="*/ 78002 w 2947951"/>
              <a:gd name="connsiteY4" fmla="*/ 2619256 h 2619256"/>
              <a:gd name="connsiteX0" fmla="*/ 78002 w 2947951"/>
              <a:gd name="connsiteY0" fmla="*/ 2619256 h 2619256"/>
              <a:gd name="connsiteX1" fmla="*/ 2947951 w 2947951"/>
              <a:gd name="connsiteY1" fmla="*/ 45519 h 2619256"/>
              <a:gd name="connsiteX2" fmla="*/ 2936721 w 2947951"/>
              <a:gd name="connsiteY2" fmla="*/ 0 h 2619256"/>
              <a:gd name="connsiteX3" fmla="*/ 0 w 2947951"/>
              <a:gd name="connsiteY3" fmla="*/ 2597373 h 2619256"/>
              <a:gd name="connsiteX4" fmla="*/ 78002 w 2947951"/>
              <a:gd name="connsiteY4" fmla="*/ 2619256 h 2619256"/>
              <a:gd name="connsiteX0" fmla="*/ 78002 w 2951761"/>
              <a:gd name="connsiteY0" fmla="*/ 2619256 h 2619256"/>
              <a:gd name="connsiteX1" fmla="*/ 2951761 w 2951761"/>
              <a:gd name="connsiteY1" fmla="*/ 22659 h 2619256"/>
              <a:gd name="connsiteX2" fmla="*/ 2936721 w 2951761"/>
              <a:gd name="connsiteY2" fmla="*/ 0 h 2619256"/>
              <a:gd name="connsiteX3" fmla="*/ 0 w 2951761"/>
              <a:gd name="connsiteY3" fmla="*/ 2597373 h 2619256"/>
              <a:gd name="connsiteX4" fmla="*/ 78002 w 2951761"/>
              <a:gd name="connsiteY4" fmla="*/ 2619256 h 261925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62762 w 2951761"/>
              <a:gd name="connsiteY0" fmla="*/ 2645926 h 2645926"/>
              <a:gd name="connsiteX1" fmla="*/ 2951761 w 2951761"/>
              <a:gd name="connsiteY1" fmla="*/ 22659 h 2645926"/>
              <a:gd name="connsiteX2" fmla="*/ 2936721 w 2951761"/>
              <a:gd name="connsiteY2" fmla="*/ 0 h 2645926"/>
              <a:gd name="connsiteX3" fmla="*/ 0 w 2951761"/>
              <a:gd name="connsiteY3" fmla="*/ 2597373 h 2645926"/>
              <a:gd name="connsiteX4" fmla="*/ 62762 w 2951761"/>
              <a:gd name="connsiteY4" fmla="*/ 2645926 h 2645926"/>
              <a:gd name="connsiteX0" fmla="*/ 87550 w 2951761"/>
              <a:gd name="connsiteY0" fmla="*/ 2623892 h 2623892"/>
              <a:gd name="connsiteX1" fmla="*/ 2951761 w 2951761"/>
              <a:gd name="connsiteY1" fmla="*/ 22659 h 2623892"/>
              <a:gd name="connsiteX2" fmla="*/ 2936721 w 2951761"/>
              <a:gd name="connsiteY2" fmla="*/ 0 h 2623892"/>
              <a:gd name="connsiteX3" fmla="*/ 0 w 2951761"/>
              <a:gd name="connsiteY3" fmla="*/ 2597373 h 2623892"/>
              <a:gd name="connsiteX4" fmla="*/ 87550 w 2951761"/>
              <a:gd name="connsiteY4" fmla="*/ 2623892 h 2623892"/>
              <a:gd name="connsiteX0" fmla="*/ 84796 w 2951761"/>
              <a:gd name="connsiteY0" fmla="*/ 2637663 h 2637663"/>
              <a:gd name="connsiteX1" fmla="*/ 2951761 w 2951761"/>
              <a:gd name="connsiteY1" fmla="*/ 22659 h 2637663"/>
              <a:gd name="connsiteX2" fmla="*/ 2936721 w 2951761"/>
              <a:gd name="connsiteY2" fmla="*/ 0 h 2637663"/>
              <a:gd name="connsiteX3" fmla="*/ 0 w 2951761"/>
              <a:gd name="connsiteY3" fmla="*/ 2597373 h 2637663"/>
              <a:gd name="connsiteX4" fmla="*/ 84796 w 2951761"/>
              <a:gd name="connsiteY4" fmla="*/ 2637663 h 2637663"/>
              <a:gd name="connsiteX0" fmla="*/ 84796 w 2951761"/>
              <a:gd name="connsiteY0" fmla="*/ 2626646 h 2626646"/>
              <a:gd name="connsiteX1" fmla="*/ 2951761 w 2951761"/>
              <a:gd name="connsiteY1" fmla="*/ 22659 h 2626646"/>
              <a:gd name="connsiteX2" fmla="*/ 2936721 w 2951761"/>
              <a:gd name="connsiteY2" fmla="*/ 0 h 2626646"/>
              <a:gd name="connsiteX3" fmla="*/ 0 w 2951761"/>
              <a:gd name="connsiteY3" fmla="*/ 2597373 h 2626646"/>
              <a:gd name="connsiteX4" fmla="*/ 84796 w 2951761"/>
              <a:gd name="connsiteY4" fmla="*/ 2626646 h 2626646"/>
              <a:gd name="connsiteX0" fmla="*/ 81079 w 2948044"/>
              <a:gd name="connsiteY0" fmla="*/ 2626646 h 2626646"/>
              <a:gd name="connsiteX1" fmla="*/ 2948044 w 2948044"/>
              <a:gd name="connsiteY1" fmla="*/ 22659 h 2626646"/>
              <a:gd name="connsiteX2" fmla="*/ 2933004 w 2948044"/>
              <a:gd name="connsiteY2" fmla="*/ 0 h 2626646"/>
              <a:gd name="connsiteX3" fmla="*/ 0 w 2948044"/>
              <a:gd name="connsiteY3" fmla="*/ 2589939 h 2626646"/>
              <a:gd name="connsiteX4" fmla="*/ 81079 w 2948044"/>
              <a:gd name="connsiteY4" fmla="*/ 2626646 h 2626646"/>
              <a:gd name="connsiteX0" fmla="*/ 81079 w 2948044"/>
              <a:gd name="connsiteY0" fmla="*/ 2626646 h 2626646"/>
              <a:gd name="connsiteX1" fmla="*/ 2948044 w 2948044"/>
              <a:gd name="connsiteY1" fmla="*/ 22659 h 2626646"/>
              <a:gd name="connsiteX2" fmla="*/ 2933004 w 2948044"/>
              <a:gd name="connsiteY2" fmla="*/ 0 h 2626646"/>
              <a:gd name="connsiteX3" fmla="*/ 0 w 2948044"/>
              <a:gd name="connsiteY3" fmla="*/ 2589939 h 2626646"/>
              <a:gd name="connsiteX4" fmla="*/ 81079 w 2948044"/>
              <a:gd name="connsiteY4" fmla="*/ 2626646 h 2626646"/>
              <a:gd name="connsiteX0" fmla="*/ 81079 w 2948044"/>
              <a:gd name="connsiteY0" fmla="*/ 2626646 h 2626646"/>
              <a:gd name="connsiteX1" fmla="*/ 2948044 w 2948044"/>
              <a:gd name="connsiteY1" fmla="*/ 22659 h 2626646"/>
              <a:gd name="connsiteX2" fmla="*/ 2933004 w 2948044"/>
              <a:gd name="connsiteY2" fmla="*/ 0 h 2626646"/>
              <a:gd name="connsiteX3" fmla="*/ 0 w 2948044"/>
              <a:gd name="connsiteY3" fmla="*/ 2589939 h 2626646"/>
              <a:gd name="connsiteX4" fmla="*/ 81079 w 2948044"/>
              <a:gd name="connsiteY4" fmla="*/ 2626646 h 2626646"/>
              <a:gd name="connsiteX0" fmla="*/ 81079 w 2948044"/>
              <a:gd name="connsiteY0" fmla="*/ 2626646 h 2626646"/>
              <a:gd name="connsiteX1" fmla="*/ 2948044 w 2948044"/>
              <a:gd name="connsiteY1" fmla="*/ 22659 h 2626646"/>
              <a:gd name="connsiteX2" fmla="*/ 2933004 w 2948044"/>
              <a:gd name="connsiteY2" fmla="*/ 0 h 2626646"/>
              <a:gd name="connsiteX3" fmla="*/ 0 w 2948044"/>
              <a:gd name="connsiteY3" fmla="*/ 2589939 h 2626646"/>
              <a:gd name="connsiteX4" fmla="*/ 81079 w 2948044"/>
              <a:gd name="connsiteY4" fmla="*/ 2626646 h 2626646"/>
              <a:gd name="connsiteX0" fmla="*/ 81079 w 2933004"/>
              <a:gd name="connsiteY0" fmla="*/ 2626646 h 2626646"/>
              <a:gd name="connsiteX1" fmla="*/ 2917088 w 2933004"/>
              <a:gd name="connsiteY1" fmla="*/ 34565 h 2626646"/>
              <a:gd name="connsiteX2" fmla="*/ 2933004 w 2933004"/>
              <a:gd name="connsiteY2" fmla="*/ 0 h 2626646"/>
              <a:gd name="connsiteX3" fmla="*/ 0 w 2933004"/>
              <a:gd name="connsiteY3" fmla="*/ 2589939 h 2626646"/>
              <a:gd name="connsiteX4" fmla="*/ 81079 w 2933004"/>
              <a:gd name="connsiteY4" fmla="*/ 2626646 h 2626646"/>
              <a:gd name="connsiteX0" fmla="*/ 81079 w 2917088"/>
              <a:gd name="connsiteY0" fmla="*/ 2612358 h 2612358"/>
              <a:gd name="connsiteX1" fmla="*/ 2917088 w 2917088"/>
              <a:gd name="connsiteY1" fmla="*/ 20277 h 2612358"/>
              <a:gd name="connsiteX2" fmla="*/ 2904429 w 2917088"/>
              <a:gd name="connsiteY2" fmla="*/ 0 h 2612358"/>
              <a:gd name="connsiteX3" fmla="*/ 0 w 2917088"/>
              <a:gd name="connsiteY3" fmla="*/ 2575651 h 2612358"/>
              <a:gd name="connsiteX4" fmla="*/ 81079 w 2917088"/>
              <a:gd name="connsiteY4" fmla="*/ 2612358 h 26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088" h="2612358">
                <a:moveTo>
                  <a:pt x="81079" y="2612358"/>
                </a:moveTo>
                <a:cubicBezTo>
                  <a:pt x="850296" y="1431711"/>
                  <a:pt x="1385128" y="673230"/>
                  <a:pt x="2917088" y="20277"/>
                </a:cubicBezTo>
                <a:lnTo>
                  <a:pt x="2904429" y="0"/>
                </a:lnTo>
                <a:cubicBezTo>
                  <a:pt x="1584074" y="560654"/>
                  <a:pt x="861065" y="1164360"/>
                  <a:pt x="0" y="2575651"/>
                </a:cubicBezTo>
                <a:lnTo>
                  <a:pt x="81079" y="2612358"/>
                </a:lnTo>
                <a:close/>
              </a:path>
            </a:pathLst>
          </a:cu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720" tIns="45360" rIns="90720" bIns="45360" numCol="1" spcCol="60480" rtlCol="0" anchor="ctr">
            <a:noAutofit/>
          </a:bodyPr>
          <a:lstStyle/>
          <a:p>
            <a:pPr algn="ctr">
              <a:lnSpc>
                <a:spcPct val="110000"/>
              </a:lnSpc>
              <a:spcBef>
                <a:spcPct val="0"/>
              </a:spcBef>
              <a:buFont typeface="Wingdings" charset="0"/>
              <a:buNone/>
            </a:pPr>
            <a:endParaRPr lang="en-US" sz="1500" b="1" dirty="0" err="1">
              <a:solidFill>
                <a:schemeClr val="tx1"/>
              </a:solidFill>
              <a:latin typeface="微软雅黑" panose="020B0503020204020204" pitchFamily="34" charset="-122"/>
              <a:ea typeface="微软雅黑" panose="020B0503020204020204" pitchFamily="34" charset="-122"/>
            </a:endParaRPr>
          </a:p>
        </p:txBody>
      </p:sp>
      <p:sp>
        <p:nvSpPr>
          <p:cNvPr id="38" name="Textfeld 37"/>
          <p:cNvSpPr txBox="1"/>
          <p:nvPr/>
        </p:nvSpPr>
        <p:spPr>
          <a:xfrm rot="20456344">
            <a:off x="7026447" y="3181254"/>
            <a:ext cx="5135461" cy="813606"/>
          </a:xfrm>
          <a:prstGeom prst="rect">
            <a:avLst/>
          </a:prstGeom>
          <a:noFill/>
          <a:ln w="6350">
            <a:noFill/>
          </a:ln>
          <a:effectLst/>
          <a:scene3d>
            <a:camera prst="perspectiveRelaxed" fov="6300000">
              <a:rot lat="20400000" lon="18300000" rev="1998214"/>
            </a:camera>
            <a:lightRig rig="threePt" dir="t">
              <a:rot lat="0" lon="0" rev="4200000"/>
            </a:lightRig>
          </a:scene3d>
          <a:sp3d/>
          <a:extLst>
            <a:ext uri="{909E8E84-426E-40DD-AFC4-6F175D3DCCD1}">
              <a14:hiddenFill xmlns:a14="http://schemas.microsoft.com/office/drawing/2010/main">
                <a:solidFill>
                  <a:srgbClr val="BBE0E3"/>
                </a:solidFill>
              </a14:hiddenFill>
            </a:ext>
          </a:extLst>
        </p:spPr>
        <p:txBody>
          <a:bodyPr wrap="none" lIns="0" tIns="0" rIns="0" bIns="0" rtlCol="0">
            <a:prstTxWarp prst="textArchUp">
              <a:avLst>
                <a:gd name="adj" fmla="val 11447734"/>
              </a:avLst>
            </a:prstTxWarp>
            <a:spAutoFit/>
          </a:bodyPr>
          <a:lstStyle/>
          <a:p>
            <a:pPr>
              <a:lnSpc>
                <a:spcPct val="110000"/>
              </a:lnSpc>
              <a:spcBef>
                <a:spcPts val="0"/>
              </a:spcBef>
            </a:pPr>
            <a:r>
              <a:rPr lang="en-US" sz="2900" spc="1008"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anose="020B0503020204020204" pitchFamily="34" charset="-122"/>
                <a:ea typeface="微软雅黑" panose="020B0503020204020204" pitchFamily="34" charset="-122"/>
              </a:rPr>
              <a:t>Supplier</a:t>
            </a:r>
            <a:br>
              <a:rPr lang="en-US" sz="2900" spc="1008"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anose="020B0503020204020204" pitchFamily="34" charset="-122"/>
                <a:ea typeface="微软雅黑" panose="020B0503020204020204" pitchFamily="34" charset="-122"/>
              </a:rPr>
            </a:br>
            <a:r>
              <a:rPr lang="zh-CN" altLang="en-US" sz="2900" spc="1008"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anose="020B0503020204020204" pitchFamily="34" charset="-122"/>
                <a:ea typeface="微软雅黑" panose="020B0503020204020204" pitchFamily="34" charset="-122"/>
              </a:rPr>
              <a:t>供应商</a:t>
            </a:r>
            <a:endParaRPr lang="en-US" sz="2900" spc="1008"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anose="020B0503020204020204" pitchFamily="34" charset="-122"/>
              <a:ea typeface="微软雅黑" panose="020B0503020204020204" pitchFamily="34" charset="-122"/>
            </a:endParaRPr>
          </a:p>
        </p:txBody>
      </p:sp>
      <p:sp>
        <p:nvSpPr>
          <p:cNvPr id="39" name="Rectangle 4"/>
          <p:cNvSpPr>
            <a:spLocks noChangeArrowheads="1"/>
          </p:cNvSpPr>
          <p:nvPr/>
        </p:nvSpPr>
        <p:spPr bwMode="auto">
          <a:xfrm>
            <a:off x="816658" y="3296122"/>
            <a:ext cx="2179424"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chemeClr val="bg2">
                    <a:lumMod val="50000"/>
                  </a:schemeClr>
                </a:solidFill>
                <a:latin typeface="微软雅黑" panose="020B0503020204020204" pitchFamily="34" charset="-122"/>
                <a:ea typeface="微软雅黑" panose="020B0503020204020204" pitchFamily="34" charset="-122"/>
                <a:sym typeface="Arial" pitchFamily="34" charset="0"/>
              </a:rPr>
              <a:t>产品设计</a:t>
            </a:r>
            <a:endParaRPr lang="en-US" sz="1600" b="1" kern="0" dirty="0">
              <a:solidFill>
                <a:schemeClr val="bg2">
                  <a:lumMod val="50000"/>
                </a:schemeClr>
              </a:solidFill>
              <a:latin typeface="微软雅黑" panose="020B0503020204020204" pitchFamily="34" charset="-122"/>
              <a:ea typeface="微软雅黑" panose="020B0503020204020204" pitchFamily="34" charset="-122"/>
              <a:sym typeface="Arial" pitchFamily="34" charset="0"/>
            </a:endParaRPr>
          </a:p>
        </p:txBody>
      </p:sp>
      <p:sp>
        <p:nvSpPr>
          <p:cNvPr id="40" name="Rectangle 4"/>
          <p:cNvSpPr>
            <a:spLocks noChangeArrowheads="1"/>
          </p:cNvSpPr>
          <p:nvPr/>
        </p:nvSpPr>
        <p:spPr bwMode="auto">
          <a:xfrm>
            <a:off x="2313154" y="2626204"/>
            <a:ext cx="118491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chemeClr val="bg2">
                    <a:lumMod val="50000"/>
                  </a:schemeClr>
                </a:solidFill>
                <a:latin typeface="微软雅黑" panose="020B0503020204020204" pitchFamily="34" charset="-122"/>
                <a:ea typeface="微软雅黑" panose="020B0503020204020204" pitchFamily="34" charset="-122"/>
                <a:sym typeface="Arial" pitchFamily="34" charset="0"/>
              </a:rPr>
              <a:t>生产规划</a:t>
            </a:r>
            <a:endParaRPr lang="en-US" altLang="en-US" sz="1600" b="1" kern="0" dirty="0">
              <a:solidFill>
                <a:schemeClr val="bg2">
                  <a:lumMod val="50000"/>
                </a:schemeClr>
              </a:solidFill>
              <a:latin typeface="微软雅黑" panose="020B0503020204020204" pitchFamily="34" charset="-122"/>
              <a:ea typeface="微软雅黑" panose="020B0503020204020204" pitchFamily="34" charset="-122"/>
              <a:sym typeface="Arial" pitchFamily="34" charset="0"/>
            </a:endParaRPr>
          </a:p>
        </p:txBody>
      </p:sp>
      <p:sp>
        <p:nvSpPr>
          <p:cNvPr id="41" name="Rectangle 4"/>
          <p:cNvSpPr>
            <a:spLocks noChangeArrowheads="1"/>
          </p:cNvSpPr>
          <p:nvPr/>
        </p:nvSpPr>
        <p:spPr bwMode="auto">
          <a:xfrm>
            <a:off x="2644343" y="2137602"/>
            <a:ext cx="359306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chemeClr val="bg2">
                    <a:lumMod val="50000"/>
                  </a:schemeClr>
                </a:solidFill>
                <a:latin typeface="微软雅黑" panose="020B0503020204020204" pitchFamily="34" charset="-122"/>
                <a:ea typeface="微软雅黑" panose="020B0503020204020204" pitchFamily="34" charset="-122"/>
                <a:sym typeface="Arial" pitchFamily="34" charset="0"/>
              </a:rPr>
              <a:t>生产工艺</a:t>
            </a:r>
            <a:endParaRPr lang="en-US" sz="1600" b="1" kern="0" dirty="0">
              <a:solidFill>
                <a:schemeClr val="bg2">
                  <a:lumMod val="50000"/>
                </a:schemeClr>
              </a:solidFill>
              <a:latin typeface="微软雅黑" panose="020B0503020204020204" pitchFamily="34" charset="-122"/>
              <a:ea typeface="微软雅黑" panose="020B0503020204020204" pitchFamily="34" charset="-122"/>
              <a:sym typeface="Arial" pitchFamily="34" charset="0"/>
            </a:endParaRPr>
          </a:p>
        </p:txBody>
      </p:sp>
      <p:sp>
        <p:nvSpPr>
          <p:cNvPr id="42" name="Rectangle 4"/>
          <p:cNvSpPr>
            <a:spLocks noChangeArrowheads="1"/>
          </p:cNvSpPr>
          <p:nvPr/>
        </p:nvSpPr>
        <p:spPr bwMode="auto">
          <a:xfrm>
            <a:off x="6131277" y="1806299"/>
            <a:ext cx="88822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chemeClr val="bg2">
                    <a:lumMod val="50000"/>
                  </a:schemeClr>
                </a:solidFill>
                <a:latin typeface="微软雅黑" panose="020B0503020204020204" pitchFamily="34" charset="-122"/>
                <a:ea typeface="微软雅黑" panose="020B0503020204020204" pitchFamily="34" charset="-122"/>
                <a:cs typeface="Arial" charset="0"/>
                <a:sym typeface="Arial" pitchFamily="34" charset="0"/>
              </a:rPr>
              <a:t>生产执行</a:t>
            </a:r>
            <a:endParaRPr lang="en-US" sz="1600" b="1" kern="0" dirty="0">
              <a:solidFill>
                <a:schemeClr val="bg2">
                  <a:lumMod val="50000"/>
                </a:schemeClr>
              </a:solidFill>
              <a:latin typeface="微软雅黑" panose="020B0503020204020204" pitchFamily="34" charset="-122"/>
              <a:ea typeface="微软雅黑" panose="020B0503020204020204" pitchFamily="34" charset="-122"/>
              <a:cs typeface="Arial" charset="0"/>
              <a:sym typeface="Arial" pitchFamily="34" charset="0"/>
            </a:endParaRPr>
          </a:p>
        </p:txBody>
      </p:sp>
      <p:sp>
        <p:nvSpPr>
          <p:cNvPr id="43" name="Rectangle 4"/>
          <p:cNvSpPr>
            <a:spLocks noChangeArrowheads="1"/>
          </p:cNvSpPr>
          <p:nvPr/>
        </p:nvSpPr>
        <p:spPr bwMode="auto">
          <a:xfrm>
            <a:off x="8262834" y="1781304"/>
            <a:ext cx="47464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chemeClr val="bg2">
                    <a:lumMod val="50000"/>
                  </a:schemeClr>
                </a:solidFill>
                <a:latin typeface="微软雅黑" panose="020B0503020204020204" pitchFamily="34" charset="-122"/>
                <a:ea typeface="微软雅黑" panose="020B0503020204020204" pitchFamily="34" charset="-122"/>
                <a:cs typeface="Arial" charset="0"/>
                <a:sym typeface="Arial" pitchFamily="34" charset="0"/>
              </a:rPr>
              <a:t>服务</a:t>
            </a:r>
            <a:endParaRPr lang="en-US" sz="1600" b="1" kern="0" dirty="0">
              <a:solidFill>
                <a:schemeClr val="bg2">
                  <a:lumMod val="50000"/>
                </a:schemeClr>
              </a:solidFill>
              <a:latin typeface="微软雅黑" panose="020B0503020204020204" pitchFamily="34" charset="-122"/>
              <a:ea typeface="微软雅黑" panose="020B0503020204020204" pitchFamily="34" charset="-122"/>
              <a:cs typeface="Arial" charset="0"/>
              <a:sym typeface="Arial" pitchFamily="34" charset="0"/>
            </a:endParaRPr>
          </a:p>
        </p:txBody>
      </p:sp>
      <p:sp>
        <p:nvSpPr>
          <p:cNvPr id="5" name="Rectangle 4"/>
          <p:cNvSpPr/>
          <p:nvPr/>
        </p:nvSpPr>
        <p:spPr>
          <a:xfrm>
            <a:off x="754069" y="6191816"/>
            <a:ext cx="10916957" cy="369332"/>
          </a:xfrm>
          <a:prstGeom prst="rect">
            <a:avLst/>
          </a:prstGeom>
        </p:spPr>
        <p:style>
          <a:lnRef idx="1">
            <a:schemeClr val="accent5"/>
          </a:lnRef>
          <a:fillRef idx="3">
            <a:schemeClr val="accent5"/>
          </a:fillRef>
          <a:effectRef idx="2">
            <a:schemeClr val="accent5"/>
          </a:effectRef>
          <a:fontRef idx="minor">
            <a:schemeClr val="lt1"/>
          </a:fontRef>
        </p:style>
        <p:txBody>
          <a:bodyPr wrap="square">
            <a:spAutoFit/>
          </a:bodyPr>
          <a:lstStyle/>
          <a:p>
            <a:pPr algn="ctr"/>
            <a:r>
              <a:rPr lang="zh-CN" altLang="en-US" dirty="0">
                <a:latin typeface="微软雅黑" panose="020B0503020204020204" pitchFamily="34" charset="-122"/>
                <a:ea typeface="微软雅黑" panose="020B0503020204020204" pitchFamily="34" charset="-122"/>
              </a:rPr>
              <a:t>通过设计与制造过程的虚拟化校验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实现真实生产的确认与优化 </a:t>
            </a:r>
            <a:endParaRPr lang="en-US" dirty="0">
              <a:latin typeface="微软雅黑" panose="020B0503020204020204" pitchFamily="34" charset="-122"/>
              <a:ea typeface="微软雅黑" panose="020B0503020204020204" pitchFamily="34" charset="-122"/>
            </a:endParaRPr>
          </a:p>
        </p:txBody>
      </p:sp>
      <p:sp>
        <p:nvSpPr>
          <p:cNvPr id="59" name="Rectangle 4"/>
          <p:cNvSpPr>
            <a:spLocks noChangeArrowheads="1"/>
          </p:cNvSpPr>
          <p:nvPr/>
        </p:nvSpPr>
        <p:spPr bwMode="auto">
          <a:xfrm>
            <a:off x="2261449" y="5150563"/>
            <a:ext cx="2179424"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60480" bIns="0" anchor="ctr">
            <a:spAutoFit/>
          </a:bodyPr>
          <a:lstStyle/>
          <a:p>
            <a:pPr algn="ctr" defTabSz="640080" fontAlgn="auto">
              <a:lnSpc>
                <a:spcPct val="90000"/>
              </a:lnSpc>
              <a:spcBef>
                <a:spcPts val="0"/>
              </a:spcBef>
              <a:spcAft>
                <a:spcPts val="0"/>
              </a:spcAft>
              <a:buSzPct val="100000"/>
              <a:defRPr/>
            </a:pPr>
            <a:r>
              <a:rPr lang="zh-CN" altLang="en-US" sz="1600" b="1" kern="0" dirty="0" smtClean="0">
                <a:solidFill>
                  <a:srgbClr val="00B050"/>
                </a:solidFill>
                <a:latin typeface="微软雅黑" panose="020B0503020204020204" pitchFamily="34" charset="-122"/>
                <a:ea typeface="微软雅黑" panose="020B0503020204020204" pitchFamily="34" charset="-122"/>
                <a:sym typeface="Arial" pitchFamily="34" charset="0"/>
              </a:rPr>
              <a:t>客户需求</a:t>
            </a:r>
            <a:endParaRPr lang="en-US" sz="1600" b="1" kern="0" dirty="0">
              <a:solidFill>
                <a:srgbClr val="00B050"/>
              </a:solidFill>
              <a:latin typeface="微软雅黑" panose="020B0503020204020204" pitchFamily="34" charset="-122"/>
              <a:ea typeface="微软雅黑" panose="020B0503020204020204" pitchFamily="34" charset="-122"/>
              <a:sym typeface="Arial" pitchFamily="34" charset="0"/>
            </a:endParaRPr>
          </a:p>
        </p:txBody>
      </p:sp>
    </p:spTree>
    <p:custDataLst>
      <p:tags r:id="rId1"/>
    </p:custDataLst>
    <p:extLst>
      <p:ext uri="{BB962C8B-B14F-4D97-AF65-F5344CB8AC3E}">
        <p14:creationId xmlns:p14="http://schemas.microsoft.com/office/powerpoint/2010/main" val="1351044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虚拟世界</a:t>
            </a:r>
            <a:r>
              <a:rPr lang="zh-CN" altLang="en-US" dirty="0" smtClean="0"/>
              <a:t>与</a:t>
            </a:r>
            <a:r>
              <a:rPr lang="zh-CN" altLang="en-US" dirty="0"/>
              <a:t>实体</a:t>
            </a:r>
            <a:r>
              <a:rPr lang="zh-CN" altLang="en-US" dirty="0" smtClean="0"/>
              <a:t>世界</a:t>
            </a:r>
            <a:r>
              <a:rPr lang="zh-CN" altLang="en-US" dirty="0"/>
              <a:t>无缝映射是智能制造的核心理念</a:t>
            </a:r>
          </a:p>
        </p:txBody>
      </p:sp>
      <p:sp>
        <p:nvSpPr>
          <p:cNvPr id="3" name="Rectangle 9"/>
          <p:cNvSpPr/>
          <p:nvPr/>
        </p:nvSpPr>
        <p:spPr>
          <a:xfrm>
            <a:off x="3611032" y="5637983"/>
            <a:ext cx="7630511" cy="400110"/>
          </a:xfrm>
          <a:prstGeom prst="rect">
            <a:avLst/>
          </a:prstGeom>
          <a:solidFill>
            <a:schemeClr val="accent5"/>
          </a:solidFill>
          <a:ln>
            <a:solidFill>
              <a:srgbClr val="009999"/>
            </a:solidFill>
          </a:ln>
        </p:spPr>
        <p:txBody>
          <a:bodyPr wrap="square">
            <a:spAutoFit/>
          </a:bodyPr>
          <a:lstStyle/>
          <a:p>
            <a:pPr algn="ctr" defTabSz="914171">
              <a:spcBef>
                <a:spcPct val="0"/>
              </a:spcBef>
              <a:defRPr/>
            </a:pPr>
            <a:r>
              <a:rPr lang="zh-CN" altLang="en-US" sz="2000" b="1" dirty="0" smtClean="0">
                <a:solidFill>
                  <a:schemeClr val="bg1"/>
                </a:solidFill>
                <a:latin typeface="+mn-ea"/>
                <a:ea typeface="+mn-ea"/>
              </a:rPr>
              <a:t>制造工程与制造过程的完美融合</a:t>
            </a:r>
            <a:endParaRPr lang="en-US" sz="2000" b="1" dirty="0">
              <a:solidFill>
                <a:schemeClr val="bg1"/>
              </a:solidFill>
              <a:latin typeface="+mn-ea"/>
              <a:ea typeface="+mn-ea"/>
            </a:endParaRPr>
          </a:p>
        </p:txBody>
      </p:sp>
      <p:sp>
        <p:nvSpPr>
          <p:cNvPr id="4" name="Right Arrow 10"/>
          <p:cNvSpPr/>
          <p:nvPr/>
        </p:nvSpPr>
        <p:spPr bwMode="auto">
          <a:xfrm>
            <a:off x="8323257" y="4145680"/>
            <a:ext cx="3170240" cy="1271525"/>
          </a:xfrm>
          <a:prstGeom prst="rightArrow">
            <a:avLst/>
          </a:prstGeom>
          <a:solidFill>
            <a:schemeClr val="accent5"/>
          </a:solidFill>
          <a:ln w="9525">
            <a:solidFill>
              <a:schemeClr val="tx1"/>
            </a:solidFill>
            <a:miter lim="800000"/>
            <a:headEnd/>
            <a:tailEnd/>
          </a:ln>
          <a:effectLst/>
          <a:extLst/>
        </p:spPr>
        <p:txBody>
          <a:bodyPr wrap="square" lIns="108000" tIns="54000" rIns="108000" bIns="54000" numCol="1" spcCol="72000" rtlCol="0" anchor="ctr">
            <a:noAutofit/>
          </a:bodyPr>
          <a:lstStyle/>
          <a:p>
            <a:pPr algn="r" fontAlgn="auto">
              <a:lnSpc>
                <a:spcPct val="110000"/>
              </a:lnSpc>
              <a:spcBef>
                <a:spcPct val="0"/>
              </a:spcBef>
              <a:spcAft>
                <a:spcPts val="0"/>
              </a:spcAft>
            </a:pPr>
            <a:r>
              <a:rPr lang="zh-CN" altLang="en-US" b="1" dirty="0" smtClean="0">
                <a:solidFill>
                  <a:srgbClr val="FFFFFF"/>
                </a:solidFill>
                <a:latin typeface="+mn-ea"/>
                <a:ea typeface="+mn-ea"/>
              </a:rPr>
              <a:t>产品上市</a:t>
            </a:r>
            <a:endParaRPr lang="en-GB" b="1" dirty="0" err="1" smtClean="0">
              <a:solidFill>
                <a:srgbClr val="FFFFFF"/>
              </a:solidFill>
              <a:latin typeface="+mn-ea"/>
              <a:ea typeface="+mn-ea"/>
            </a:endParaRPr>
          </a:p>
        </p:txBody>
      </p:sp>
      <p:sp>
        <p:nvSpPr>
          <p:cNvPr id="5" name="Rectangle 11"/>
          <p:cNvSpPr/>
          <p:nvPr/>
        </p:nvSpPr>
        <p:spPr bwMode="auto">
          <a:xfrm>
            <a:off x="8284385" y="1753859"/>
            <a:ext cx="3209112" cy="647116"/>
          </a:xfrm>
          <a:prstGeom prst="rect">
            <a:avLst/>
          </a:prstGeom>
          <a:solidFill>
            <a:schemeClr val="bg2">
              <a:lumMod val="75000"/>
            </a:schemeClr>
          </a:solidFill>
          <a:ln w="9525">
            <a:solidFill>
              <a:schemeClr val="tx1"/>
            </a:solidFill>
            <a:miter lim="800000"/>
            <a:headEnd/>
            <a:tailEnd/>
          </a:ln>
          <a:effectLst/>
          <a:extLst/>
        </p:spPr>
        <p:txBody>
          <a:bodyPr wrap="square" lIns="108000" tIns="54000" rIns="108000" bIns="54000" numCol="1" spcCol="72000" rtlCol="0" anchor="ctr">
            <a:noAutofit/>
          </a:bodyPr>
          <a:lstStyle/>
          <a:p>
            <a:pPr algn="r" fontAlgn="auto">
              <a:lnSpc>
                <a:spcPct val="110000"/>
              </a:lnSpc>
              <a:spcBef>
                <a:spcPct val="0"/>
              </a:spcBef>
              <a:spcAft>
                <a:spcPts val="0"/>
              </a:spcAft>
            </a:pPr>
            <a:r>
              <a:rPr lang="zh-CN" altLang="en-US" b="1" dirty="0" smtClean="0">
                <a:solidFill>
                  <a:srgbClr val="FFFFFF"/>
                </a:solidFill>
                <a:latin typeface="+mn-ea"/>
                <a:ea typeface="+mn-ea"/>
              </a:rPr>
              <a:t>产品设计</a:t>
            </a:r>
            <a:endParaRPr lang="en-US" altLang="zh-CN" b="1" dirty="0" smtClean="0">
              <a:solidFill>
                <a:srgbClr val="FFFFFF"/>
              </a:solidFill>
              <a:latin typeface="+mn-ea"/>
              <a:ea typeface="+mn-ea"/>
            </a:endParaRPr>
          </a:p>
          <a:p>
            <a:pPr algn="r" fontAlgn="auto">
              <a:lnSpc>
                <a:spcPct val="110000"/>
              </a:lnSpc>
              <a:spcBef>
                <a:spcPct val="0"/>
              </a:spcBef>
              <a:spcAft>
                <a:spcPts val="0"/>
              </a:spcAft>
            </a:pPr>
            <a:r>
              <a:rPr lang="zh-CN" altLang="en-US" b="1" dirty="0">
                <a:solidFill>
                  <a:srgbClr val="FFFFFF"/>
                </a:solidFill>
                <a:latin typeface="+mn-ea"/>
                <a:ea typeface="+mn-ea"/>
              </a:rPr>
              <a:t>客</a:t>
            </a:r>
            <a:r>
              <a:rPr lang="zh-CN" altLang="en-US" b="1" dirty="0" smtClean="0">
                <a:solidFill>
                  <a:srgbClr val="FFFFFF"/>
                </a:solidFill>
                <a:latin typeface="+mn-ea"/>
                <a:ea typeface="+mn-ea"/>
              </a:rPr>
              <a:t>户</a:t>
            </a:r>
            <a:r>
              <a:rPr lang="zh-CN" altLang="en-US" b="1" dirty="0">
                <a:solidFill>
                  <a:srgbClr val="FFFFFF"/>
                </a:solidFill>
                <a:latin typeface="+mn-ea"/>
                <a:ea typeface="+mn-ea"/>
              </a:rPr>
              <a:t>需求</a:t>
            </a:r>
            <a:endParaRPr lang="en-US" b="1" dirty="0" smtClean="0">
              <a:solidFill>
                <a:srgbClr val="FFFFFF"/>
              </a:solidFill>
              <a:latin typeface="+mn-ea"/>
              <a:ea typeface="+mn-ea"/>
            </a:endParaRPr>
          </a:p>
        </p:txBody>
      </p:sp>
      <p:pic>
        <p:nvPicPr>
          <p:cNvPr id="6"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sp>
        <p:nvSpPr>
          <p:cNvPr id="7" name="TextBox 13"/>
          <p:cNvSpPr txBox="1"/>
          <p:nvPr/>
        </p:nvSpPr>
        <p:spPr>
          <a:xfrm>
            <a:off x="4680441" y="2899367"/>
            <a:ext cx="1538123" cy="1107996"/>
          </a:xfrm>
          <a:prstGeom prst="rect">
            <a:avLst/>
          </a:prstGeom>
          <a:noFill/>
        </p:spPr>
        <p:txBody>
          <a:bodyPr wrap="square" lIns="0" tIns="0" rIns="0" bIns="0" rtlCol="0">
            <a:spAutoFit/>
          </a:bodyPr>
          <a:lstStyle/>
          <a:p>
            <a:pPr algn="ctr" fontAlgn="auto">
              <a:spcBef>
                <a:spcPts val="0"/>
              </a:spcBef>
              <a:spcAft>
                <a:spcPts val="0"/>
              </a:spcAft>
            </a:pPr>
            <a:r>
              <a:rPr lang="it-IT" sz="3600" b="1" dirty="0">
                <a:solidFill>
                  <a:srgbClr val="000000"/>
                </a:solidFill>
                <a:latin typeface="+mn-lt"/>
                <a:ea typeface="ＭＳ Ｐゴシック"/>
              </a:rPr>
              <a:t>Digital</a:t>
            </a:r>
          </a:p>
          <a:p>
            <a:pPr algn="ctr" fontAlgn="auto">
              <a:spcBef>
                <a:spcPts val="0"/>
              </a:spcBef>
              <a:spcAft>
                <a:spcPts val="0"/>
              </a:spcAft>
            </a:pPr>
            <a:r>
              <a:rPr lang="it-IT" sz="3600" b="1" dirty="0">
                <a:solidFill>
                  <a:srgbClr val="000000"/>
                </a:solidFill>
                <a:latin typeface="+mn-lt"/>
                <a:ea typeface="ＭＳ Ｐゴシック"/>
              </a:rPr>
              <a:t>Twin</a:t>
            </a:r>
            <a:endParaRPr lang="en-GB" sz="3600" b="1" dirty="0" err="1">
              <a:solidFill>
                <a:srgbClr val="000000"/>
              </a:solidFill>
              <a:latin typeface="+mn-lt"/>
              <a:ea typeface="ＭＳ Ｐゴシック"/>
            </a:endParaRPr>
          </a:p>
        </p:txBody>
      </p:sp>
      <p:sp>
        <p:nvSpPr>
          <p:cNvPr id="8" name="TextBox 14"/>
          <p:cNvSpPr txBox="1"/>
          <p:nvPr/>
        </p:nvSpPr>
        <p:spPr>
          <a:xfrm>
            <a:off x="7414140" y="2789879"/>
            <a:ext cx="1347255" cy="1107996"/>
          </a:xfrm>
          <a:prstGeom prst="rect">
            <a:avLst/>
          </a:prstGeom>
          <a:noFill/>
        </p:spPr>
        <p:txBody>
          <a:bodyPr wrap="square" lIns="0" tIns="0" rIns="0" bIns="0" rtlCol="0">
            <a:spAutoFit/>
          </a:bodyPr>
          <a:lstStyle/>
          <a:p>
            <a:pPr algn="ctr" fontAlgn="auto">
              <a:spcBef>
                <a:spcPts val="0"/>
              </a:spcBef>
              <a:spcAft>
                <a:spcPts val="0"/>
              </a:spcAft>
            </a:pPr>
            <a:r>
              <a:rPr lang="it-IT" sz="3600" b="1" dirty="0">
                <a:solidFill>
                  <a:srgbClr val="000000"/>
                </a:solidFill>
                <a:latin typeface="+mn-lt"/>
                <a:ea typeface="ＭＳ Ｐゴシック"/>
              </a:rPr>
              <a:t>Real</a:t>
            </a:r>
          </a:p>
          <a:p>
            <a:pPr algn="ctr" fontAlgn="auto">
              <a:spcBef>
                <a:spcPts val="0"/>
              </a:spcBef>
              <a:spcAft>
                <a:spcPts val="0"/>
              </a:spcAft>
            </a:pPr>
            <a:r>
              <a:rPr lang="it-IT" sz="3600" b="1" dirty="0">
                <a:solidFill>
                  <a:srgbClr val="000000"/>
                </a:solidFill>
                <a:latin typeface="+mn-lt"/>
                <a:ea typeface="ＭＳ Ｐゴシック"/>
              </a:rPr>
              <a:t>World</a:t>
            </a:r>
            <a:endParaRPr lang="en-GB" sz="3600" b="1" dirty="0" err="1">
              <a:solidFill>
                <a:srgbClr val="000000"/>
              </a:solidFill>
              <a:latin typeface="+mn-lt"/>
              <a:ea typeface="ＭＳ Ｐゴシック"/>
            </a:endParaRPr>
          </a:p>
        </p:txBody>
      </p:sp>
      <p:pic>
        <p:nvPicPr>
          <p:cNvPr id="9"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0"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1"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2"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3"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4"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5"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6" name="Picture 2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7" name="Picture 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8" name="Picture 2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19" name="Picture 2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20" name="Picture 2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21" name="Picture 2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22"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pic>
        <p:nvPicPr>
          <p:cNvPr id="23" name="Picture 2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611032" y="1586161"/>
            <a:ext cx="6219847" cy="3803746"/>
          </a:xfrm>
          <a:prstGeom prst="rect">
            <a:avLst/>
          </a:prstGeom>
        </p:spPr>
      </p:pic>
      <p:grpSp>
        <p:nvGrpSpPr>
          <p:cNvPr id="24" name="Group 3"/>
          <p:cNvGrpSpPr/>
          <p:nvPr/>
        </p:nvGrpSpPr>
        <p:grpSpPr>
          <a:xfrm>
            <a:off x="241073" y="1591154"/>
            <a:ext cx="3200463" cy="4657245"/>
            <a:chOff x="241073" y="1591154"/>
            <a:chExt cx="3200463" cy="4657245"/>
          </a:xfrm>
        </p:grpSpPr>
        <p:sp>
          <p:nvSpPr>
            <p:cNvPr id="25" name="Rectangle 1"/>
            <p:cNvSpPr/>
            <p:nvPr/>
          </p:nvSpPr>
          <p:spPr>
            <a:xfrm>
              <a:off x="241073" y="1591154"/>
              <a:ext cx="3166155" cy="3046988"/>
            </a:xfrm>
            <a:prstGeom prst="rect">
              <a:avLst/>
            </a:prstGeom>
          </p:spPr>
          <p:txBody>
            <a:bodyPr wrap="square">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采用数字化</a:t>
              </a:r>
              <a:r>
                <a:rPr lang="zh-CN" altLang="en-US" sz="1600" kern="0" dirty="0">
                  <a:solidFill>
                    <a:srgbClr val="000000"/>
                  </a:solidFill>
                  <a:latin typeface="微软雅黑" panose="020B0503020204020204" pitchFamily="34" charset="-122"/>
                  <a:ea typeface="微软雅黑" panose="020B0503020204020204" pitchFamily="34" charset="-122"/>
                </a:rPr>
                <a:t>孪生</a:t>
              </a: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技术，</a:t>
              </a:r>
              <a:r>
                <a:rPr kumimoji="0" lang="zh-CN"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修改或</a:t>
              </a: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仿真</a:t>
              </a:r>
              <a:r>
                <a:rPr kumimoji="0" lang="zh-CN"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某一个工艺段，</a:t>
              </a: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完成工艺验证</a:t>
              </a:r>
              <a:r>
                <a:rPr kumimoji="0" lang="zh-CN"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然后</a:t>
              </a: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在</a:t>
              </a:r>
              <a:r>
                <a:rPr kumimoji="0" lang="zh-CN"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整个生产流程</a:t>
              </a:r>
              <a:r>
                <a:rPr kumimoji="0" lang="zh-CN" altLang="en-US"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中进行试生产</a:t>
              </a:r>
              <a:r>
                <a:rPr kumimoji="0" lang="zh-CN" altLang="zh-CN" sz="16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并看到其中可能存在的问题。并且通过虚拟工厂收集、反馈真实工厂的运行情况，从而积累工厂的运行数据，直观展示，辅助领导进行决策。</a:t>
              </a:r>
              <a:endParaRPr kumimoji="0" lang="en-US" sz="1600" b="0" i="0" u="none" strike="noStrike" kern="0" cap="none" spc="0" normalizeH="0" baseline="0" noProof="0" dirty="0" smtClean="0">
                <a:ln>
                  <a:noFill/>
                </a:ln>
                <a:solidFill>
                  <a:sysClr val="windowText" lastClr="000000"/>
                </a:solidFill>
                <a:effectLst/>
                <a:uLnTx/>
                <a:uFillTx/>
              </a:endParaRPr>
            </a:p>
          </p:txBody>
        </p:sp>
        <p:pic>
          <p:nvPicPr>
            <p:cNvPr id="26" name="Picture 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41073" y="4868152"/>
              <a:ext cx="3200463" cy="1380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34998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xit" presetSubtype="0" fill="hold" nodeType="withEffect">
                                  <p:stCondLst>
                                    <p:cond delay="0"/>
                                  </p:stCondLst>
                                  <p:childTnLst>
                                    <p:animEffect transition="out" filter="fade">
                                      <p:cBhvr>
                                        <p:cTn id="21" dur="500"/>
                                        <p:tgtEl>
                                          <p:spTgt spid="9"/>
                                        </p:tgtEl>
                                      </p:cBhvr>
                                    </p:animEffect>
                                    <p:set>
                                      <p:cBhvr>
                                        <p:cTn id="22" dur="1" fill="hold">
                                          <p:stCondLst>
                                            <p:cond delay="499"/>
                                          </p:stCondLst>
                                        </p:cTn>
                                        <p:tgtEl>
                                          <p:spTgt spid="9"/>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10" presetClass="exit" presetSubtype="0" fill="hold" nodeType="withEffect">
                                  <p:stCondLst>
                                    <p:cond delay="0"/>
                                  </p:stCondLst>
                                  <p:childTnLst>
                                    <p:animEffect transition="out" filter="fade">
                                      <p:cBhvr>
                                        <p:cTn id="31" dur="500"/>
                                        <p:tgtEl>
                                          <p:spTgt spid="11"/>
                                        </p:tgtEl>
                                      </p:cBhvr>
                                    </p:animEffect>
                                    <p:set>
                                      <p:cBhvr>
                                        <p:cTn id="32" dur="1" fill="hold">
                                          <p:stCondLst>
                                            <p:cond delay="499"/>
                                          </p:stCondLst>
                                        </p:cTn>
                                        <p:tgtEl>
                                          <p:spTgt spid="11"/>
                                        </p:tgtEl>
                                        <p:attrNameLst>
                                          <p:attrName>style.visibility</p:attrName>
                                        </p:attrNameLst>
                                      </p:cBhvr>
                                      <p:to>
                                        <p:strVal val="hidden"/>
                                      </p:to>
                                    </p:se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xit" presetSubtype="0" fill="hold" nodeType="withEffect">
                                  <p:stCondLst>
                                    <p:cond delay="0"/>
                                  </p:stCondLst>
                                  <p:childTnLst>
                                    <p:animEffect transition="out" filter="fade">
                                      <p:cBhvr>
                                        <p:cTn id="38" dur="250"/>
                                        <p:tgtEl>
                                          <p:spTgt spid="12"/>
                                        </p:tgtEl>
                                      </p:cBhvr>
                                    </p:animEffect>
                                    <p:set>
                                      <p:cBhvr>
                                        <p:cTn id="39" dur="1" fill="hold">
                                          <p:stCondLst>
                                            <p:cond delay="249"/>
                                          </p:stCondLst>
                                        </p:cTn>
                                        <p:tgtEl>
                                          <p:spTgt spid="12"/>
                                        </p:tgtEl>
                                        <p:attrNameLst>
                                          <p:attrName>style.visibility</p:attrName>
                                        </p:attrNameLst>
                                      </p:cBhvr>
                                      <p:to>
                                        <p:strVal val="hidden"/>
                                      </p:to>
                                    </p:set>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250"/>
                                        <p:tgtEl>
                                          <p:spTgt spid="14"/>
                                        </p:tgtEl>
                                      </p:cBhvr>
                                    </p:animEffect>
                                  </p:childTnLst>
                                </p:cTn>
                              </p:par>
                              <p:par>
                                <p:cTn id="44" presetID="10" presetClass="exit" presetSubtype="0" fill="hold" nodeType="withEffect">
                                  <p:stCondLst>
                                    <p:cond delay="0"/>
                                  </p:stCondLst>
                                  <p:childTnLst>
                                    <p:animEffect transition="out" filter="fade">
                                      <p:cBhvr>
                                        <p:cTn id="45" dur="250"/>
                                        <p:tgtEl>
                                          <p:spTgt spid="13"/>
                                        </p:tgtEl>
                                      </p:cBhvr>
                                    </p:animEffect>
                                    <p:set>
                                      <p:cBhvr>
                                        <p:cTn id="46" dur="1" fill="hold">
                                          <p:stCondLst>
                                            <p:cond delay="249"/>
                                          </p:stCondLst>
                                        </p:cTn>
                                        <p:tgtEl>
                                          <p:spTgt spid="13"/>
                                        </p:tgtEl>
                                        <p:attrNameLst>
                                          <p:attrName>style.visibility</p:attrName>
                                        </p:attrNameLst>
                                      </p:cBhvr>
                                      <p:to>
                                        <p:strVal val="hidden"/>
                                      </p:to>
                                    </p:set>
                                  </p:childTnLst>
                                </p:cTn>
                              </p:par>
                            </p:childTnLst>
                          </p:cTn>
                        </p:par>
                        <p:par>
                          <p:cTn id="47" fill="hold">
                            <p:stCondLst>
                              <p:cond delay="3250"/>
                            </p:stCondLst>
                            <p:childTnLst>
                              <p:par>
                                <p:cTn id="48" presetID="10" presetClass="entr" presetSubtype="0" fill="hold" nodeType="after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250"/>
                                        <p:tgtEl>
                                          <p:spTgt spid="15"/>
                                        </p:tgtEl>
                                      </p:cBhvr>
                                    </p:animEffect>
                                  </p:childTnLst>
                                </p:cTn>
                              </p:par>
                              <p:par>
                                <p:cTn id="51" presetID="10" presetClass="exit" presetSubtype="0" fill="hold" nodeType="withEffect">
                                  <p:stCondLst>
                                    <p:cond delay="0"/>
                                  </p:stCondLst>
                                  <p:childTnLst>
                                    <p:animEffect transition="out" filter="fade">
                                      <p:cBhvr>
                                        <p:cTn id="52" dur="250"/>
                                        <p:tgtEl>
                                          <p:spTgt spid="14"/>
                                        </p:tgtEl>
                                      </p:cBhvr>
                                    </p:animEffect>
                                    <p:set>
                                      <p:cBhvr>
                                        <p:cTn id="53" dur="1" fill="hold">
                                          <p:stCondLst>
                                            <p:cond delay="249"/>
                                          </p:stCondLst>
                                        </p:cTn>
                                        <p:tgtEl>
                                          <p:spTgt spid="14"/>
                                        </p:tgtEl>
                                        <p:attrNameLst>
                                          <p:attrName>style.visibility</p:attrName>
                                        </p:attrNameLst>
                                      </p:cBhvr>
                                      <p:to>
                                        <p:strVal val="hidden"/>
                                      </p:to>
                                    </p:set>
                                  </p:childTnLst>
                                </p:cTn>
                              </p:par>
                            </p:childTnLst>
                          </p:cTn>
                        </p:par>
                        <p:par>
                          <p:cTn id="54" fill="hold">
                            <p:stCondLst>
                              <p:cond delay="3500"/>
                            </p:stCondLst>
                            <p:childTnLst>
                              <p:par>
                                <p:cTn id="55" presetID="10" presetClass="entr" presetSubtype="0" fill="hold" nodeType="after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250"/>
                                        <p:tgtEl>
                                          <p:spTgt spid="16"/>
                                        </p:tgtEl>
                                      </p:cBhvr>
                                    </p:animEffect>
                                  </p:childTnLst>
                                </p:cTn>
                              </p:par>
                              <p:par>
                                <p:cTn id="58" presetID="10" presetClass="exit" presetSubtype="0" fill="hold" nodeType="withEffect">
                                  <p:stCondLst>
                                    <p:cond delay="0"/>
                                  </p:stCondLst>
                                  <p:childTnLst>
                                    <p:animEffect transition="out" filter="fade">
                                      <p:cBhvr>
                                        <p:cTn id="59" dur="250"/>
                                        <p:tgtEl>
                                          <p:spTgt spid="15"/>
                                        </p:tgtEl>
                                      </p:cBhvr>
                                    </p:animEffect>
                                    <p:set>
                                      <p:cBhvr>
                                        <p:cTn id="60" dur="1" fill="hold">
                                          <p:stCondLst>
                                            <p:cond delay="249"/>
                                          </p:stCondLst>
                                        </p:cTn>
                                        <p:tgtEl>
                                          <p:spTgt spid="15"/>
                                        </p:tgtEl>
                                        <p:attrNameLst>
                                          <p:attrName>style.visibility</p:attrName>
                                        </p:attrNameLst>
                                      </p:cBhvr>
                                      <p:to>
                                        <p:strVal val="hidden"/>
                                      </p:to>
                                    </p:set>
                                  </p:childTnLst>
                                </p:cTn>
                              </p:par>
                            </p:childTnLst>
                          </p:cTn>
                        </p:par>
                        <p:par>
                          <p:cTn id="61" fill="hold">
                            <p:stCondLst>
                              <p:cond delay="3750"/>
                            </p:stCondLst>
                            <p:childTnLst>
                              <p:par>
                                <p:cTn id="62" presetID="10" presetClass="entr" presetSubtype="0" fill="hold" nodeType="after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250"/>
                                        <p:tgtEl>
                                          <p:spTgt spid="17"/>
                                        </p:tgtEl>
                                      </p:cBhvr>
                                    </p:animEffect>
                                  </p:childTnLst>
                                </p:cTn>
                              </p:par>
                              <p:par>
                                <p:cTn id="65" presetID="10" presetClass="exit" presetSubtype="0" fill="hold" nodeType="withEffect">
                                  <p:stCondLst>
                                    <p:cond delay="0"/>
                                  </p:stCondLst>
                                  <p:childTnLst>
                                    <p:animEffect transition="out" filter="fade">
                                      <p:cBhvr>
                                        <p:cTn id="66" dur="250"/>
                                        <p:tgtEl>
                                          <p:spTgt spid="16"/>
                                        </p:tgtEl>
                                      </p:cBhvr>
                                    </p:animEffect>
                                    <p:set>
                                      <p:cBhvr>
                                        <p:cTn id="67" dur="1" fill="hold">
                                          <p:stCondLst>
                                            <p:cond delay="249"/>
                                          </p:stCondLst>
                                        </p:cTn>
                                        <p:tgtEl>
                                          <p:spTgt spid="16"/>
                                        </p:tgtEl>
                                        <p:attrNameLst>
                                          <p:attrName>style.visibility</p:attrName>
                                        </p:attrNameLst>
                                      </p:cBhvr>
                                      <p:to>
                                        <p:strVal val="hidden"/>
                                      </p:to>
                                    </p:set>
                                  </p:childTnLst>
                                </p:cTn>
                              </p:par>
                            </p:childTnLst>
                          </p:cTn>
                        </p:par>
                        <p:par>
                          <p:cTn id="68" fill="hold">
                            <p:stCondLst>
                              <p:cond delay="4000"/>
                            </p:stCondLst>
                            <p:childTnLst>
                              <p:par>
                                <p:cTn id="69" presetID="10" presetClass="entr" presetSubtype="0" fill="hold" nodeType="after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250"/>
                                        <p:tgtEl>
                                          <p:spTgt spid="10"/>
                                        </p:tgtEl>
                                      </p:cBhvr>
                                    </p:animEffect>
                                  </p:childTnLst>
                                </p:cTn>
                              </p:par>
                              <p:par>
                                <p:cTn id="72" presetID="10" presetClass="exit" presetSubtype="0" fill="hold" nodeType="withEffect">
                                  <p:stCondLst>
                                    <p:cond delay="0"/>
                                  </p:stCondLst>
                                  <p:childTnLst>
                                    <p:animEffect transition="out" filter="fade">
                                      <p:cBhvr>
                                        <p:cTn id="73" dur="250"/>
                                        <p:tgtEl>
                                          <p:spTgt spid="17"/>
                                        </p:tgtEl>
                                      </p:cBhvr>
                                    </p:animEffect>
                                    <p:set>
                                      <p:cBhvr>
                                        <p:cTn id="74" dur="1" fill="hold">
                                          <p:stCondLst>
                                            <p:cond delay="249"/>
                                          </p:stCondLst>
                                        </p:cTn>
                                        <p:tgtEl>
                                          <p:spTgt spid="17"/>
                                        </p:tgtEl>
                                        <p:attrNameLst>
                                          <p:attrName>style.visibility</p:attrName>
                                        </p:attrNameLst>
                                      </p:cBhvr>
                                      <p:to>
                                        <p:strVal val="hidden"/>
                                      </p:to>
                                    </p:set>
                                  </p:childTnLst>
                                </p:cTn>
                              </p:par>
                            </p:childTnLst>
                          </p:cTn>
                        </p:par>
                        <p:par>
                          <p:cTn id="75" fill="hold">
                            <p:stCondLst>
                              <p:cond delay="4250"/>
                            </p:stCondLst>
                            <p:childTnLst>
                              <p:par>
                                <p:cTn id="76" presetID="10" presetClass="entr" presetSubtype="0" fill="hold" nodeType="afterEffect">
                                  <p:stCondLst>
                                    <p:cond delay="0"/>
                                  </p:stCondLst>
                                  <p:childTnLst>
                                    <p:set>
                                      <p:cBhvr>
                                        <p:cTn id="77" dur="1" fill="hold">
                                          <p:stCondLst>
                                            <p:cond delay="0"/>
                                          </p:stCondLst>
                                        </p:cTn>
                                        <p:tgtEl>
                                          <p:spTgt spid="11"/>
                                        </p:tgtEl>
                                        <p:attrNameLst>
                                          <p:attrName>style.visibility</p:attrName>
                                        </p:attrNameLst>
                                      </p:cBhvr>
                                      <p:to>
                                        <p:strVal val="visible"/>
                                      </p:to>
                                    </p:set>
                                    <p:animEffect transition="in" filter="fade">
                                      <p:cBhvr>
                                        <p:cTn id="78" dur="250"/>
                                        <p:tgtEl>
                                          <p:spTgt spid="11"/>
                                        </p:tgtEl>
                                      </p:cBhvr>
                                    </p:animEffect>
                                  </p:childTnLst>
                                </p:cTn>
                              </p:par>
                              <p:par>
                                <p:cTn id="79" presetID="10" presetClass="exit" presetSubtype="0" fill="hold" nodeType="withEffect">
                                  <p:stCondLst>
                                    <p:cond delay="250"/>
                                  </p:stCondLst>
                                  <p:childTnLst>
                                    <p:animEffect transition="out" filter="fade">
                                      <p:cBhvr>
                                        <p:cTn id="80" dur="250"/>
                                        <p:tgtEl>
                                          <p:spTgt spid="10"/>
                                        </p:tgtEl>
                                      </p:cBhvr>
                                    </p:animEffect>
                                    <p:set>
                                      <p:cBhvr>
                                        <p:cTn id="81" dur="1" fill="hold">
                                          <p:stCondLst>
                                            <p:cond delay="249"/>
                                          </p:stCondLst>
                                        </p:cTn>
                                        <p:tgtEl>
                                          <p:spTgt spid="10"/>
                                        </p:tgtEl>
                                        <p:attrNameLst>
                                          <p:attrName>style.visibility</p:attrName>
                                        </p:attrNameLst>
                                      </p:cBhvr>
                                      <p:to>
                                        <p:strVal val="hidden"/>
                                      </p:to>
                                    </p:set>
                                  </p:childTnLst>
                                </p:cTn>
                              </p:par>
                            </p:childTnLst>
                          </p:cTn>
                        </p:par>
                        <p:par>
                          <p:cTn id="82" fill="hold">
                            <p:stCondLst>
                              <p:cond delay="4750"/>
                            </p:stCondLst>
                            <p:childTnLst>
                              <p:par>
                                <p:cTn id="83" presetID="10" presetClass="entr" presetSubtype="0" fill="hold" nodeType="afterEffect">
                                  <p:stCondLst>
                                    <p:cond delay="0"/>
                                  </p:stCondLst>
                                  <p:childTnLst>
                                    <p:set>
                                      <p:cBhvr>
                                        <p:cTn id="84" dur="1" fill="hold">
                                          <p:stCondLst>
                                            <p:cond delay="0"/>
                                          </p:stCondLst>
                                        </p:cTn>
                                        <p:tgtEl>
                                          <p:spTgt spid="12"/>
                                        </p:tgtEl>
                                        <p:attrNameLst>
                                          <p:attrName>style.visibility</p:attrName>
                                        </p:attrNameLst>
                                      </p:cBhvr>
                                      <p:to>
                                        <p:strVal val="visible"/>
                                      </p:to>
                                    </p:set>
                                    <p:animEffect transition="in" filter="fade">
                                      <p:cBhvr>
                                        <p:cTn id="85" dur="250"/>
                                        <p:tgtEl>
                                          <p:spTgt spid="12"/>
                                        </p:tgtEl>
                                      </p:cBhvr>
                                    </p:animEffect>
                                  </p:childTnLst>
                                </p:cTn>
                              </p:par>
                              <p:par>
                                <p:cTn id="86" presetID="10" presetClass="exit" presetSubtype="0" fill="hold" nodeType="withEffect">
                                  <p:stCondLst>
                                    <p:cond delay="250"/>
                                  </p:stCondLst>
                                  <p:childTnLst>
                                    <p:animEffect transition="out" filter="fade">
                                      <p:cBhvr>
                                        <p:cTn id="87" dur="250"/>
                                        <p:tgtEl>
                                          <p:spTgt spid="11"/>
                                        </p:tgtEl>
                                      </p:cBhvr>
                                    </p:animEffect>
                                    <p:set>
                                      <p:cBhvr>
                                        <p:cTn id="88" dur="1" fill="hold">
                                          <p:stCondLst>
                                            <p:cond delay="249"/>
                                          </p:stCondLst>
                                        </p:cTn>
                                        <p:tgtEl>
                                          <p:spTgt spid="11"/>
                                        </p:tgtEl>
                                        <p:attrNameLst>
                                          <p:attrName>style.visibility</p:attrName>
                                        </p:attrNameLst>
                                      </p:cBhvr>
                                      <p:to>
                                        <p:strVal val="hidden"/>
                                      </p:to>
                                    </p:set>
                                  </p:childTnLst>
                                </p:cTn>
                              </p:par>
                            </p:childTnLst>
                          </p:cTn>
                        </p:par>
                        <p:par>
                          <p:cTn id="89" fill="hold">
                            <p:stCondLst>
                              <p:cond delay="5250"/>
                            </p:stCondLst>
                            <p:childTnLst>
                              <p:par>
                                <p:cTn id="90" presetID="10" presetClass="entr" presetSubtype="0" fill="hold" nodeType="afterEffect">
                                  <p:stCondLst>
                                    <p:cond delay="0"/>
                                  </p:stCondLst>
                                  <p:childTnLst>
                                    <p:set>
                                      <p:cBhvr>
                                        <p:cTn id="91" dur="1" fill="hold">
                                          <p:stCondLst>
                                            <p:cond delay="0"/>
                                          </p:stCondLst>
                                        </p:cTn>
                                        <p:tgtEl>
                                          <p:spTgt spid="13"/>
                                        </p:tgtEl>
                                        <p:attrNameLst>
                                          <p:attrName>style.visibility</p:attrName>
                                        </p:attrNameLst>
                                      </p:cBhvr>
                                      <p:to>
                                        <p:strVal val="visible"/>
                                      </p:to>
                                    </p:set>
                                    <p:animEffect transition="in" filter="fade">
                                      <p:cBhvr>
                                        <p:cTn id="92" dur="250"/>
                                        <p:tgtEl>
                                          <p:spTgt spid="13"/>
                                        </p:tgtEl>
                                      </p:cBhvr>
                                    </p:animEffect>
                                  </p:childTnLst>
                                </p:cTn>
                              </p:par>
                              <p:par>
                                <p:cTn id="93" presetID="10" presetClass="exit" presetSubtype="0" fill="hold" nodeType="withEffect">
                                  <p:stCondLst>
                                    <p:cond delay="250"/>
                                  </p:stCondLst>
                                  <p:childTnLst>
                                    <p:animEffect transition="out" filter="fade">
                                      <p:cBhvr>
                                        <p:cTn id="94" dur="250"/>
                                        <p:tgtEl>
                                          <p:spTgt spid="12"/>
                                        </p:tgtEl>
                                      </p:cBhvr>
                                    </p:animEffect>
                                    <p:set>
                                      <p:cBhvr>
                                        <p:cTn id="95" dur="1" fill="hold">
                                          <p:stCondLst>
                                            <p:cond delay="249"/>
                                          </p:stCondLst>
                                        </p:cTn>
                                        <p:tgtEl>
                                          <p:spTgt spid="12"/>
                                        </p:tgtEl>
                                        <p:attrNameLst>
                                          <p:attrName>style.visibility</p:attrName>
                                        </p:attrNameLst>
                                      </p:cBhvr>
                                      <p:to>
                                        <p:strVal val="hidden"/>
                                      </p:to>
                                    </p:set>
                                  </p:childTnLst>
                                </p:cTn>
                              </p:par>
                            </p:childTnLst>
                          </p:cTn>
                        </p:par>
                        <p:par>
                          <p:cTn id="96" fill="hold">
                            <p:stCondLst>
                              <p:cond delay="5750"/>
                            </p:stCondLst>
                            <p:childTnLst>
                              <p:par>
                                <p:cTn id="97" presetID="10" presetClass="entr" presetSubtype="0" fill="hold" nodeType="afterEffect">
                                  <p:stCondLst>
                                    <p:cond delay="0"/>
                                  </p:stCondLst>
                                  <p:childTnLst>
                                    <p:set>
                                      <p:cBhvr>
                                        <p:cTn id="98" dur="1" fill="hold">
                                          <p:stCondLst>
                                            <p:cond delay="0"/>
                                          </p:stCondLst>
                                        </p:cTn>
                                        <p:tgtEl>
                                          <p:spTgt spid="14"/>
                                        </p:tgtEl>
                                        <p:attrNameLst>
                                          <p:attrName>style.visibility</p:attrName>
                                        </p:attrNameLst>
                                      </p:cBhvr>
                                      <p:to>
                                        <p:strVal val="visible"/>
                                      </p:to>
                                    </p:set>
                                    <p:animEffect transition="in" filter="fade">
                                      <p:cBhvr>
                                        <p:cTn id="99" dur="250"/>
                                        <p:tgtEl>
                                          <p:spTgt spid="14"/>
                                        </p:tgtEl>
                                      </p:cBhvr>
                                    </p:animEffect>
                                  </p:childTnLst>
                                </p:cTn>
                              </p:par>
                              <p:par>
                                <p:cTn id="100" presetID="10" presetClass="exit" presetSubtype="0" fill="hold" nodeType="withEffect">
                                  <p:stCondLst>
                                    <p:cond delay="250"/>
                                  </p:stCondLst>
                                  <p:childTnLst>
                                    <p:animEffect transition="out" filter="fade">
                                      <p:cBhvr>
                                        <p:cTn id="101" dur="250"/>
                                        <p:tgtEl>
                                          <p:spTgt spid="13"/>
                                        </p:tgtEl>
                                      </p:cBhvr>
                                    </p:animEffect>
                                    <p:set>
                                      <p:cBhvr>
                                        <p:cTn id="102" dur="1" fill="hold">
                                          <p:stCondLst>
                                            <p:cond delay="249"/>
                                          </p:stCondLst>
                                        </p:cTn>
                                        <p:tgtEl>
                                          <p:spTgt spid="13"/>
                                        </p:tgtEl>
                                        <p:attrNameLst>
                                          <p:attrName>style.visibility</p:attrName>
                                        </p:attrNameLst>
                                      </p:cBhvr>
                                      <p:to>
                                        <p:strVal val="hidden"/>
                                      </p:to>
                                    </p:set>
                                  </p:childTnLst>
                                </p:cTn>
                              </p:par>
                            </p:childTnLst>
                          </p:cTn>
                        </p:par>
                        <p:par>
                          <p:cTn id="103" fill="hold">
                            <p:stCondLst>
                              <p:cond delay="625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250"/>
                                        <p:tgtEl>
                                          <p:spTgt spid="4"/>
                                        </p:tgtEl>
                                      </p:cBhvr>
                                    </p:animEffect>
                                  </p:childTnLst>
                                </p:cTn>
                              </p:par>
                            </p:childTnLst>
                          </p:cTn>
                        </p:par>
                        <p:par>
                          <p:cTn id="107" fill="hold">
                            <p:stCondLst>
                              <p:cond delay="6500"/>
                            </p:stCondLst>
                            <p:childTnLst>
                              <p:par>
                                <p:cTn id="108" presetID="10" presetClass="entr" presetSubtype="0" fill="hold" nodeType="afterEffect">
                                  <p:stCondLst>
                                    <p:cond delay="0"/>
                                  </p:stCondLst>
                                  <p:childTnLst>
                                    <p:set>
                                      <p:cBhvr>
                                        <p:cTn id="109" dur="1" fill="hold">
                                          <p:stCondLst>
                                            <p:cond delay="0"/>
                                          </p:stCondLst>
                                        </p:cTn>
                                        <p:tgtEl>
                                          <p:spTgt spid="18"/>
                                        </p:tgtEl>
                                        <p:attrNameLst>
                                          <p:attrName>style.visibility</p:attrName>
                                        </p:attrNameLst>
                                      </p:cBhvr>
                                      <p:to>
                                        <p:strVal val="visible"/>
                                      </p:to>
                                    </p:set>
                                    <p:animEffect transition="in" filter="fade">
                                      <p:cBhvr>
                                        <p:cTn id="110" dur="250"/>
                                        <p:tgtEl>
                                          <p:spTgt spid="18"/>
                                        </p:tgtEl>
                                      </p:cBhvr>
                                    </p:animEffect>
                                  </p:childTnLst>
                                </p:cTn>
                              </p:par>
                            </p:childTnLst>
                          </p:cTn>
                        </p:par>
                        <p:par>
                          <p:cTn id="111" fill="hold">
                            <p:stCondLst>
                              <p:cond delay="6750"/>
                            </p:stCondLst>
                            <p:childTnLst>
                              <p:par>
                                <p:cTn id="112" presetID="10" presetClass="entr" presetSubtype="0" fill="hold" nodeType="afterEffect">
                                  <p:stCondLst>
                                    <p:cond delay="0"/>
                                  </p:stCondLst>
                                  <p:childTnLst>
                                    <p:set>
                                      <p:cBhvr>
                                        <p:cTn id="113" dur="1" fill="hold">
                                          <p:stCondLst>
                                            <p:cond delay="0"/>
                                          </p:stCondLst>
                                        </p:cTn>
                                        <p:tgtEl>
                                          <p:spTgt spid="19"/>
                                        </p:tgtEl>
                                        <p:attrNameLst>
                                          <p:attrName>style.visibility</p:attrName>
                                        </p:attrNameLst>
                                      </p:cBhvr>
                                      <p:to>
                                        <p:strVal val="visible"/>
                                      </p:to>
                                    </p:set>
                                    <p:animEffect transition="in" filter="fade">
                                      <p:cBhvr>
                                        <p:cTn id="114" dur="250"/>
                                        <p:tgtEl>
                                          <p:spTgt spid="19"/>
                                        </p:tgtEl>
                                      </p:cBhvr>
                                    </p:animEffect>
                                  </p:childTnLst>
                                </p:cTn>
                              </p:par>
                            </p:childTnLst>
                          </p:cTn>
                        </p:par>
                        <p:par>
                          <p:cTn id="115" fill="hold">
                            <p:stCondLst>
                              <p:cond delay="7000"/>
                            </p:stCondLst>
                            <p:childTnLst>
                              <p:par>
                                <p:cTn id="116" presetID="10" presetClass="entr" presetSubtype="0" fill="hold" nodeType="afterEffect">
                                  <p:stCondLst>
                                    <p:cond delay="0"/>
                                  </p:stCondLst>
                                  <p:childTnLst>
                                    <p:set>
                                      <p:cBhvr>
                                        <p:cTn id="117" dur="1" fill="hold">
                                          <p:stCondLst>
                                            <p:cond delay="0"/>
                                          </p:stCondLst>
                                        </p:cTn>
                                        <p:tgtEl>
                                          <p:spTgt spid="20"/>
                                        </p:tgtEl>
                                        <p:attrNameLst>
                                          <p:attrName>style.visibility</p:attrName>
                                        </p:attrNameLst>
                                      </p:cBhvr>
                                      <p:to>
                                        <p:strVal val="visible"/>
                                      </p:to>
                                    </p:set>
                                    <p:animEffect transition="in" filter="fade">
                                      <p:cBhvr>
                                        <p:cTn id="118" dur="250"/>
                                        <p:tgtEl>
                                          <p:spTgt spid="20"/>
                                        </p:tgtEl>
                                      </p:cBhvr>
                                    </p:animEffect>
                                  </p:childTnLst>
                                </p:cTn>
                              </p:par>
                            </p:childTnLst>
                          </p:cTn>
                        </p:par>
                        <p:par>
                          <p:cTn id="119" fill="hold">
                            <p:stCondLst>
                              <p:cond delay="7250"/>
                            </p:stCondLst>
                            <p:childTnLst>
                              <p:par>
                                <p:cTn id="120" presetID="10" presetClass="entr" presetSubtype="0"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Effect transition="in" filter="fade">
                                      <p:cBhvr>
                                        <p:cTn id="122" dur="250"/>
                                        <p:tgtEl>
                                          <p:spTgt spid="21"/>
                                        </p:tgtEl>
                                      </p:cBhvr>
                                    </p:animEffect>
                                  </p:childTnLst>
                                </p:cTn>
                              </p:par>
                            </p:childTnLst>
                          </p:cTn>
                        </p:par>
                        <p:par>
                          <p:cTn id="123" fill="hold">
                            <p:stCondLst>
                              <p:cond delay="7500"/>
                            </p:stCondLst>
                            <p:childTnLst>
                              <p:par>
                                <p:cTn id="124" presetID="10" presetClass="entr" presetSubtype="0" fill="hold" nodeType="afterEffect">
                                  <p:stCondLst>
                                    <p:cond delay="0"/>
                                  </p:stCondLst>
                                  <p:childTnLst>
                                    <p:set>
                                      <p:cBhvr>
                                        <p:cTn id="125" dur="1" fill="hold">
                                          <p:stCondLst>
                                            <p:cond delay="0"/>
                                          </p:stCondLst>
                                        </p:cTn>
                                        <p:tgtEl>
                                          <p:spTgt spid="22"/>
                                        </p:tgtEl>
                                        <p:attrNameLst>
                                          <p:attrName>style.visibility</p:attrName>
                                        </p:attrNameLst>
                                      </p:cBhvr>
                                      <p:to>
                                        <p:strVal val="visible"/>
                                      </p:to>
                                    </p:set>
                                    <p:animEffect transition="in" filter="fade">
                                      <p:cBhvr>
                                        <p:cTn id="126" dur="250"/>
                                        <p:tgtEl>
                                          <p:spTgt spid="22"/>
                                        </p:tgtEl>
                                      </p:cBhvr>
                                    </p:animEffect>
                                  </p:childTnLst>
                                </p:cTn>
                              </p:par>
                            </p:childTnLst>
                          </p:cTn>
                        </p:par>
                        <p:par>
                          <p:cTn id="127" fill="hold">
                            <p:stCondLst>
                              <p:cond delay="7750"/>
                            </p:stCondLst>
                            <p:childTnLst>
                              <p:par>
                                <p:cTn id="128" presetID="10" presetClass="entr" presetSubtype="0" fill="hold" nodeType="afterEffect">
                                  <p:stCondLst>
                                    <p:cond delay="0"/>
                                  </p:stCondLst>
                                  <p:childTnLst>
                                    <p:set>
                                      <p:cBhvr>
                                        <p:cTn id="129" dur="1" fill="hold">
                                          <p:stCondLst>
                                            <p:cond delay="0"/>
                                          </p:stCondLst>
                                        </p:cTn>
                                        <p:tgtEl>
                                          <p:spTgt spid="23"/>
                                        </p:tgtEl>
                                        <p:attrNameLst>
                                          <p:attrName>style.visibility</p:attrName>
                                        </p:attrNameLst>
                                      </p:cBhvr>
                                      <p:to>
                                        <p:strVal val="visible"/>
                                      </p:to>
                                    </p:set>
                                    <p:animEffect transition="in" filter="fade">
                                      <p:cBhvr>
                                        <p:cTn id="130" dur="250"/>
                                        <p:tgtEl>
                                          <p:spTgt spid="23"/>
                                        </p:tgtEl>
                                      </p:cBhvr>
                                    </p:animEffect>
                                  </p:childTnLst>
                                </p:cTn>
                              </p:par>
                            </p:childTnLst>
                          </p:cTn>
                        </p:par>
                      </p:childTnLst>
                    </p:cTn>
                  </p:par>
                  <p:par>
                    <p:cTn id="131" fill="hold">
                      <p:stCondLst>
                        <p:cond delay="indefinite"/>
                      </p:stCondLst>
                      <p:childTnLst>
                        <p:par>
                          <p:cTn id="132" fill="hold">
                            <p:stCondLst>
                              <p:cond delay="0"/>
                            </p:stCondLst>
                            <p:childTnLst>
                              <p:par>
                                <p:cTn id="133" presetID="2" presetClass="entr" presetSubtype="4" fill="hold" grpId="0" nodeType="clickEffect">
                                  <p:stCondLst>
                                    <p:cond delay="0"/>
                                  </p:stCondLst>
                                  <p:childTnLst>
                                    <p:set>
                                      <p:cBhvr>
                                        <p:cTn id="134" dur="1" fill="hold">
                                          <p:stCondLst>
                                            <p:cond delay="0"/>
                                          </p:stCondLst>
                                        </p:cTn>
                                        <p:tgtEl>
                                          <p:spTgt spid="3"/>
                                        </p:tgtEl>
                                        <p:attrNameLst>
                                          <p:attrName>style.visibility</p:attrName>
                                        </p:attrNameLst>
                                      </p:cBhvr>
                                      <p:to>
                                        <p:strVal val="visible"/>
                                      </p:to>
                                    </p:set>
                                    <p:anim calcmode="lin" valueType="num">
                                      <p:cBhvr additive="base">
                                        <p:cTn id="135" dur="500" fill="hold"/>
                                        <p:tgtEl>
                                          <p:spTgt spid="3"/>
                                        </p:tgtEl>
                                        <p:attrNameLst>
                                          <p:attrName>ppt_x</p:attrName>
                                        </p:attrNameLst>
                                      </p:cBhvr>
                                      <p:tavLst>
                                        <p:tav tm="0">
                                          <p:val>
                                            <p:strVal val="#ppt_x"/>
                                          </p:val>
                                        </p:tav>
                                        <p:tav tm="100000">
                                          <p:val>
                                            <p:strVal val="#ppt_x"/>
                                          </p:val>
                                        </p:tav>
                                      </p:tavLst>
                                    </p:anim>
                                    <p:anim calcmode="lin" valueType="num">
                                      <p:cBhvr additive="base">
                                        <p:cTn id="13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7" fill="hold">
                      <p:stCondLst>
                        <p:cond delay="indefinite"/>
                      </p:stCondLst>
                      <p:childTnLst>
                        <p:par>
                          <p:cTn id="138" fill="hold">
                            <p:stCondLst>
                              <p:cond delay="0"/>
                            </p:stCondLst>
                            <p:childTnLst>
                              <p:par>
                                <p:cTn id="139" presetID="9" presetClass="entr" presetSubtype="0" fill="hold" nodeType="clickEffect">
                                  <p:stCondLst>
                                    <p:cond delay="0"/>
                                  </p:stCondLst>
                                  <p:childTnLst>
                                    <p:set>
                                      <p:cBhvr>
                                        <p:cTn id="140" dur="1" fill="hold">
                                          <p:stCondLst>
                                            <p:cond delay="0"/>
                                          </p:stCondLst>
                                        </p:cTn>
                                        <p:tgtEl>
                                          <p:spTgt spid="24"/>
                                        </p:tgtEl>
                                        <p:attrNameLst>
                                          <p:attrName>style.visibility</p:attrName>
                                        </p:attrNameLst>
                                      </p:cBhvr>
                                      <p:to>
                                        <p:strVal val="visible"/>
                                      </p:to>
                                    </p:set>
                                    <p:animEffect transition="in" filter="dissolve">
                                      <p:cBhvr>
                                        <p:cTn id="14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虚拟生产的价值</a:t>
            </a:r>
          </a:p>
        </p:txBody>
      </p:sp>
      <p:sp>
        <p:nvSpPr>
          <p:cNvPr id="4" name="Rechteck 3"/>
          <p:cNvSpPr/>
          <p:nvPr/>
        </p:nvSpPr>
        <p:spPr bwMode="auto">
          <a:xfrm>
            <a:off x="0" y="1412875"/>
            <a:ext cx="12198350" cy="4752975"/>
          </a:xfrm>
          <a:prstGeom prst="rect">
            <a:avLst/>
          </a:prstGeom>
          <a:solidFill>
            <a:srgbClr val="233746"/>
          </a:solidFill>
          <a:ln>
            <a:noFill/>
          </a:ln>
          <a:effectLst/>
          <a:extLst/>
        </p:spPr>
        <p:txBody>
          <a:bodyPr wrap="square" lIns="80874" tIns="40437" rIns="80874" bIns="40437" numCol="1" spcCol="72000" rtlCol="0" anchor="ctr">
            <a:noAutofit/>
          </a:bodyPr>
          <a:lstStyle/>
          <a:p>
            <a:pPr algn="ctr" fontAlgn="base">
              <a:lnSpc>
                <a:spcPct val="110000"/>
              </a:lnSpc>
              <a:spcBef>
                <a:spcPct val="0"/>
              </a:spcBef>
              <a:spcAft>
                <a:spcPct val="0"/>
              </a:spcAft>
              <a:buFont typeface="Wingdings" charset="0"/>
              <a:buNone/>
            </a:pPr>
            <a:endParaRPr lang="de-DE" sz="1348" b="1" dirty="0" err="1">
              <a:solidFill>
                <a:srgbClr val="233746"/>
              </a:solidFill>
            </a:endParaRPr>
          </a:p>
        </p:txBody>
      </p:sp>
      <p:grpSp>
        <p:nvGrpSpPr>
          <p:cNvPr id="5" name="Group 3"/>
          <p:cNvGrpSpPr/>
          <p:nvPr/>
        </p:nvGrpSpPr>
        <p:grpSpPr>
          <a:xfrm>
            <a:off x="554559" y="1412874"/>
            <a:ext cx="11161240" cy="4752975"/>
            <a:chOff x="1529556" y="1731375"/>
            <a:chExt cx="9139240" cy="4286600"/>
          </a:xfrm>
        </p:grpSpPr>
        <p:grpSp>
          <p:nvGrpSpPr>
            <p:cNvPr id="6" name="Group 4"/>
            <p:cNvGrpSpPr/>
            <p:nvPr/>
          </p:nvGrpSpPr>
          <p:grpSpPr>
            <a:xfrm>
              <a:off x="1649818" y="3718060"/>
              <a:ext cx="4009274" cy="253623"/>
              <a:chOff x="92972" y="5807832"/>
              <a:chExt cx="4009274" cy="268003"/>
            </a:xfrm>
          </p:grpSpPr>
          <p:sp>
            <p:nvSpPr>
              <p:cNvPr id="125" name="Rectangle 123"/>
              <p:cNvSpPr/>
              <p:nvPr/>
            </p:nvSpPr>
            <p:spPr bwMode="auto">
              <a:xfrm>
                <a:off x="92972" y="5807832"/>
                <a:ext cx="4009274" cy="268003"/>
              </a:xfrm>
              <a:prstGeom prst="rect">
                <a:avLst/>
              </a:prstGeom>
              <a:solidFill>
                <a:srgbClr val="00B050"/>
              </a:solidFill>
              <a:ln>
                <a:noFill/>
              </a:ln>
              <a:effectLst/>
              <a:extLst/>
            </p:spPr>
            <p:txBody>
              <a:bodyPr wrap="square" lIns="80916" tIns="40458" rIns="80916" bIns="40458" numCol="1" spcCol="72000" rtlCol="0" anchor="ctr">
                <a:noAutofit/>
              </a:bodyPr>
              <a:lstStyle/>
              <a:p>
                <a:pPr algn="ctr" fontAlgn="base">
                  <a:spcBef>
                    <a:spcPct val="50000"/>
                  </a:spcBef>
                  <a:spcAft>
                    <a:spcPct val="0"/>
                  </a:spcAft>
                </a:pPr>
                <a:endParaRPr lang="en-GB" sz="1349" dirty="0">
                  <a:solidFill>
                    <a:srgbClr val="FFFFFF"/>
                  </a:solidFill>
                  <a:ea typeface="微软雅黑" panose="020B0503020204020204" pitchFamily="34" charset="-122"/>
                </a:endParaRPr>
              </a:p>
            </p:txBody>
          </p:sp>
          <p:cxnSp>
            <p:nvCxnSpPr>
              <p:cNvPr id="126" name="Straight Connector 124"/>
              <p:cNvCxnSpPr/>
              <p:nvPr/>
            </p:nvCxnSpPr>
            <p:spPr bwMode="auto">
              <a:xfrm>
                <a:off x="230842" y="5949437"/>
                <a:ext cx="3733534" cy="1"/>
              </a:xfrm>
              <a:prstGeom prst="line">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tangle 125"/>
              <p:cNvSpPr/>
              <p:nvPr/>
            </p:nvSpPr>
            <p:spPr>
              <a:xfrm>
                <a:off x="1394131" y="5814412"/>
                <a:ext cx="1689855" cy="259669"/>
              </a:xfrm>
              <a:prstGeom prst="rect">
                <a:avLst/>
              </a:prstGeom>
              <a:solidFill>
                <a:srgbClr val="00B050"/>
              </a:solidFill>
            </p:spPr>
            <p:txBody>
              <a:bodyPr wrap="none" anchor="ctr">
                <a:noAutofit/>
              </a:bodyPr>
              <a:lstStyle/>
              <a:p>
                <a:pPr algn="ctr" fontAlgn="base">
                  <a:spcBef>
                    <a:spcPct val="50000"/>
                  </a:spcBef>
                  <a:spcAft>
                    <a:spcPct val="0"/>
                  </a:spcAft>
                </a:pPr>
                <a:r>
                  <a:rPr lang="zh-CN" altLang="en-US" sz="1349" dirty="0" smtClean="0">
                    <a:solidFill>
                      <a:srgbClr val="FFFFFF"/>
                    </a:solidFill>
                    <a:ea typeface="微软雅黑" panose="020B0503020204020204" pitchFamily="34" charset="-122"/>
                  </a:rPr>
                  <a:t>研发制造大数据分析</a:t>
                </a:r>
                <a:endParaRPr lang="en-GB" sz="1349" dirty="0">
                  <a:solidFill>
                    <a:srgbClr val="FFFFFF"/>
                  </a:solidFill>
                  <a:ea typeface="微软雅黑" panose="020B0503020204020204" pitchFamily="34" charset="-122"/>
                </a:endParaRPr>
              </a:p>
            </p:txBody>
          </p:sp>
        </p:grpSp>
        <p:sp>
          <p:nvSpPr>
            <p:cNvPr id="7" name="Textfeld 554"/>
            <p:cNvSpPr txBox="1"/>
            <p:nvPr/>
          </p:nvSpPr>
          <p:spPr>
            <a:xfrm>
              <a:off x="1832160" y="420535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8" name="Textfeld 555"/>
            <p:cNvSpPr txBox="1"/>
            <p:nvPr/>
          </p:nvSpPr>
          <p:spPr>
            <a:xfrm>
              <a:off x="1832160" y="420535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9" name="Textfeld 556"/>
            <p:cNvSpPr txBox="1"/>
            <p:nvPr/>
          </p:nvSpPr>
          <p:spPr>
            <a:xfrm>
              <a:off x="1832160" y="420535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10" name="Textfeld 557"/>
            <p:cNvSpPr txBox="1"/>
            <p:nvPr/>
          </p:nvSpPr>
          <p:spPr>
            <a:xfrm>
              <a:off x="1832160" y="420535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11" name="Textfeld 558"/>
            <p:cNvSpPr txBox="1"/>
            <p:nvPr/>
          </p:nvSpPr>
          <p:spPr>
            <a:xfrm>
              <a:off x="1802788" y="4220128"/>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12" name="Textfeld 559"/>
            <p:cNvSpPr txBox="1"/>
            <p:nvPr/>
          </p:nvSpPr>
          <p:spPr>
            <a:xfrm>
              <a:off x="1802788" y="4220128"/>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13" name="Textfeld 560"/>
            <p:cNvSpPr txBox="1"/>
            <p:nvPr/>
          </p:nvSpPr>
          <p:spPr>
            <a:xfrm>
              <a:off x="1802788" y="4220128"/>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14" name="Textfeld 561"/>
            <p:cNvSpPr txBox="1"/>
            <p:nvPr/>
          </p:nvSpPr>
          <p:spPr>
            <a:xfrm>
              <a:off x="1802788" y="4220128"/>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15" name="Textfeld 540"/>
            <p:cNvSpPr txBox="1"/>
            <p:nvPr/>
          </p:nvSpPr>
          <p:spPr>
            <a:xfrm>
              <a:off x="1838731" y="4244719"/>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16" name="Textfeld 541"/>
            <p:cNvSpPr txBox="1"/>
            <p:nvPr/>
          </p:nvSpPr>
          <p:spPr>
            <a:xfrm>
              <a:off x="1838731" y="4244719"/>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17" name="Textfeld 542"/>
            <p:cNvSpPr txBox="1"/>
            <p:nvPr/>
          </p:nvSpPr>
          <p:spPr>
            <a:xfrm>
              <a:off x="1838731" y="4244719"/>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18" name="Textfeld 543"/>
            <p:cNvSpPr txBox="1"/>
            <p:nvPr/>
          </p:nvSpPr>
          <p:spPr>
            <a:xfrm>
              <a:off x="1838731" y="4244719"/>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19" name="Textfeld 544"/>
            <p:cNvSpPr txBox="1"/>
            <p:nvPr/>
          </p:nvSpPr>
          <p:spPr>
            <a:xfrm>
              <a:off x="1809358" y="425949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20" name="Textfeld 545"/>
            <p:cNvSpPr txBox="1"/>
            <p:nvPr/>
          </p:nvSpPr>
          <p:spPr>
            <a:xfrm>
              <a:off x="1809358" y="425949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21" name="Textfeld 546"/>
            <p:cNvSpPr txBox="1"/>
            <p:nvPr/>
          </p:nvSpPr>
          <p:spPr>
            <a:xfrm>
              <a:off x="1809358" y="425949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22" name="Textfeld 547"/>
            <p:cNvSpPr txBox="1"/>
            <p:nvPr/>
          </p:nvSpPr>
          <p:spPr>
            <a:xfrm>
              <a:off x="1809358" y="4259494"/>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23" name="Rechteck 282"/>
            <p:cNvSpPr/>
            <p:nvPr/>
          </p:nvSpPr>
          <p:spPr bwMode="auto">
            <a:xfrm>
              <a:off x="1724342" y="4173242"/>
              <a:ext cx="272138" cy="344315"/>
            </a:xfrm>
            <a:custGeom>
              <a:avLst/>
              <a:gdLst>
                <a:gd name="connsiteX0" fmla="*/ 0 w 250029"/>
                <a:gd name="connsiteY0" fmla="*/ 0 h 202150"/>
                <a:gd name="connsiteX1" fmla="*/ 250029 w 250029"/>
                <a:gd name="connsiteY1" fmla="*/ 0 h 202150"/>
                <a:gd name="connsiteX2" fmla="*/ 250029 w 250029"/>
                <a:gd name="connsiteY2" fmla="*/ 202150 h 202150"/>
                <a:gd name="connsiteX3" fmla="*/ 0 w 250029"/>
                <a:gd name="connsiteY3" fmla="*/ 202150 h 202150"/>
                <a:gd name="connsiteX4" fmla="*/ 0 w 250029"/>
                <a:gd name="connsiteY4" fmla="*/ 0 h 202150"/>
                <a:gd name="connsiteX0" fmla="*/ 0 w 250029"/>
                <a:gd name="connsiteY0" fmla="*/ 161925 h 364075"/>
                <a:gd name="connsiteX1" fmla="*/ 228598 w 250029"/>
                <a:gd name="connsiteY1" fmla="*/ 0 h 364075"/>
                <a:gd name="connsiteX2" fmla="*/ 250029 w 250029"/>
                <a:gd name="connsiteY2" fmla="*/ 364075 h 364075"/>
                <a:gd name="connsiteX3" fmla="*/ 0 w 250029"/>
                <a:gd name="connsiteY3" fmla="*/ 364075 h 364075"/>
                <a:gd name="connsiteX4" fmla="*/ 0 w 250029"/>
                <a:gd name="connsiteY4" fmla="*/ 161925 h 364075"/>
                <a:gd name="connsiteX0" fmla="*/ 0 w 257173"/>
                <a:gd name="connsiteY0" fmla="*/ 257175 h 459325"/>
                <a:gd name="connsiteX1" fmla="*/ 257173 w 257173"/>
                <a:gd name="connsiteY1" fmla="*/ 0 h 459325"/>
                <a:gd name="connsiteX2" fmla="*/ 250029 w 257173"/>
                <a:gd name="connsiteY2" fmla="*/ 459325 h 459325"/>
                <a:gd name="connsiteX3" fmla="*/ 0 w 257173"/>
                <a:gd name="connsiteY3" fmla="*/ 459325 h 459325"/>
                <a:gd name="connsiteX4" fmla="*/ 0 w 257173"/>
                <a:gd name="connsiteY4" fmla="*/ 257175 h 459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3" h="459325">
                  <a:moveTo>
                    <a:pt x="0" y="257175"/>
                  </a:moveTo>
                  <a:lnTo>
                    <a:pt x="257173" y="0"/>
                  </a:lnTo>
                  <a:lnTo>
                    <a:pt x="250029" y="459325"/>
                  </a:lnTo>
                  <a:lnTo>
                    <a:pt x="0" y="459325"/>
                  </a:lnTo>
                  <a:lnTo>
                    <a:pt x="0" y="257175"/>
                  </a:lnTo>
                  <a:close/>
                </a:path>
              </a:pathLst>
            </a:custGeom>
            <a:solidFill>
              <a:srgbClr val="233746"/>
            </a:solidFill>
            <a:ln>
              <a:noFill/>
            </a:ln>
            <a:effectLst/>
            <a:extLst/>
          </p:spPr>
          <p:txBody>
            <a:bodyPr wrap="square" lIns="80958" tIns="40479" rIns="80958" bIns="40479" numCol="1" spcCol="72000" rtlCol="0" anchor="ctr">
              <a:noAutofit/>
            </a:bodyPr>
            <a:lstStyle/>
            <a:p>
              <a:pPr algn="ctr" fontAlgn="base">
                <a:lnSpc>
                  <a:spcPct val="110000"/>
                </a:lnSpc>
                <a:spcBef>
                  <a:spcPct val="0"/>
                </a:spcBef>
                <a:spcAft>
                  <a:spcPct val="0"/>
                </a:spcAft>
                <a:buFont typeface="Wingdings" charset="0"/>
                <a:buNone/>
              </a:pPr>
              <a:endParaRPr lang="de-DE" sz="1349" b="1" dirty="0">
                <a:solidFill>
                  <a:srgbClr val="000000"/>
                </a:solidFill>
                <a:ea typeface="微软雅黑" panose="020B0503020204020204" pitchFamily="34" charset="-122"/>
              </a:endParaRPr>
            </a:p>
          </p:txBody>
        </p:sp>
        <p:sp>
          <p:nvSpPr>
            <p:cNvPr id="24" name="Textfeld 554"/>
            <p:cNvSpPr txBox="1"/>
            <p:nvPr/>
          </p:nvSpPr>
          <p:spPr>
            <a:xfrm>
              <a:off x="1842542" y="421573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25" name="Textfeld 555"/>
            <p:cNvSpPr txBox="1"/>
            <p:nvPr/>
          </p:nvSpPr>
          <p:spPr>
            <a:xfrm>
              <a:off x="1842542" y="421573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26" name="Textfeld 556"/>
            <p:cNvSpPr txBox="1"/>
            <p:nvPr/>
          </p:nvSpPr>
          <p:spPr>
            <a:xfrm>
              <a:off x="1842542" y="421573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27" name="Textfeld 557"/>
            <p:cNvSpPr txBox="1"/>
            <p:nvPr/>
          </p:nvSpPr>
          <p:spPr>
            <a:xfrm>
              <a:off x="1842542" y="421573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28" name="Textfeld 558"/>
            <p:cNvSpPr txBox="1"/>
            <p:nvPr/>
          </p:nvSpPr>
          <p:spPr>
            <a:xfrm>
              <a:off x="1813170" y="4230510"/>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29" name="Textfeld 559"/>
            <p:cNvSpPr txBox="1"/>
            <p:nvPr/>
          </p:nvSpPr>
          <p:spPr>
            <a:xfrm>
              <a:off x="1813170" y="4230510"/>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30" name="Textfeld 560"/>
            <p:cNvSpPr txBox="1"/>
            <p:nvPr/>
          </p:nvSpPr>
          <p:spPr>
            <a:xfrm>
              <a:off x="1813170" y="4230510"/>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31" name="Textfeld 561"/>
            <p:cNvSpPr txBox="1"/>
            <p:nvPr/>
          </p:nvSpPr>
          <p:spPr>
            <a:xfrm>
              <a:off x="1813170" y="4230510"/>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32" name="Textfeld 540"/>
            <p:cNvSpPr txBox="1"/>
            <p:nvPr/>
          </p:nvSpPr>
          <p:spPr>
            <a:xfrm>
              <a:off x="1849113" y="4255101"/>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33" name="Textfeld 541"/>
            <p:cNvSpPr txBox="1"/>
            <p:nvPr/>
          </p:nvSpPr>
          <p:spPr>
            <a:xfrm>
              <a:off x="1849113" y="4255101"/>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34" name="Textfeld 542"/>
            <p:cNvSpPr txBox="1"/>
            <p:nvPr/>
          </p:nvSpPr>
          <p:spPr>
            <a:xfrm>
              <a:off x="1849113" y="4255101"/>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35" name="Textfeld 543"/>
            <p:cNvSpPr txBox="1"/>
            <p:nvPr/>
          </p:nvSpPr>
          <p:spPr>
            <a:xfrm>
              <a:off x="1849113" y="4255101"/>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36" name="Textfeld 544"/>
            <p:cNvSpPr txBox="1"/>
            <p:nvPr/>
          </p:nvSpPr>
          <p:spPr>
            <a:xfrm>
              <a:off x="1819740" y="426987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37" name="Textfeld 545"/>
            <p:cNvSpPr txBox="1"/>
            <p:nvPr/>
          </p:nvSpPr>
          <p:spPr>
            <a:xfrm>
              <a:off x="1819740" y="426987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38" name="Textfeld 546"/>
            <p:cNvSpPr txBox="1"/>
            <p:nvPr/>
          </p:nvSpPr>
          <p:spPr>
            <a:xfrm>
              <a:off x="1819740" y="426987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1</a:t>
              </a:r>
            </a:p>
          </p:txBody>
        </p:sp>
        <p:sp>
          <p:nvSpPr>
            <p:cNvPr id="39" name="Textfeld 547"/>
            <p:cNvSpPr txBox="1"/>
            <p:nvPr/>
          </p:nvSpPr>
          <p:spPr>
            <a:xfrm>
              <a:off x="1819740" y="4269876"/>
              <a:ext cx="133050" cy="304571"/>
            </a:xfrm>
            <a:prstGeom prst="rect">
              <a:avLst/>
            </a:prstGeom>
            <a:noFill/>
          </p:spPr>
          <p:txBody>
            <a:bodyPr wrap="none" lIns="0" tIns="0" rIns="0" bIns="0" rtlCol="0">
              <a:spAutoFit/>
            </a:bodyPr>
            <a:lstStyle/>
            <a:p>
              <a:pPr fontAlgn="base">
                <a:lnSpc>
                  <a:spcPct val="110000"/>
                </a:lnSpc>
                <a:spcAft>
                  <a:spcPct val="0"/>
                </a:spcAft>
              </a:pPr>
              <a:r>
                <a:rPr lang="de-DE" sz="1799" b="1" dirty="0">
                  <a:solidFill>
                    <a:srgbClr val="056588"/>
                  </a:solidFill>
                  <a:ea typeface="微软雅黑" panose="020B0503020204020204" pitchFamily="34" charset="-122"/>
                </a:rPr>
                <a:t>0</a:t>
              </a:r>
            </a:p>
          </p:txBody>
        </p:sp>
        <p:sp>
          <p:nvSpPr>
            <p:cNvPr id="40" name="Rechteck 282"/>
            <p:cNvSpPr/>
            <p:nvPr/>
          </p:nvSpPr>
          <p:spPr bwMode="auto">
            <a:xfrm>
              <a:off x="1734724" y="4183624"/>
              <a:ext cx="272138" cy="344315"/>
            </a:xfrm>
            <a:custGeom>
              <a:avLst/>
              <a:gdLst>
                <a:gd name="connsiteX0" fmla="*/ 0 w 250029"/>
                <a:gd name="connsiteY0" fmla="*/ 0 h 202150"/>
                <a:gd name="connsiteX1" fmla="*/ 250029 w 250029"/>
                <a:gd name="connsiteY1" fmla="*/ 0 h 202150"/>
                <a:gd name="connsiteX2" fmla="*/ 250029 w 250029"/>
                <a:gd name="connsiteY2" fmla="*/ 202150 h 202150"/>
                <a:gd name="connsiteX3" fmla="*/ 0 w 250029"/>
                <a:gd name="connsiteY3" fmla="*/ 202150 h 202150"/>
                <a:gd name="connsiteX4" fmla="*/ 0 w 250029"/>
                <a:gd name="connsiteY4" fmla="*/ 0 h 202150"/>
                <a:gd name="connsiteX0" fmla="*/ 0 w 250029"/>
                <a:gd name="connsiteY0" fmla="*/ 161925 h 364075"/>
                <a:gd name="connsiteX1" fmla="*/ 228598 w 250029"/>
                <a:gd name="connsiteY1" fmla="*/ 0 h 364075"/>
                <a:gd name="connsiteX2" fmla="*/ 250029 w 250029"/>
                <a:gd name="connsiteY2" fmla="*/ 364075 h 364075"/>
                <a:gd name="connsiteX3" fmla="*/ 0 w 250029"/>
                <a:gd name="connsiteY3" fmla="*/ 364075 h 364075"/>
                <a:gd name="connsiteX4" fmla="*/ 0 w 250029"/>
                <a:gd name="connsiteY4" fmla="*/ 161925 h 364075"/>
                <a:gd name="connsiteX0" fmla="*/ 0 w 257173"/>
                <a:gd name="connsiteY0" fmla="*/ 257175 h 459325"/>
                <a:gd name="connsiteX1" fmla="*/ 257173 w 257173"/>
                <a:gd name="connsiteY1" fmla="*/ 0 h 459325"/>
                <a:gd name="connsiteX2" fmla="*/ 250029 w 257173"/>
                <a:gd name="connsiteY2" fmla="*/ 459325 h 459325"/>
                <a:gd name="connsiteX3" fmla="*/ 0 w 257173"/>
                <a:gd name="connsiteY3" fmla="*/ 459325 h 459325"/>
                <a:gd name="connsiteX4" fmla="*/ 0 w 257173"/>
                <a:gd name="connsiteY4" fmla="*/ 257175 h 459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3" h="459325">
                  <a:moveTo>
                    <a:pt x="0" y="257175"/>
                  </a:moveTo>
                  <a:lnTo>
                    <a:pt x="257173" y="0"/>
                  </a:lnTo>
                  <a:lnTo>
                    <a:pt x="250029" y="459325"/>
                  </a:lnTo>
                  <a:lnTo>
                    <a:pt x="0" y="459325"/>
                  </a:lnTo>
                  <a:lnTo>
                    <a:pt x="0" y="257175"/>
                  </a:lnTo>
                  <a:close/>
                </a:path>
              </a:pathLst>
            </a:custGeom>
            <a:solidFill>
              <a:srgbClr val="233746"/>
            </a:solidFill>
            <a:ln>
              <a:noFill/>
            </a:ln>
            <a:effectLst/>
            <a:extLst/>
          </p:spPr>
          <p:txBody>
            <a:bodyPr wrap="square" lIns="80958" tIns="40479" rIns="80958" bIns="40479" numCol="1" spcCol="72000" rtlCol="0" anchor="ctr">
              <a:noAutofit/>
            </a:bodyPr>
            <a:lstStyle/>
            <a:p>
              <a:pPr algn="ctr" fontAlgn="base">
                <a:lnSpc>
                  <a:spcPct val="110000"/>
                </a:lnSpc>
                <a:spcBef>
                  <a:spcPct val="0"/>
                </a:spcBef>
                <a:spcAft>
                  <a:spcPct val="0"/>
                </a:spcAft>
                <a:buFont typeface="Wingdings" charset="0"/>
                <a:buNone/>
              </a:pPr>
              <a:endParaRPr lang="de-DE" sz="1349" b="1" dirty="0">
                <a:solidFill>
                  <a:srgbClr val="000000"/>
                </a:solidFill>
                <a:ea typeface="微软雅黑" panose="020B0503020204020204" pitchFamily="34" charset="-122"/>
              </a:endParaRPr>
            </a:p>
          </p:txBody>
        </p:sp>
        <p:sp>
          <p:nvSpPr>
            <p:cNvPr id="41" name="Rectangle 39"/>
            <p:cNvSpPr/>
            <p:nvPr/>
          </p:nvSpPr>
          <p:spPr bwMode="auto">
            <a:xfrm>
              <a:off x="1529556" y="5220616"/>
              <a:ext cx="9139240" cy="521964"/>
            </a:xfrm>
            <a:prstGeom prst="rect">
              <a:avLst/>
            </a:prstGeom>
            <a:solidFill>
              <a:srgbClr val="233746"/>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grpSp>
          <p:nvGrpSpPr>
            <p:cNvPr id="42" name="Group 40"/>
            <p:cNvGrpSpPr/>
            <p:nvPr/>
          </p:nvGrpSpPr>
          <p:grpSpPr>
            <a:xfrm>
              <a:off x="6624523" y="4790271"/>
              <a:ext cx="1103947" cy="1134331"/>
              <a:chOff x="9341423" y="5005358"/>
              <a:chExt cx="1299541" cy="1335309"/>
            </a:xfrm>
          </p:grpSpPr>
          <p:sp>
            <p:nvSpPr>
              <p:cNvPr id="118" name="Oval 116"/>
              <p:cNvSpPr/>
              <p:nvPr/>
            </p:nvSpPr>
            <p:spPr bwMode="auto">
              <a:xfrm>
                <a:off x="9341423" y="5359353"/>
                <a:ext cx="1299541" cy="828716"/>
              </a:xfrm>
              <a:prstGeom prst="ellipse">
                <a:avLst/>
              </a:prstGeom>
              <a:solidFill>
                <a:schemeClr val="accent1"/>
              </a:solidFill>
              <a:ln>
                <a:noFill/>
              </a:ln>
              <a:effectLst/>
              <a:extLst/>
            </p:spPr>
            <p:txBody>
              <a:bodyPr wrap="square" lIns="80874" tIns="40437" rIns="80874" bIns="40437" numCol="1" spcCol="72000" rtlCol="0" anchor="ctr">
                <a:noAutofit/>
              </a:bodyPr>
              <a:lstStyle/>
              <a:p>
                <a:pPr algn="ctr" fontAlgn="base">
                  <a:lnSpc>
                    <a:spcPct val="110000"/>
                  </a:lnSpc>
                  <a:spcBef>
                    <a:spcPct val="0"/>
                  </a:spcBef>
                  <a:spcAft>
                    <a:spcPct val="0"/>
                  </a:spcAft>
                  <a:buFont typeface="Wingdings" charset="0"/>
                  <a:buNone/>
                </a:pPr>
                <a:endParaRPr lang="en-GB" sz="1348" b="1" dirty="0" err="1">
                  <a:solidFill>
                    <a:srgbClr val="000000"/>
                  </a:solidFill>
                  <a:ea typeface="微软雅黑" panose="020B0503020204020204" pitchFamily="34" charset="-122"/>
                </a:endParaRPr>
              </a:p>
            </p:txBody>
          </p:sp>
          <p:cxnSp>
            <p:nvCxnSpPr>
              <p:cNvPr id="119" name="Straight Connector 117"/>
              <p:cNvCxnSpPr/>
              <p:nvPr/>
            </p:nvCxnSpPr>
            <p:spPr bwMode="auto">
              <a:xfrm flipV="1">
                <a:off x="9653655" y="5330875"/>
                <a:ext cx="649090" cy="181994"/>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Straight Connector 118"/>
              <p:cNvCxnSpPr/>
              <p:nvPr/>
            </p:nvCxnSpPr>
            <p:spPr bwMode="auto">
              <a:xfrm>
                <a:off x="9621324" y="5588218"/>
                <a:ext cx="467949" cy="512691"/>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Straight Connector 119"/>
              <p:cNvCxnSpPr/>
              <p:nvPr/>
            </p:nvCxnSpPr>
            <p:spPr bwMode="auto">
              <a:xfrm flipH="1">
                <a:off x="10224302" y="5481184"/>
                <a:ext cx="64394" cy="321996"/>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22" name="Picture 1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65455" y="5005358"/>
                <a:ext cx="527555" cy="683060"/>
              </a:xfrm>
              <a:prstGeom prst="rect">
                <a:avLst/>
              </a:prstGeom>
            </p:spPr>
          </p:pic>
          <p:pic>
            <p:nvPicPr>
              <p:cNvPr id="123" name="Picture 1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83119" y="5080709"/>
                <a:ext cx="527555" cy="683059"/>
              </a:xfrm>
              <a:prstGeom prst="rect">
                <a:avLst/>
              </a:prstGeom>
            </p:spPr>
          </p:pic>
          <p:pic>
            <p:nvPicPr>
              <p:cNvPr id="124" name="Picture 1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9673139" y="5657607"/>
                <a:ext cx="527555" cy="683060"/>
              </a:xfrm>
              <a:prstGeom prst="rect">
                <a:avLst/>
              </a:prstGeom>
            </p:spPr>
          </p:pic>
        </p:grpSp>
        <p:pic>
          <p:nvPicPr>
            <p:cNvPr id="43" name="Picture 41"/>
            <p:cNvPicPr>
              <a:picLocks noChangeAspect="1"/>
            </p:cNvPicPr>
            <p:nvPr/>
          </p:nvPicPr>
          <p:blipFill>
            <a:blip r:embed="rId3">
              <a:lum bright="70000" contrast="-70000"/>
            </a:blip>
            <a:stretch>
              <a:fillRect/>
            </a:stretch>
          </p:blipFill>
          <p:spPr>
            <a:xfrm>
              <a:off x="2097609" y="4982480"/>
              <a:ext cx="327103" cy="551986"/>
            </a:xfrm>
            <a:prstGeom prst="rect">
              <a:avLst/>
            </a:prstGeom>
          </p:spPr>
        </p:pic>
        <p:sp>
          <p:nvSpPr>
            <p:cNvPr id="44" name="Rectangle 42"/>
            <p:cNvSpPr/>
            <p:nvPr/>
          </p:nvSpPr>
          <p:spPr bwMode="auto">
            <a:xfrm>
              <a:off x="8481671" y="4206468"/>
              <a:ext cx="1615079" cy="742412"/>
            </a:xfrm>
            <a:prstGeom prst="rect">
              <a:avLst/>
            </a:prstGeom>
            <a:solidFill>
              <a:schemeClr val="bg1"/>
            </a:solidFill>
            <a:ln>
              <a:noFill/>
            </a:ln>
            <a:effectLst/>
            <a:extLst/>
          </p:spPr>
          <p:txBody>
            <a:bodyPr rot="0" spcFirstLastPara="0" vertOverflow="overflow" horzOverflow="overflow" vert="horz" wrap="square" lIns="26972" tIns="40458" rIns="26972" bIns="40458" numCol="1" spcCol="72000" rtlCol="0" fromWordArt="0" anchor="ctr" anchorCtr="0" forceAA="0" compatLnSpc="1">
              <a:prstTxWarp prst="textNoShape">
                <a:avLst/>
              </a:prstTxWarp>
              <a:noAutofit/>
            </a:bodyPr>
            <a:lstStyle/>
            <a:p>
              <a:pPr algn="ctr" fontAlgn="base">
                <a:spcBef>
                  <a:spcPct val="50000"/>
                </a:spcBef>
                <a:spcAft>
                  <a:spcPct val="0"/>
                </a:spcAft>
              </a:pPr>
              <a:r>
                <a:rPr lang="en-US" altLang="zh-CN" sz="1049" b="1" dirty="0" smtClean="0">
                  <a:solidFill>
                    <a:srgbClr val="40B3B3"/>
                  </a:solidFill>
                  <a:ea typeface="微软雅黑" panose="020B0503020204020204" pitchFamily="34" charset="-122"/>
                </a:rPr>
                <a:t>…</a:t>
              </a:r>
              <a:r>
                <a:rPr lang="zh-CN" altLang="en-US" sz="1049" b="1" dirty="0" smtClean="0">
                  <a:solidFill>
                    <a:srgbClr val="40B3B3"/>
                  </a:solidFill>
                  <a:ea typeface="微软雅黑" panose="020B0503020204020204" pitchFamily="34" charset="-122"/>
                </a:rPr>
                <a:t>这些就意味着</a:t>
              </a:r>
              <a:r>
                <a:rPr lang="en-US" altLang="zh-CN" sz="1049" b="1" dirty="0" smtClean="0">
                  <a:solidFill>
                    <a:srgbClr val="40B3B3"/>
                  </a:solidFill>
                  <a:ea typeface="微软雅黑" panose="020B0503020204020204" pitchFamily="34" charset="-122"/>
                </a:rPr>
                <a:t>…</a:t>
              </a:r>
            </a:p>
            <a:p>
              <a:pPr algn="ctr" fontAlgn="base">
                <a:spcAft>
                  <a:spcPct val="0"/>
                </a:spcAft>
              </a:pPr>
              <a:r>
                <a:rPr lang="zh-CN" altLang="en-US" sz="1349" b="1" dirty="0" smtClean="0">
                  <a:solidFill>
                    <a:srgbClr val="40B3B3"/>
                  </a:solidFill>
                  <a:ea typeface="微软雅黑" panose="020B0503020204020204" pitchFamily="34" charset="-122"/>
                </a:rPr>
                <a:t>西门子数字化工厂</a:t>
              </a:r>
              <a:endParaRPr lang="en-GB" sz="1349" b="1" dirty="0">
                <a:solidFill>
                  <a:srgbClr val="40B3B3"/>
                </a:solidFill>
                <a:ea typeface="微软雅黑" panose="020B0503020204020204" pitchFamily="34" charset="-122"/>
              </a:endParaRPr>
            </a:p>
          </p:txBody>
        </p:sp>
        <p:grpSp>
          <p:nvGrpSpPr>
            <p:cNvPr id="45" name="Group 43"/>
            <p:cNvGrpSpPr/>
            <p:nvPr/>
          </p:nvGrpSpPr>
          <p:grpSpPr>
            <a:xfrm>
              <a:off x="6449984" y="2070095"/>
              <a:ext cx="1997918" cy="1643573"/>
              <a:chOff x="6567163" y="1957015"/>
              <a:chExt cx="2665278" cy="2192571"/>
            </a:xfrm>
          </p:grpSpPr>
          <p:sp>
            <p:nvSpPr>
              <p:cNvPr id="116" name="Rectangle 114"/>
              <p:cNvSpPr/>
              <p:nvPr/>
            </p:nvSpPr>
            <p:spPr bwMode="auto">
              <a:xfrm>
                <a:off x="6567163" y="1957015"/>
                <a:ext cx="2665278" cy="2192571"/>
              </a:xfrm>
              <a:prstGeom prst="rect">
                <a:avLst/>
              </a:prstGeom>
              <a:solidFill>
                <a:schemeClr val="accent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53945" numCol="1" spcCol="72000" rtlCol="0" fromWordArt="0" anchor="b" anchorCtr="0" forceAA="0" compatLnSpc="1">
                <a:prstTxWarp prst="textNoShape">
                  <a:avLst/>
                </a:prstTxWarp>
                <a:noAutofit/>
              </a:bodyPr>
              <a:lstStyle/>
              <a:p>
                <a:pPr algn="ctr">
                  <a:lnSpc>
                    <a:spcPct val="110000"/>
                  </a:lnSpc>
                  <a:spcBef>
                    <a:spcPct val="0"/>
                  </a:spcBef>
                </a:pPr>
                <a:r>
                  <a:rPr lang="it-IT" sz="1198" dirty="0">
                    <a:solidFill>
                      <a:srgbClr val="FFFFFF"/>
                    </a:solidFill>
                    <a:ea typeface="微软雅黑" panose="020B0503020204020204" pitchFamily="34" charset="-122"/>
                  </a:rPr>
                  <a:t>MOM : </a:t>
                </a:r>
                <a:r>
                  <a:rPr lang="zh-CN" altLang="en-US" sz="899" dirty="0" smtClean="0">
                    <a:solidFill>
                      <a:srgbClr val="FFFFFF"/>
                    </a:solidFill>
                    <a:ea typeface="微软雅黑" panose="020B0503020204020204" pitchFamily="34" charset="-122"/>
                  </a:rPr>
                  <a:t>高级排产</a:t>
                </a:r>
                <a:r>
                  <a:rPr lang="en-US" altLang="zh-CN" sz="899" dirty="0" smtClean="0">
                    <a:solidFill>
                      <a:srgbClr val="FFFFFF"/>
                    </a:solidFill>
                    <a:ea typeface="微软雅黑" panose="020B0503020204020204" pitchFamily="34" charset="-122"/>
                  </a:rPr>
                  <a:t>/</a:t>
                </a:r>
                <a:r>
                  <a:rPr lang="zh-CN" altLang="en-US" sz="899" dirty="0" smtClean="0">
                    <a:solidFill>
                      <a:srgbClr val="FFFFFF"/>
                    </a:solidFill>
                    <a:ea typeface="微软雅黑" panose="020B0503020204020204" pitchFamily="34" charset="-122"/>
                  </a:rPr>
                  <a:t>质量</a:t>
                </a:r>
                <a:r>
                  <a:rPr lang="en-US" altLang="zh-CN" sz="899" dirty="0" smtClean="0">
                    <a:solidFill>
                      <a:srgbClr val="FFFFFF"/>
                    </a:solidFill>
                    <a:ea typeface="微软雅黑" panose="020B0503020204020204" pitchFamily="34" charset="-122"/>
                  </a:rPr>
                  <a:t>/</a:t>
                </a:r>
                <a:r>
                  <a:rPr lang="zh-CN" altLang="en-US" sz="899" dirty="0" smtClean="0">
                    <a:solidFill>
                      <a:srgbClr val="FFFFFF"/>
                    </a:solidFill>
                    <a:ea typeface="微软雅黑" panose="020B0503020204020204" pitchFamily="34" charset="-122"/>
                  </a:rPr>
                  <a:t>生产执行</a:t>
                </a:r>
                <a:endParaRPr lang="en-GB" sz="899" dirty="0" err="1">
                  <a:solidFill>
                    <a:srgbClr val="FFFFFF"/>
                  </a:solidFill>
                  <a:ea typeface="微软雅黑" panose="020B0503020204020204" pitchFamily="34" charset="-122"/>
                </a:endParaRPr>
              </a:p>
            </p:txBody>
          </p:sp>
          <p:pic>
            <p:nvPicPr>
              <p:cNvPr id="117" name="Picture 115"/>
              <p:cNvPicPr>
                <a:picLocks noChangeAspect="1"/>
              </p:cNvPicPr>
              <p:nvPr/>
            </p:nvPicPr>
            <p:blipFill rotWithShape="1">
              <a:blip r:embed="rId4"/>
              <a:srcRect r="17151"/>
              <a:stretch/>
            </p:blipFill>
            <p:spPr>
              <a:xfrm>
                <a:off x="6859454" y="2149964"/>
                <a:ext cx="2237800" cy="1520087"/>
              </a:xfrm>
              <a:prstGeom prst="rect">
                <a:avLst/>
              </a:prstGeom>
            </p:spPr>
          </p:pic>
        </p:grpSp>
        <p:grpSp>
          <p:nvGrpSpPr>
            <p:cNvPr id="46" name="Group 44"/>
            <p:cNvGrpSpPr/>
            <p:nvPr/>
          </p:nvGrpSpPr>
          <p:grpSpPr>
            <a:xfrm>
              <a:off x="1635739" y="2050431"/>
              <a:ext cx="2114585" cy="1643573"/>
              <a:chOff x="144824" y="1930783"/>
              <a:chExt cx="2820915" cy="2192571"/>
            </a:xfrm>
          </p:grpSpPr>
          <p:sp>
            <p:nvSpPr>
              <p:cNvPr id="110" name="Rectangle 108"/>
              <p:cNvSpPr/>
              <p:nvPr/>
            </p:nvSpPr>
            <p:spPr bwMode="auto">
              <a:xfrm>
                <a:off x="144824" y="1930783"/>
                <a:ext cx="2820915" cy="2192571"/>
              </a:xfrm>
              <a:prstGeom prst="rect">
                <a:avLst/>
              </a:prstGeom>
              <a:solidFill>
                <a:srgbClr val="00B050"/>
              </a:solidFill>
              <a:ln>
                <a:noFill/>
              </a:ln>
              <a:effectLst/>
              <a:extLst/>
            </p:spPr>
            <p:txBody>
              <a:bodyPr rot="0" spcFirstLastPara="0" vertOverflow="overflow" horzOverflow="overflow" vert="horz" wrap="square" lIns="80874" tIns="40437" rIns="80874" bIns="53945" numCol="1" spcCol="72000" rtlCol="0" fromWordArt="0" anchor="b" anchorCtr="0" forceAA="0" compatLnSpc="1">
                <a:prstTxWarp prst="textNoShape">
                  <a:avLst/>
                </a:prstTxWarp>
                <a:noAutofit/>
              </a:bodyPr>
              <a:lstStyle/>
              <a:p>
                <a:pPr algn="ctr">
                  <a:lnSpc>
                    <a:spcPct val="110000"/>
                  </a:lnSpc>
                  <a:spcBef>
                    <a:spcPct val="0"/>
                  </a:spcBef>
                </a:pPr>
                <a:r>
                  <a:rPr lang="it-IT" sz="1198" dirty="0">
                    <a:solidFill>
                      <a:srgbClr val="FFFFFF"/>
                    </a:solidFill>
                    <a:ea typeface="微软雅黑" panose="020B0503020204020204" pitchFamily="34" charset="-122"/>
                  </a:rPr>
                  <a:t>PLM : </a:t>
                </a:r>
                <a:r>
                  <a:rPr lang="zh-CN" altLang="en-US" sz="1198" dirty="0" smtClean="0">
                    <a:solidFill>
                      <a:srgbClr val="FFFFFF"/>
                    </a:solidFill>
                    <a:ea typeface="微软雅黑" panose="020B0503020204020204" pitchFamily="34" charset="-122"/>
                  </a:rPr>
                  <a:t>产品与生命周期管理</a:t>
                </a:r>
                <a:endParaRPr lang="en-GB" sz="1049" dirty="0" err="1">
                  <a:solidFill>
                    <a:srgbClr val="FFFFFF"/>
                  </a:solidFill>
                  <a:ea typeface="微软雅黑" panose="020B0503020204020204" pitchFamily="34" charset="-122"/>
                </a:endParaRPr>
              </a:p>
            </p:txBody>
          </p:sp>
          <p:pic>
            <p:nvPicPr>
              <p:cNvPr id="111" name="Picture 109"/>
              <p:cNvPicPr>
                <a:picLocks noChangeAspect="1"/>
              </p:cNvPicPr>
              <p:nvPr/>
            </p:nvPicPr>
            <p:blipFill rotWithShape="1">
              <a:blip r:embed="rId5" cstate="print">
                <a:extLst>
                  <a:ext uri="{28A0092B-C50C-407E-A947-70E740481C1C}">
                    <a14:useLocalDpi xmlns:a14="http://schemas.microsoft.com/office/drawing/2010/main" val="0"/>
                  </a:ext>
                </a:extLst>
              </a:blip>
              <a:srcRect l="15798"/>
              <a:stretch/>
            </p:blipFill>
            <p:spPr>
              <a:xfrm>
                <a:off x="1579594" y="2086654"/>
                <a:ext cx="1128450" cy="754756"/>
              </a:xfrm>
              <a:prstGeom prst="rect">
                <a:avLst/>
              </a:prstGeom>
            </p:spPr>
          </p:pic>
          <p:pic>
            <p:nvPicPr>
              <p:cNvPr id="112" name="Picture 110"/>
              <p:cNvPicPr>
                <a:picLocks noChangeAspect="1"/>
              </p:cNvPicPr>
              <p:nvPr/>
            </p:nvPicPr>
            <p:blipFill rotWithShape="1">
              <a:blip r:embed="rId6" cstate="print">
                <a:extLst>
                  <a:ext uri="{28A0092B-C50C-407E-A947-70E740481C1C}">
                    <a14:useLocalDpi xmlns:a14="http://schemas.microsoft.com/office/drawing/2010/main" val="0"/>
                  </a:ext>
                </a:extLst>
              </a:blip>
              <a:srcRect l="10784" b="1143"/>
              <a:stretch/>
            </p:blipFill>
            <p:spPr>
              <a:xfrm>
                <a:off x="256667" y="2086653"/>
                <a:ext cx="1210934" cy="754756"/>
              </a:xfrm>
              <a:prstGeom prst="rect">
                <a:avLst/>
              </a:prstGeom>
            </p:spPr>
          </p:pic>
          <p:pic>
            <p:nvPicPr>
              <p:cNvPr id="113" name="Picture 111"/>
              <p:cNvPicPr>
                <a:picLocks noChangeAspect="1"/>
              </p:cNvPicPr>
              <p:nvPr/>
            </p:nvPicPr>
            <p:blipFill>
              <a:blip r:embed="rId7"/>
              <a:stretch>
                <a:fillRect/>
              </a:stretch>
            </p:blipFill>
            <p:spPr>
              <a:xfrm>
                <a:off x="1536098" y="2891643"/>
                <a:ext cx="1157844" cy="693480"/>
              </a:xfrm>
              <a:prstGeom prst="rect">
                <a:avLst/>
              </a:prstGeom>
            </p:spPr>
          </p:pic>
          <p:pic>
            <p:nvPicPr>
              <p:cNvPr id="114" name="Picture 2"/>
              <p:cNvPicPr>
                <a:picLocks noChangeAspect="1" noChangeArrowheads="1"/>
              </p:cNvPicPr>
              <p:nvPr/>
            </p:nvPicPr>
            <p:blipFill rotWithShape="1">
              <a:blip r:embed="rId8" cstate="print"/>
              <a:srcRect t="11264"/>
              <a:stretch/>
            </p:blipFill>
            <p:spPr bwMode="auto">
              <a:xfrm>
                <a:off x="267854" y="2886475"/>
                <a:ext cx="1199747" cy="709733"/>
              </a:xfrm>
              <a:prstGeom prst="rect">
                <a:avLst/>
              </a:prstGeom>
              <a:noFill/>
              <a:ln>
                <a:noFill/>
              </a:ln>
            </p:spPr>
          </p:pic>
          <p:pic>
            <p:nvPicPr>
              <p:cNvPr id="115" name="Picture 113"/>
              <p:cNvPicPr>
                <a:picLocks noChangeAspect="1"/>
              </p:cNvPicPr>
              <p:nvPr/>
            </p:nvPicPr>
            <p:blipFill rotWithShape="1">
              <a:blip r:embed="rId9" cstate="print">
                <a:extLst>
                  <a:ext uri="{28A0092B-C50C-407E-A947-70E740481C1C}">
                    <a14:useLocalDpi xmlns:a14="http://schemas.microsoft.com/office/drawing/2010/main" val="0"/>
                  </a:ext>
                </a:extLst>
              </a:blip>
              <a:srcRect l="24582"/>
              <a:stretch/>
            </p:blipFill>
            <p:spPr>
              <a:xfrm>
                <a:off x="990568" y="2480871"/>
                <a:ext cx="1006609" cy="820332"/>
              </a:xfrm>
              <a:prstGeom prst="rect">
                <a:avLst/>
              </a:prstGeom>
              <a:effectLst>
                <a:glow rad="101600">
                  <a:schemeClr val="tx1">
                    <a:lumMod val="65000"/>
                    <a:lumOff val="35000"/>
                    <a:alpha val="60000"/>
                  </a:schemeClr>
                </a:glow>
              </a:effectLst>
            </p:spPr>
          </p:pic>
        </p:grpSp>
        <p:sp>
          <p:nvSpPr>
            <p:cNvPr id="47" name="Rectangle 45"/>
            <p:cNvSpPr/>
            <p:nvPr/>
          </p:nvSpPr>
          <p:spPr bwMode="auto">
            <a:xfrm>
              <a:off x="3763421" y="2070094"/>
              <a:ext cx="2666102" cy="164207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53945" numCol="1" spcCol="72000" rtlCol="0" fromWordArt="0" anchor="b" anchorCtr="0" forceAA="0" compatLnSpc="1">
              <a:prstTxWarp prst="textNoShape">
                <a:avLst/>
              </a:prstTxWarp>
              <a:noAutofit/>
            </a:bodyPr>
            <a:lstStyle/>
            <a:p>
              <a:pPr algn="ctr">
                <a:lnSpc>
                  <a:spcPct val="110000"/>
                </a:lnSpc>
                <a:spcBef>
                  <a:spcPct val="0"/>
                </a:spcBef>
              </a:pPr>
              <a:r>
                <a:rPr lang="it-IT" sz="1198" dirty="0">
                  <a:solidFill>
                    <a:schemeClr val="accent3">
                      <a:lumMod val="50000"/>
                    </a:schemeClr>
                  </a:solidFill>
                  <a:ea typeface="微软雅黑" panose="020B0503020204020204" pitchFamily="34" charset="-122"/>
                </a:rPr>
                <a:t>Digital Twin : </a:t>
              </a:r>
              <a:r>
                <a:rPr lang="zh-CN" altLang="en-US" sz="1049" dirty="0" smtClean="0">
                  <a:solidFill>
                    <a:schemeClr val="accent3">
                      <a:lumMod val="50000"/>
                    </a:schemeClr>
                  </a:solidFill>
                  <a:ea typeface="微软雅黑" panose="020B0503020204020204" pitchFamily="34" charset="-122"/>
                </a:rPr>
                <a:t>产品</a:t>
              </a:r>
              <a:r>
                <a:rPr lang="en-US" altLang="zh-CN" sz="1049" dirty="0" smtClean="0">
                  <a:solidFill>
                    <a:schemeClr val="accent3">
                      <a:lumMod val="50000"/>
                    </a:schemeClr>
                  </a:solidFill>
                  <a:ea typeface="微软雅黑" panose="020B0503020204020204" pitchFamily="34" charset="-122"/>
                </a:rPr>
                <a:t>/</a:t>
              </a:r>
              <a:r>
                <a:rPr lang="zh-CN" altLang="en-US" sz="1049" dirty="0" smtClean="0">
                  <a:solidFill>
                    <a:schemeClr val="accent3">
                      <a:lumMod val="50000"/>
                    </a:schemeClr>
                  </a:solidFill>
                  <a:ea typeface="微软雅黑" panose="020B0503020204020204" pitchFamily="34" charset="-122"/>
                </a:rPr>
                <a:t>生产</a:t>
              </a:r>
              <a:r>
                <a:rPr lang="en-US" altLang="zh-CN" sz="1049" dirty="0" smtClean="0">
                  <a:solidFill>
                    <a:schemeClr val="accent3">
                      <a:lumMod val="50000"/>
                    </a:schemeClr>
                  </a:solidFill>
                  <a:ea typeface="微软雅黑" panose="020B0503020204020204" pitchFamily="34" charset="-122"/>
                </a:rPr>
                <a:t>/</a:t>
              </a:r>
              <a:r>
                <a:rPr lang="zh-CN" altLang="en-US" sz="1049" dirty="0" smtClean="0">
                  <a:solidFill>
                    <a:schemeClr val="accent3">
                      <a:lumMod val="50000"/>
                    </a:schemeClr>
                  </a:solidFill>
                  <a:ea typeface="微软雅黑" panose="020B0503020204020204" pitchFamily="34" charset="-122"/>
                </a:rPr>
                <a:t>服务</a:t>
              </a:r>
              <a:endParaRPr lang="en-US" altLang="zh-CN" sz="1049" dirty="0" smtClean="0">
                <a:solidFill>
                  <a:schemeClr val="accent3">
                    <a:lumMod val="50000"/>
                  </a:schemeClr>
                </a:solidFill>
                <a:ea typeface="微软雅黑" panose="020B0503020204020204" pitchFamily="34" charset="-122"/>
              </a:endParaRPr>
            </a:p>
            <a:p>
              <a:pPr algn="ctr">
                <a:lnSpc>
                  <a:spcPct val="110000"/>
                </a:lnSpc>
                <a:spcBef>
                  <a:spcPct val="0"/>
                </a:spcBef>
              </a:pPr>
              <a:r>
                <a:rPr lang="zh-CN" altLang="en-US" sz="1049" b="1" dirty="0">
                  <a:solidFill>
                    <a:schemeClr val="accent3">
                      <a:lumMod val="50000"/>
                    </a:schemeClr>
                  </a:solidFill>
                  <a:ea typeface="微软雅黑" panose="020B0503020204020204" pitchFamily="34" charset="-122"/>
                </a:rPr>
                <a:t>工</a:t>
              </a:r>
              <a:r>
                <a:rPr lang="zh-CN" altLang="en-US" sz="1049" b="1" dirty="0" smtClean="0">
                  <a:solidFill>
                    <a:schemeClr val="accent3">
                      <a:lumMod val="50000"/>
                    </a:schemeClr>
                  </a:solidFill>
                  <a:ea typeface="微软雅黑" panose="020B0503020204020204" pitchFamily="34" charset="-122"/>
                </a:rPr>
                <a:t>艺</a:t>
              </a:r>
              <a:r>
                <a:rPr lang="zh-CN" altLang="en-US" sz="1049" b="1" dirty="0">
                  <a:solidFill>
                    <a:schemeClr val="accent3">
                      <a:lumMod val="50000"/>
                    </a:schemeClr>
                  </a:solidFill>
                  <a:ea typeface="微软雅黑" panose="020B0503020204020204" pitchFamily="34" charset="-122"/>
                </a:rPr>
                <a:t>过</a:t>
              </a:r>
              <a:r>
                <a:rPr lang="zh-CN" altLang="en-US" sz="1049" b="1" dirty="0" smtClean="0">
                  <a:solidFill>
                    <a:schemeClr val="accent3">
                      <a:lumMod val="50000"/>
                    </a:schemeClr>
                  </a:solidFill>
                  <a:ea typeface="微软雅黑" panose="020B0503020204020204" pitchFamily="34" charset="-122"/>
                </a:rPr>
                <a:t>程的</a:t>
              </a:r>
              <a:r>
                <a:rPr lang="zh-CN" altLang="en-US" sz="1049" b="1" dirty="0">
                  <a:solidFill>
                    <a:schemeClr val="accent3">
                      <a:lumMod val="50000"/>
                    </a:schemeClr>
                  </a:solidFill>
                  <a:ea typeface="微软雅黑" panose="020B0503020204020204" pitchFamily="34" charset="-122"/>
                </a:rPr>
                <a:t>数</a:t>
              </a:r>
              <a:r>
                <a:rPr lang="zh-CN" altLang="en-US" sz="1049" b="1" dirty="0" smtClean="0">
                  <a:solidFill>
                    <a:schemeClr val="accent3">
                      <a:lumMod val="50000"/>
                    </a:schemeClr>
                  </a:solidFill>
                  <a:ea typeface="微软雅黑" panose="020B0503020204020204" pitchFamily="34" charset="-122"/>
                </a:rPr>
                <a:t>字化仿真和虚拟调试</a:t>
              </a:r>
              <a:endParaRPr lang="en-GB" sz="1049" b="1" dirty="0" err="1">
                <a:solidFill>
                  <a:schemeClr val="accent3">
                    <a:lumMod val="50000"/>
                  </a:schemeClr>
                </a:solidFill>
                <a:ea typeface="微软雅黑" panose="020B0503020204020204" pitchFamily="34" charset="-122"/>
              </a:endParaRPr>
            </a:p>
          </p:txBody>
        </p:sp>
        <p:pic>
          <p:nvPicPr>
            <p:cNvPr id="48" name="Picture 46"/>
            <p:cNvPicPr>
              <a:picLocks noChangeAspect="1"/>
            </p:cNvPicPr>
            <p:nvPr/>
          </p:nvPicPr>
          <p:blipFill>
            <a:blip r:embed="rId10">
              <a:duotone>
                <a:schemeClr val="accent4">
                  <a:shade val="45000"/>
                  <a:satMod val="135000"/>
                </a:schemeClr>
                <a:prstClr val="white"/>
              </a:duotone>
            </a:blip>
            <a:stretch>
              <a:fillRect/>
            </a:stretch>
          </p:blipFill>
          <p:spPr>
            <a:xfrm>
              <a:off x="9134717" y="2680316"/>
              <a:ext cx="962030" cy="1279562"/>
            </a:xfrm>
            <a:prstGeom prst="rect">
              <a:avLst/>
            </a:prstGeom>
          </p:spPr>
        </p:pic>
        <p:sp>
          <p:nvSpPr>
            <p:cNvPr id="49" name="Right Arrow 47"/>
            <p:cNvSpPr/>
            <p:nvPr/>
          </p:nvSpPr>
          <p:spPr bwMode="auto">
            <a:xfrm rot="10800000" flipV="1">
              <a:off x="8481669" y="2973401"/>
              <a:ext cx="798491" cy="379235"/>
            </a:xfrm>
            <a:prstGeom prst="rightArrow">
              <a:avLst/>
            </a:prstGeom>
            <a:solidFill>
              <a:srgbClr val="865472"/>
            </a:solidFill>
            <a:ln>
              <a:noFill/>
            </a:ln>
            <a:effectLs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r>
                <a:rPr lang="zh-CN" altLang="en-US" sz="899" dirty="0" smtClean="0">
                  <a:solidFill>
                    <a:srgbClr val="FFFFFF"/>
                  </a:solidFill>
                  <a:ea typeface="微软雅黑" panose="020B0503020204020204" pitchFamily="34" charset="-122"/>
                </a:rPr>
                <a:t>订单</a:t>
              </a:r>
              <a:endParaRPr lang="en-GB" sz="899" dirty="0" err="1">
                <a:solidFill>
                  <a:srgbClr val="FFFFFF"/>
                </a:solidFill>
                <a:ea typeface="微软雅黑" panose="020B0503020204020204" pitchFamily="34" charset="-122"/>
              </a:endParaRPr>
            </a:p>
          </p:txBody>
        </p:sp>
        <p:sp>
          <p:nvSpPr>
            <p:cNvPr id="50" name="Right Arrow 48"/>
            <p:cNvSpPr/>
            <p:nvPr/>
          </p:nvSpPr>
          <p:spPr bwMode="auto">
            <a:xfrm rot="10800000" flipH="1" flipV="1">
              <a:off x="8481668" y="3360060"/>
              <a:ext cx="813140" cy="379235"/>
            </a:xfrm>
            <a:prstGeom prst="rightArrow">
              <a:avLst/>
            </a:prstGeom>
            <a:solidFill>
              <a:schemeClr val="accent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r>
                <a:rPr lang="zh-CN" altLang="en-US" sz="899" dirty="0" smtClean="0">
                  <a:solidFill>
                    <a:srgbClr val="FFFFFF"/>
                  </a:solidFill>
                  <a:ea typeface="微软雅黑" panose="020B0503020204020204" pitchFamily="34" charset="-122"/>
                </a:rPr>
                <a:t>交货</a:t>
              </a:r>
              <a:endParaRPr lang="en-GB" sz="899" dirty="0" err="1">
                <a:solidFill>
                  <a:srgbClr val="FFFFFF"/>
                </a:solidFill>
                <a:ea typeface="微软雅黑" panose="020B0503020204020204" pitchFamily="34" charset="-122"/>
              </a:endParaRPr>
            </a:p>
          </p:txBody>
        </p:sp>
        <p:sp>
          <p:nvSpPr>
            <p:cNvPr id="51" name="Right Arrow 49"/>
            <p:cNvSpPr/>
            <p:nvPr/>
          </p:nvSpPr>
          <p:spPr bwMode="auto">
            <a:xfrm>
              <a:off x="6430932" y="2689544"/>
              <a:ext cx="210162" cy="404675"/>
            </a:xfrm>
            <a:prstGeom prst="rightArrow">
              <a:avLst/>
            </a:prstGeom>
            <a:solidFill>
              <a:schemeClr val="accent2"/>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sp>
          <p:nvSpPr>
            <p:cNvPr id="52" name="Right Arrow 50"/>
            <p:cNvSpPr/>
            <p:nvPr/>
          </p:nvSpPr>
          <p:spPr bwMode="auto">
            <a:xfrm>
              <a:off x="3751015" y="2689544"/>
              <a:ext cx="210162" cy="404675"/>
            </a:xfrm>
            <a:prstGeom prst="rightArrow">
              <a:avLst/>
            </a:prstGeom>
            <a:solidFill>
              <a:srgbClr val="00B050"/>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sp>
          <p:nvSpPr>
            <p:cNvPr id="53" name="Right Arrow 51"/>
            <p:cNvSpPr/>
            <p:nvPr/>
          </p:nvSpPr>
          <p:spPr bwMode="auto">
            <a:xfrm flipH="1">
              <a:off x="6230141" y="2689544"/>
              <a:ext cx="210162" cy="404675"/>
            </a:xfrm>
            <a:prstGeom prst="rightArrow">
              <a:avLst/>
            </a:prstGeom>
            <a:solidFill>
              <a:schemeClr val="accent3"/>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sp>
          <p:nvSpPr>
            <p:cNvPr id="54" name="Right Arrow 52"/>
            <p:cNvSpPr/>
            <p:nvPr/>
          </p:nvSpPr>
          <p:spPr bwMode="auto">
            <a:xfrm flipH="1">
              <a:off x="3541060" y="2689544"/>
              <a:ext cx="210162" cy="404675"/>
            </a:xfrm>
            <a:prstGeom prst="rightArrow">
              <a:avLst/>
            </a:prstGeom>
            <a:solidFill>
              <a:schemeClr val="accent2"/>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sp>
          <p:nvSpPr>
            <p:cNvPr id="55" name="Right Arrow 53"/>
            <p:cNvSpPr/>
            <p:nvPr/>
          </p:nvSpPr>
          <p:spPr bwMode="auto">
            <a:xfrm rot="16200000" flipH="1">
              <a:off x="9167809" y="3614928"/>
              <a:ext cx="2514449" cy="379235"/>
            </a:xfrm>
            <a:prstGeom prst="rightArrow">
              <a:avLst/>
            </a:prstGeom>
            <a:solidFill>
              <a:schemeClr val="accent4">
                <a:lumMod val="60000"/>
                <a:lumOff val="40000"/>
              </a:schemeClr>
            </a:solidFill>
            <a:ln>
              <a:noFill/>
            </a:ln>
            <a:effectLs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endParaRPr lang="en-GB" sz="1348" b="1" dirty="0" err="1">
                <a:solidFill>
                  <a:srgbClr val="FFFFFF"/>
                </a:solidFill>
                <a:ea typeface="微软雅黑" panose="020B0503020204020204" pitchFamily="34" charset="-122"/>
              </a:endParaRPr>
            </a:p>
          </p:txBody>
        </p:sp>
        <p:grpSp>
          <p:nvGrpSpPr>
            <p:cNvPr id="56" name="Group 54"/>
            <p:cNvGrpSpPr/>
            <p:nvPr/>
          </p:nvGrpSpPr>
          <p:grpSpPr>
            <a:xfrm>
              <a:off x="1635739" y="1799966"/>
              <a:ext cx="6812165" cy="253374"/>
              <a:chOff x="141722" y="1636669"/>
              <a:chExt cx="8949766" cy="338184"/>
            </a:xfrm>
          </p:grpSpPr>
          <p:sp>
            <p:nvSpPr>
              <p:cNvPr id="107" name="Rectangle 105"/>
              <p:cNvSpPr/>
              <p:nvPr/>
            </p:nvSpPr>
            <p:spPr bwMode="auto">
              <a:xfrm>
                <a:off x="141722" y="1636669"/>
                <a:ext cx="8949766" cy="338184"/>
              </a:xfrm>
              <a:prstGeom prst="rect">
                <a:avLst/>
              </a:prstGeom>
              <a:solidFill>
                <a:srgbClr val="00B050"/>
              </a:solidFill>
              <a:ln>
                <a:noFill/>
              </a:ln>
              <a:effectLst/>
              <a:extLst/>
            </p:spPr>
            <p:txBody>
              <a:bodyPr wrap="square" lIns="80916" tIns="40458" rIns="80916" bIns="40458" numCol="1" spcCol="72000" rtlCol="0" anchor="ctr">
                <a:noAutofit/>
              </a:bodyPr>
              <a:lstStyle/>
              <a:p>
                <a:pPr algn="ctr" fontAlgn="base">
                  <a:spcBef>
                    <a:spcPct val="50000"/>
                  </a:spcBef>
                  <a:spcAft>
                    <a:spcPct val="0"/>
                  </a:spcAft>
                </a:pPr>
                <a:endParaRPr lang="en-GB" sz="1349" dirty="0">
                  <a:solidFill>
                    <a:srgbClr val="FFFFFF"/>
                  </a:solidFill>
                  <a:ea typeface="微软雅黑" panose="020B0503020204020204" pitchFamily="34" charset="-122"/>
                </a:endParaRPr>
              </a:p>
            </p:txBody>
          </p:sp>
          <p:cxnSp>
            <p:nvCxnSpPr>
              <p:cNvPr id="108" name="Straight Connector 106"/>
              <p:cNvCxnSpPr/>
              <p:nvPr/>
            </p:nvCxnSpPr>
            <p:spPr bwMode="auto">
              <a:xfrm>
                <a:off x="250115" y="1797873"/>
                <a:ext cx="8696936" cy="0"/>
              </a:xfrm>
              <a:prstGeom prst="line">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9" name="Rectangle 107"/>
              <p:cNvSpPr/>
              <p:nvPr/>
            </p:nvSpPr>
            <p:spPr>
              <a:xfrm>
                <a:off x="3214154" y="1663057"/>
                <a:ext cx="3608745" cy="256522"/>
              </a:xfrm>
              <a:prstGeom prst="rect">
                <a:avLst/>
              </a:prstGeom>
              <a:solidFill>
                <a:srgbClr val="00B050"/>
              </a:solidFill>
            </p:spPr>
            <p:txBody>
              <a:bodyPr wrap="none" anchor="ctr">
                <a:noAutofit/>
              </a:bodyPr>
              <a:lstStyle/>
              <a:p>
                <a:pPr algn="ctr" fontAlgn="base">
                  <a:spcBef>
                    <a:spcPct val="50000"/>
                  </a:spcBef>
                  <a:spcAft>
                    <a:spcPct val="0"/>
                  </a:spcAft>
                </a:pPr>
                <a:r>
                  <a:rPr lang="it-IT" sz="1349" dirty="0">
                    <a:solidFill>
                      <a:srgbClr val="FFFFFF"/>
                    </a:solidFill>
                    <a:ea typeface="微软雅黑" panose="020B0503020204020204" pitchFamily="34" charset="-122"/>
                  </a:rPr>
                  <a:t>Teamcenter </a:t>
                </a:r>
                <a:r>
                  <a:rPr lang="zh-CN" altLang="en-US" sz="1349" dirty="0" smtClean="0">
                    <a:solidFill>
                      <a:srgbClr val="FFFFFF"/>
                    </a:solidFill>
                    <a:ea typeface="微软雅黑" panose="020B0503020204020204" pitchFamily="34" charset="-122"/>
                  </a:rPr>
                  <a:t>数字化企业管理平台</a:t>
                </a:r>
                <a:endParaRPr lang="en-GB" sz="1349" dirty="0">
                  <a:solidFill>
                    <a:srgbClr val="FFFFFF"/>
                  </a:solidFill>
                  <a:ea typeface="微软雅黑" panose="020B0503020204020204" pitchFamily="34" charset="-122"/>
                </a:endParaRPr>
              </a:p>
            </p:txBody>
          </p:sp>
        </p:grpSp>
        <p:sp>
          <p:nvSpPr>
            <p:cNvPr id="57" name="Right Arrow 55"/>
            <p:cNvSpPr/>
            <p:nvPr/>
          </p:nvSpPr>
          <p:spPr bwMode="auto">
            <a:xfrm rot="10800000" flipH="1" flipV="1">
              <a:off x="8481667" y="1731375"/>
              <a:ext cx="1048908" cy="379235"/>
            </a:xfrm>
            <a:prstGeom prst="rightArrow">
              <a:avLst/>
            </a:prstGeom>
            <a:solidFill>
              <a:srgbClr val="00B050"/>
            </a:solidFill>
            <a:ln>
              <a:noFill/>
            </a:ln>
            <a:effectLs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r>
                <a:rPr lang="zh-CN" altLang="en-US" sz="899" dirty="0" smtClean="0">
                  <a:solidFill>
                    <a:srgbClr val="FFFFFF"/>
                  </a:solidFill>
                  <a:ea typeface="微软雅黑" panose="020B0503020204020204" pitchFamily="34" charset="-122"/>
                </a:rPr>
                <a:t>产品</a:t>
              </a:r>
              <a:endParaRPr lang="en-GB" sz="899" dirty="0" err="1">
                <a:solidFill>
                  <a:srgbClr val="FFFFFF"/>
                </a:solidFill>
                <a:ea typeface="微软雅黑" panose="020B0503020204020204" pitchFamily="34" charset="-122"/>
              </a:endParaRPr>
            </a:p>
          </p:txBody>
        </p:sp>
        <p:sp>
          <p:nvSpPr>
            <p:cNvPr id="58" name="Right Arrow 56"/>
            <p:cNvSpPr/>
            <p:nvPr/>
          </p:nvSpPr>
          <p:spPr bwMode="auto">
            <a:xfrm rot="10800000" flipH="1" flipV="1">
              <a:off x="8481667" y="2168087"/>
              <a:ext cx="1048908" cy="379235"/>
            </a:xfrm>
            <a:prstGeom prst="rightArrow">
              <a:avLst/>
            </a:prstGeom>
            <a:solidFill>
              <a:schemeClr val="accent3"/>
            </a:solidFill>
            <a:ln>
              <a:noFill/>
            </a:ln>
            <a:effectLs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r>
                <a:rPr lang="zh-CN" altLang="en-US" sz="899" dirty="0" smtClean="0">
                  <a:solidFill>
                    <a:srgbClr val="FFFFFF"/>
                  </a:solidFill>
                  <a:ea typeface="微软雅黑" panose="020B0503020204020204" pitchFamily="34" charset="-122"/>
                </a:rPr>
                <a:t>供应商集成</a:t>
              </a:r>
              <a:endParaRPr lang="en-GB" sz="899" dirty="0" err="1">
                <a:solidFill>
                  <a:srgbClr val="FFFFFF"/>
                </a:solidFill>
                <a:ea typeface="微软雅黑" panose="020B0503020204020204" pitchFamily="34" charset="-122"/>
              </a:endParaRPr>
            </a:p>
          </p:txBody>
        </p:sp>
        <p:grpSp>
          <p:nvGrpSpPr>
            <p:cNvPr id="59" name="Group 57"/>
            <p:cNvGrpSpPr/>
            <p:nvPr/>
          </p:nvGrpSpPr>
          <p:grpSpPr>
            <a:xfrm>
              <a:off x="7505413" y="5382869"/>
              <a:ext cx="763812" cy="635106"/>
              <a:chOff x="12300882" y="5869354"/>
              <a:chExt cx="1019477" cy="847690"/>
            </a:xfrm>
          </p:grpSpPr>
          <p:pic>
            <p:nvPicPr>
              <p:cNvPr id="103" name="Picture 101"/>
              <p:cNvPicPr>
                <a:picLocks noChangeAspect="1"/>
              </p:cNvPicPr>
              <p:nvPr/>
            </p:nvPicPr>
            <p:blipFill>
              <a:blip r:embed="rId11"/>
              <a:stretch>
                <a:fillRect/>
              </a:stretch>
            </p:blipFill>
            <p:spPr>
              <a:xfrm>
                <a:off x="12586809" y="5869354"/>
                <a:ext cx="337017" cy="241409"/>
              </a:xfrm>
              <a:prstGeom prst="rect">
                <a:avLst/>
              </a:prstGeom>
            </p:spPr>
          </p:pic>
          <p:grpSp>
            <p:nvGrpSpPr>
              <p:cNvPr id="104" name="Group 102"/>
              <p:cNvGrpSpPr/>
              <p:nvPr/>
            </p:nvGrpSpPr>
            <p:grpSpPr>
              <a:xfrm>
                <a:off x="12300882" y="6059211"/>
                <a:ext cx="1019477" cy="657833"/>
                <a:chOff x="12300882" y="6059211"/>
                <a:chExt cx="1019477" cy="657833"/>
              </a:xfrm>
            </p:grpSpPr>
            <p:pic>
              <p:nvPicPr>
                <p:cNvPr id="105" name="Picture 103"/>
                <p:cNvPicPr>
                  <a:picLocks noChangeAspect="1"/>
                </p:cNvPicPr>
                <p:nvPr/>
              </p:nvPicPr>
              <p:blipFill>
                <a:blip r:embed="rId11"/>
                <a:stretch>
                  <a:fillRect/>
                </a:stretch>
              </p:blipFill>
              <p:spPr>
                <a:xfrm>
                  <a:off x="12300882" y="6244413"/>
                  <a:ext cx="567563" cy="406552"/>
                </a:xfrm>
                <a:prstGeom prst="rect">
                  <a:avLst/>
                </a:prstGeom>
              </p:spPr>
            </p:pic>
            <p:pic>
              <p:nvPicPr>
                <p:cNvPr id="106" name="Picture 104"/>
                <p:cNvPicPr>
                  <a:picLocks noChangeAspect="1"/>
                </p:cNvPicPr>
                <p:nvPr/>
              </p:nvPicPr>
              <p:blipFill>
                <a:blip r:embed="rId3">
                  <a:lum bright="70000" contrast="-70000"/>
                </a:blip>
                <a:stretch>
                  <a:fillRect/>
                </a:stretch>
              </p:blipFill>
              <p:spPr>
                <a:xfrm>
                  <a:off x="12930532" y="6059211"/>
                  <a:ext cx="389827" cy="657833"/>
                </a:xfrm>
                <a:prstGeom prst="rect">
                  <a:avLst/>
                </a:prstGeom>
              </p:spPr>
            </p:pic>
          </p:grpSp>
        </p:grpSp>
        <p:grpSp>
          <p:nvGrpSpPr>
            <p:cNvPr id="60" name="Group 58"/>
            <p:cNvGrpSpPr/>
            <p:nvPr/>
          </p:nvGrpSpPr>
          <p:grpSpPr>
            <a:xfrm>
              <a:off x="6689680" y="3992680"/>
              <a:ext cx="1747444" cy="1947677"/>
              <a:chOff x="6887331" y="4508715"/>
              <a:chExt cx="2332353" cy="2599608"/>
            </a:xfrm>
          </p:grpSpPr>
          <p:grpSp>
            <p:nvGrpSpPr>
              <p:cNvPr id="98" name="Group 96"/>
              <p:cNvGrpSpPr/>
              <p:nvPr/>
            </p:nvGrpSpPr>
            <p:grpSpPr>
              <a:xfrm>
                <a:off x="7643789" y="4508715"/>
                <a:ext cx="1575895" cy="1283293"/>
                <a:chOff x="7643789" y="4508715"/>
                <a:chExt cx="1575895" cy="1283293"/>
              </a:xfrm>
            </p:grpSpPr>
            <p:sp>
              <p:nvSpPr>
                <p:cNvPr id="101" name="Rectangle 99"/>
                <p:cNvSpPr/>
                <p:nvPr/>
              </p:nvSpPr>
              <p:spPr bwMode="auto">
                <a:xfrm>
                  <a:off x="7643789" y="4508715"/>
                  <a:ext cx="1575895" cy="1283293"/>
                </a:xfrm>
                <a:prstGeom prst="rect">
                  <a:avLst/>
                </a:prstGeom>
                <a:solidFill>
                  <a:schemeClr val="accent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53945" numCol="1" spcCol="72000" rtlCol="0" fromWordArt="0" anchor="b" anchorCtr="0" forceAA="0" compatLnSpc="1">
                  <a:prstTxWarp prst="textNoShape">
                    <a:avLst/>
                  </a:prstTxWarp>
                  <a:noAutofit/>
                </a:bodyPr>
                <a:lstStyle/>
                <a:p>
                  <a:pPr algn="r">
                    <a:lnSpc>
                      <a:spcPct val="110000"/>
                    </a:lnSpc>
                    <a:spcBef>
                      <a:spcPct val="0"/>
                    </a:spcBef>
                  </a:pPr>
                  <a:r>
                    <a:rPr lang="it-IT" sz="1198" dirty="0">
                      <a:solidFill>
                        <a:srgbClr val="FFFFFF"/>
                      </a:solidFill>
                      <a:ea typeface="微软雅黑" panose="020B0503020204020204" pitchFamily="34" charset="-122"/>
                    </a:rPr>
                    <a:t>MOM : </a:t>
                  </a:r>
                  <a:r>
                    <a:rPr lang="zh-CN" altLang="en-US" sz="1198" dirty="0" smtClean="0">
                      <a:solidFill>
                        <a:srgbClr val="FFFFFF"/>
                      </a:solidFill>
                      <a:ea typeface="微软雅黑" panose="020B0503020204020204" pitchFamily="34" charset="-122"/>
                    </a:rPr>
                    <a:t>大屏幕</a:t>
                  </a:r>
                  <a:r>
                    <a:rPr lang="en-US" altLang="zh-CN" sz="1198" dirty="0" smtClean="0">
                      <a:solidFill>
                        <a:srgbClr val="FFFFFF"/>
                      </a:solidFill>
                      <a:ea typeface="微软雅黑" panose="020B0503020204020204" pitchFamily="34" charset="-122"/>
                    </a:rPr>
                    <a:t>EMI</a:t>
                  </a:r>
                  <a:endParaRPr lang="en-GB" sz="1198" dirty="0" err="1">
                    <a:solidFill>
                      <a:srgbClr val="FFFFFF"/>
                    </a:solidFill>
                    <a:ea typeface="微软雅黑" panose="020B0503020204020204" pitchFamily="34" charset="-122"/>
                  </a:endParaRPr>
                </a:p>
              </p:txBody>
            </p:sp>
            <p:pic>
              <p:nvPicPr>
                <p:cNvPr id="102"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7126"/>
                <a:stretch/>
              </p:blipFill>
              <p:spPr bwMode="auto">
                <a:xfrm>
                  <a:off x="7818003" y="4628731"/>
                  <a:ext cx="1304273" cy="736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9" name="Picture 97"/>
              <p:cNvPicPr>
                <a:picLocks noChangeAspect="1"/>
              </p:cNvPicPr>
              <p:nvPr/>
            </p:nvPicPr>
            <p:blipFill>
              <a:blip r:embed="rId3">
                <a:lum bright="70000" contrast="-70000"/>
              </a:blip>
              <a:stretch>
                <a:fillRect/>
              </a:stretch>
            </p:blipFill>
            <p:spPr>
              <a:xfrm>
                <a:off x="8565254" y="5826890"/>
                <a:ext cx="389827" cy="657833"/>
              </a:xfrm>
              <a:prstGeom prst="rect">
                <a:avLst/>
              </a:prstGeom>
            </p:spPr>
          </p:pic>
          <p:pic>
            <p:nvPicPr>
              <p:cNvPr id="100" name="Picture 98"/>
              <p:cNvPicPr>
                <a:picLocks noChangeAspect="1"/>
              </p:cNvPicPr>
              <p:nvPr/>
            </p:nvPicPr>
            <p:blipFill>
              <a:blip r:embed="rId3">
                <a:lum bright="70000" contrast="-70000"/>
              </a:blip>
              <a:stretch>
                <a:fillRect/>
              </a:stretch>
            </p:blipFill>
            <p:spPr>
              <a:xfrm>
                <a:off x="6887331" y="6450491"/>
                <a:ext cx="389827" cy="657832"/>
              </a:xfrm>
              <a:prstGeom prst="rect">
                <a:avLst/>
              </a:prstGeom>
            </p:spPr>
          </p:pic>
        </p:grpSp>
        <p:grpSp>
          <p:nvGrpSpPr>
            <p:cNvPr id="61" name="Group 59"/>
            <p:cNvGrpSpPr/>
            <p:nvPr/>
          </p:nvGrpSpPr>
          <p:grpSpPr>
            <a:xfrm>
              <a:off x="9632749" y="1761174"/>
              <a:ext cx="948008" cy="688566"/>
              <a:chOff x="10815514" y="1543927"/>
              <a:chExt cx="1265328" cy="919044"/>
            </a:xfrm>
          </p:grpSpPr>
          <p:grpSp>
            <p:nvGrpSpPr>
              <p:cNvPr id="92" name="Group 90"/>
              <p:cNvGrpSpPr/>
              <p:nvPr/>
            </p:nvGrpSpPr>
            <p:grpSpPr>
              <a:xfrm>
                <a:off x="10815514" y="1743107"/>
                <a:ext cx="1265328" cy="719864"/>
                <a:chOff x="10933022" y="1949320"/>
                <a:chExt cx="1265328" cy="719864"/>
              </a:xfrm>
            </p:grpSpPr>
            <p:sp>
              <p:nvSpPr>
                <p:cNvPr id="95" name="Oval 93"/>
                <p:cNvSpPr/>
                <p:nvPr/>
              </p:nvSpPr>
              <p:spPr bwMode="auto">
                <a:xfrm>
                  <a:off x="10933022" y="2338842"/>
                  <a:ext cx="1265328" cy="33034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endParaRPr lang="en-GB" sz="1348" b="1" dirty="0">
                    <a:solidFill>
                      <a:srgbClr val="FFFFFF"/>
                    </a:solidFill>
                    <a:ea typeface="微软雅黑" panose="020B0503020204020204" pitchFamily="34" charset="-122"/>
                  </a:endParaRPr>
                </a:p>
              </p:txBody>
            </p:sp>
            <p:sp>
              <p:nvSpPr>
                <p:cNvPr id="96" name="Rectangle 94"/>
                <p:cNvSpPr/>
                <p:nvPr/>
              </p:nvSpPr>
              <p:spPr bwMode="auto">
                <a:xfrm>
                  <a:off x="11181743" y="1949320"/>
                  <a:ext cx="775795" cy="571727"/>
                </a:xfrm>
                <a:prstGeom prst="rect">
                  <a:avLst/>
                </a:prstGeom>
                <a:solidFill>
                  <a:schemeClr val="accent4">
                    <a:lumMod val="60000"/>
                    <a:lumOff val="40000"/>
                  </a:schemeClr>
                </a:solidFill>
                <a:ln>
                  <a:noFill/>
                </a:ln>
                <a:effectLst/>
                <a:extLst/>
              </p:spPr>
              <p:txBody>
                <a:bodyPr wrap="square" lIns="80916" tIns="40458" rIns="80916" bIns="40458" numCol="1" spcCol="72000" rtlCol="0" anchor="b">
                  <a:noAutofit/>
                </a:bodyPr>
                <a:lstStyle/>
                <a:p>
                  <a:pPr algn="ctr" fontAlgn="base">
                    <a:spcBef>
                      <a:spcPct val="50000"/>
                    </a:spcBef>
                    <a:spcAft>
                      <a:spcPct val="0"/>
                    </a:spcAft>
                  </a:pPr>
                  <a:r>
                    <a:rPr lang="zh-CN" altLang="en-US" sz="899" dirty="0" smtClean="0">
                      <a:solidFill>
                        <a:srgbClr val="FFFFFF"/>
                      </a:solidFill>
                      <a:ea typeface="微软雅黑" panose="020B0503020204020204" pitchFamily="34" charset="-122"/>
                    </a:rPr>
                    <a:t>供应商</a:t>
                  </a:r>
                  <a:endParaRPr lang="en-GB" sz="899" dirty="0">
                    <a:solidFill>
                      <a:srgbClr val="FFFFFF"/>
                    </a:solidFill>
                    <a:ea typeface="微软雅黑" panose="020B0503020204020204" pitchFamily="34" charset="-122"/>
                  </a:endParaRPr>
                </a:p>
              </p:txBody>
            </p:sp>
            <p:sp>
              <p:nvSpPr>
                <p:cNvPr id="97" name="Rectangle 95"/>
                <p:cNvSpPr/>
                <p:nvPr/>
              </p:nvSpPr>
              <p:spPr bwMode="auto">
                <a:xfrm>
                  <a:off x="11311136" y="2053883"/>
                  <a:ext cx="533613" cy="136822"/>
                </a:xfrm>
                <a:prstGeom prst="rect">
                  <a:avLst/>
                </a:prstGeom>
                <a:solidFill>
                  <a:srgbClr val="233746"/>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grpSp>
          <p:sp>
            <p:nvSpPr>
              <p:cNvPr id="93" name="Right Triangle 91"/>
              <p:cNvSpPr/>
              <p:nvPr/>
            </p:nvSpPr>
            <p:spPr bwMode="auto">
              <a:xfrm>
                <a:off x="11448178" y="1543927"/>
                <a:ext cx="405206" cy="199180"/>
              </a:xfrm>
              <a:prstGeom prst="rtTriangle">
                <a:avLst/>
              </a:prstGeom>
              <a:solidFill>
                <a:schemeClr val="accent4">
                  <a:lumMod val="60000"/>
                  <a:lumOff val="40000"/>
                </a:schemeClr>
              </a:solidFill>
              <a:ln>
                <a:noFill/>
              </a:ln>
              <a:effectLst/>
              <a:extLst/>
            </p:spPr>
            <p:txBody>
              <a:bodyPr rot="0" spcFirstLastPara="0" vertOverflow="overflow" horzOverflow="overflow" vert="horz" wrap="square" lIns="80916" tIns="40458" rIns="80916" bIns="40458" numCol="1" spcCol="72000" rtlCol="0" fromWordArt="0" anchor="t" anchorCtr="0" forceAA="0" compatLnSpc="1">
                <a:prstTxWarp prst="textNoShape">
                  <a:avLst/>
                </a:prstTxWarp>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sp>
            <p:nvSpPr>
              <p:cNvPr id="94" name="Right Triangle 92"/>
              <p:cNvSpPr/>
              <p:nvPr/>
            </p:nvSpPr>
            <p:spPr bwMode="auto">
              <a:xfrm>
                <a:off x="11063085" y="1543927"/>
                <a:ext cx="405206" cy="199180"/>
              </a:xfrm>
              <a:prstGeom prst="rtTriangle">
                <a:avLst/>
              </a:prstGeom>
              <a:solidFill>
                <a:schemeClr val="accent4">
                  <a:lumMod val="60000"/>
                  <a:lumOff val="40000"/>
                </a:schemeClr>
              </a:solidFill>
              <a:ln>
                <a:noFill/>
              </a:ln>
              <a:effectLst/>
              <a:extLst/>
            </p:spPr>
            <p:txBody>
              <a:bodyPr rot="0" spcFirstLastPara="0" vertOverflow="overflow" horzOverflow="overflow" vert="horz" wrap="square" lIns="80916" tIns="40458" rIns="80916" bIns="40458" numCol="1" spcCol="72000" rtlCol="0" fromWordArt="0" anchor="t" anchorCtr="0" forceAA="0" compatLnSpc="1">
                <a:prstTxWarp prst="textNoShape">
                  <a:avLst/>
                </a:prstTxWarp>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grpSp>
        <p:pic>
          <p:nvPicPr>
            <p:cNvPr id="62" name="Picture 60"/>
            <p:cNvPicPr>
              <a:picLocks noChangeAspect="1"/>
            </p:cNvPicPr>
            <p:nvPr/>
          </p:nvPicPr>
          <p:blipFill>
            <a:blip r:embed="rId13">
              <a:duotone>
                <a:schemeClr val="accent2">
                  <a:shade val="45000"/>
                  <a:satMod val="135000"/>
                </a:schemeClr>
                <a:prstClr val="white"/>
              </a:duotone>
              <a:extLst/>
            </a:blip>
            <a:stretch>
              <a:fillRect/>
            </a:stretch>
          </p:blipFill>
          <p:spPr>
            <a:xfrm flipH="1">
              <a:off x="9916039" y="5046953"/>
              <a:ext cx="698612" cy="614777"/>
            </a:xfrm>
            <a:prstGeom prst="rect">
              <a:avLst/>
            </a:prstGeom>
          </p:spPr>
        </p:pic>
        <p:grpSp>
          <p:nvGrpSpPr>
            <p:cNvPr id="63" name="Group 61"/>
            <p:cNvGrpSpPr/>
            <p:nvPr/>
          </p:nvGrpSpPr>
          <p:grpSpPr>
            <a:xfrm>
              <a:off x="5665939" y="3723477"/>
              <a:ext cx="2781965" cy="253374"/>
              <a:chOff x="169032" y="1636669"/>
              <a:chExt cx="9285535" cy="338184"/>
            </a:xfrm>
          </p:grpSpPr>
          <p:sp>
            <p:nvSpPr>
              <p:cNvPr id="89" name="Rectangle 87"/>
              <p:cNvSpPr/>
              <p:nvPr/>
            </p:nvSpPr>
            <p:spPr bwMode="auto">
              <a:xfrm>
                <a:off x="169032" y="1636669"/>
                <a:ext cx="9285535" cy="338184"/>
              </a:xfrm>
              <a:prstGeom prst="rect">
                <a:avLst/>
              </a:prstGeom>
              <a:solidFill>
                <a:schemeClr val="accent3"/>
              </a:solidFill>
              <a:ln>
                <a:noFill/>
              </a:ln>
              <a:effectLst/>
              <a:extLst/>
            </p:spPr>
            <p:txBody>
              <a:bodyPr wrap="square" lIns="80916" tIns="40458" rIns="80916" bIns="40458" numCol="1" spcCol="72000" rtlCol="0" anchor="ctr">
                <a:noAutofit/>
              </a:bodyPr>
              <a:lstStyle/>
              <a:p>
                <a:pPr algn="ctr" fontAlgn="base">
                  <a:spcBef>
                    <a:spcPct val="50000"/>
                  </a:spcBef>
                  <a:spcAft>
                    <a:spcPct val="0"/>
                  </a:spcAft>
                </a:pPr>
                <a:endParaRPr lang="en-GB" sz="1349" dirty="0">
                  <a:solidFill>
                    <a:srgbClr val="FFFFFF"/>
                  </a:solidFill>
                  <a:ea typeface="微软雅黑" panose="020B0503020204020204" pitchFamily="34" charset="-122"/>
                </a:endParaRPr>
              </a:p>
            </p:txBody>
          </p:sp>
          <p:cxnSp>
            <p:nvCxnSpPr>
              <p:cNvPr id="90" name="Straight Connector 88"/>
              <p:cNvCxnSpPr/>
              <p:nvPr/>
            </p:nvCxnSpPr>
            <p:spPr bwMode="auto">
              <a:xfrm>
                <a:off x="250114" y="1797873"/>
                <a:ext cx="8929926" cy="2546"/>
              </a:xfrm>
              <a:prstGeom prst="line">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1" name="Rectangle 89"/>
              <p:cNvSpPr/>
              <p:nvPr/>
            </p:nvSpPr>
            <p:spPr>
              <a:xfrm>
                <a:off x="1028345" y="1663704"/>
                <a:ext cx="7497060" cy="301198"/>
              </a:xfrm>
              <a:prstGeom prst="rect">
                <a:avLst/>
              </a:prstGeom>
              <a:solidFill>
                <a:schemeClr val="accent3"/>
              </a:solidFill>
            </p:spPr>
            <p:txBody>
              <a:bodyPr wrap="none" anchor="ctr">
                <a:noAutofit/>
              </a:bodyPr>
              <a:lstStyle/>
              <a:p>
                <a:pPr algn="ctr" fontAlgn="base">
                  <a:spcBef>
                    <a:spcPct val="50000"/>
                  </a:spcBef>
                  <a:spcAft>
                    <a:spcPct val="0"/>
                  </a:spcAft>
                </a:pPr>
                <a:r>
                  <a:rPr lang="it-IT" sz="1349" dirty="0" smtClean="0">
                    <a:solidFill>
                      <a:srgbClr val="FFFFFF"/>
                    </a:solidFill>
                    <a:ea typeface="微软雅黑" panose="020B0503020204020204" pitchFamily="34" charset="-122"/>
                  </a:rPr>
                  <a:t>SI</a:t>
                </a:r>
                <a:r>
                  <a:rPr lang="en-US" altLang="zh-CN" sz="1349" dirty="0" smtClean="0">
                    <a:solidFill>
                      <a:srgbClr val="FFFFFF"/>
                    </a:solidFill>
                    <a:ea typeface="微软雅黑" panose="020B0503020204020204" pitchFamily="34" charset="-122"/>
                  </a:rPr>
                  <a:t>MA</a:t>
                </a:r>
                <a:r>
                  <a:rPr lang="it-IT" sz="1349" dirty="0" smtClean="0">
                    <a:solidFill>
                      <a:srgbClr val="FFFFFF"/>
                    </a:solidFill>
                    <a:ea typeface="微软雅黑" panose="020B0503020204020204" pitchFamily="34" charset="-122"/>
                  </a:rPr>
                  <a:t>T</a:t>
                </a:r>
                <a:r>
                  <a:rPr lang="en-US" altLang="zh-CN" sz="1349" dirty="0" smtClean="0">
                    <a:solidFill>
                      <a:srgbClr val="FFFFFF"/>
                    </a:solidFill>
                    <a:ea typeface="微软雅黑" panose="020B0503020204020204" pitchFamily="34" charset="-122"/>
                  </a:rPr>
                  <a:t>IC</a:t>
                </a:r>
                <a:r>
                  <a:rPr lang="zh-CN" altLang="en-US" sz="1349" dirty="0" smtClean="0">
                    <a:solidFill>
                      <a:srgbClr val="FFFFFF"/>
                    </a:solidFill>
                    <a:ea typeface="微软雅黑" panose="020B0503020204020204" pitchFamily="34" charset="-122"/>
                  </a:rPr>
                  <a:t> </a:t>
                </a:r>
                <a:r>
                  <a:rPr lang="en-US" altLang="zh-CN" sz="1349" dirty="0" smtClean="0">
                    <a:solidFill>
                      <a:srgbClr val="FFFFFF"/>
                    </a:solidFill>
                    <a:ea typeface="微软雅黑" panose="020B0503020204020204" pitchFamily="34" charset="-122"/>
                  </a:rPr>
                  <a:t>IT</a:t>
                </a:r>
                <a:r>
                  <a:rPr lang="it-IT" sz="1349" dirty="0" smtClean="0">
                    <a:solidFill>
                      <a:srgbClr val="FFFFFF"/>
                    </a:solidFill>
                    <a:ea typeface="微软雅黑" panose="020B0503020204020204" pitchFamily="34" charset="-122"/>
                  </a:rPr>
                  <a:t> </a:t>
                </a:r>
                <a:r>
                  <a:rPr lang="it-IT" sz="1349" dirty="0">
                    <a:solidFill>
                      <a:srgbClr val="FFFFFF"/>
                    </a:solidFill>
                    <a:ea typeface="微软雅黑" panose="020B0503020204020204" pitchFamily="34" charset="-122"/>
                  </a:rPr>
                  <a:t>UA </a:t>
                </a:r>
                <a:r>
                  <a:rPr lang="zh-CN" altLang="en-US" sz="1349" dirty="0" smtClean="0">
                    <a:solidFill>
                      <a:srgbClr val="FFFFFF"/>
                    </a:solidFill>
                    <a:ea typeface="微软雅黑" panose="020B0503020204020204" pitchFamily="34" charset="-122"/>
                  </a:rPr>
                  <a:t>制造运营管理平台</a:t>
                </a:r>
                <a:endParaRPr lang="en-GB" sz="1349" dirty="0">
                  <a:solidFill>
                    <a:srgbClr val="FFFFFF"/>
                  </a:solidFill>
                  <a:ea typeface="微软雅黑" panose="020B0503020204020204" pitchFamily="34" charset="-122"/>
                </a:endParaRPr>
              </a:p>
            </p:txBody>
          </p:sp>
        </p:grpSp>
        <p:pic>
          <p:nvPicPr>
            <p:cNvPr id="64" name="Picture 62"/>
            <p:cNvPicPr>
              <a:picLocks noChangeAspect="1"/>
            </p:cNvPicPr>
            <p:nvPr/>
          </p:nvPicPr>
          <p:blipFill>
            <a:blip r:embed="rId14"/>
            <a:stretch>
              <a:fillRect/>
            </a:stretch>
          </p:blipFill>
          <p:spPr>
            <a:xfrm>
              <a:off x="4000817" y="2152807"/>
              <a:ext cx="2192870" cy="1137044"/>
            </a:xfrm>
            <a:prstGeom prst="rect">
              <a:avLst/>
            </a:prstGeom>
          </p:spPr>
        </p:pic>
        <p:pic>
          <p:nvPicPr>
            <p:cNvPr id="65" name="Picture 63"/>
            <p:cNvPicPr>
              <a:picLocks noChangeAspect="1"/>
            </p:cNvPicPr>
            <p:nvPr/>
          </p:nvPicPr>
          <p:blipFill>
            <a:blip r:embed="rId15"/>
            <a:stretch>
              <a:fillRect/>
            </a:stretch>
          </p:blipFill>
          <p:spPr>
            <a:xfrm>
              <a:off x="3999256" y="2152807"/>
              <a:ext cx="2194432" cy="1160472"/>
            </a:xfrm>
            <a:prstGeom prst="rect">
              <a:avLst/>
            </a:prstGeom>
          </p:spPr>
        </p:pic>
        <p:grpSp>
          <p:nvGrpSpPr>
            <p:cNvPr id="66" name="Group 64"/>
            <p:cNvGrpSpPr/>
            <p:nvPr/>
          </p:nvGrpSpPr>
          <p:grpSpPr>
            <a:xfrm>
              <a:off x="1570548" y="3712167"/>
              <a:ext cx="5166587" cy="2059757"/>
              <a:chOff x="143899" y="4001092"/>
              <a:chExt cx="6892371" cy="2747772"/>
            </a:xfrm>
          </p:grpSpPr>
          <p:grpSp>
            <p:nvGrpSpPr>
              <p:cNvPr id="76" name="Group 74"/>
              <p:cNvGrpSpPr/>
              <p:nvPr/>
            </p:nvGrpSpPr>
            <p:grpSpPr>
              <a:xfrm>
                <a:off x="143899" y="4540683"/>
                <a:ext cx="2605879" cy="2117228"/>
                <a:chOff x="143899" y="4540683"/>
                <a:chExt cx="2605879" cy="2117228"/>
              </a:xfrm>
            </p:grpSpPr>
            <p:sp>
              <p:nvSpPr>
                <p:cNvPr id="84" name="Rectangle 82"/>
                <p:cNvSpPr/>
                <p:nvPr/>
              </p:nvSpPr>
              <p:spPr bwMode="auto">
                <a:xfrm>
                  <a:off x="143899" y="4540683"/>
                  <a:ext cx="2149190" cy="2117228"/>
                </a:xfrm>
                <a:prstGeom prst="rect">
                  <a:avLst/>
                </a:prstGeom>
                <a:solidFill>
                  <a:srgbClr val="233746"/>
                </a:solidFill>
                <a:ln>
                  <a:noFill/>
                </a:ln>
                <a:effectLst/>
                <a:extLst/>
              </p:spPr>
              <p:txBody>
                <a:bodyPr rot="0" spcFirstLastPara="0" vertOverflow="overflow" horzOverflow="overflow" vert="horz" wrap="square" lIns="80958" tIns="40479" rIns="80958" bIns="40479" numCol="1" spcCol="72000" rtlCol="0" fromWordArt="0" anchor="t" anchorCtr="0" forceAA="0" compatLnSpc="1">
                  <a:prstTxWarp prst="textNoShape">
                    <a:avLst/>
                  </a:prstTxWarp>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grpSp>
              <p:nvGrpSpPr>
                <p:cNvPr id="85" name="Group 83"/>
                <p:cNvGrpSpPr/>
                <p:nvPr/>
              </p:nvGrpSpPr>
              <p:grpSpPr>
                <a:xfrm>
                  <a:off x="215254" y="5043877"/>
                  <a:ext cx="1616100" cy="1599274"/>
                  <a:chOff x="6562507" y="4417767"/>
                  <a:chExt cx="1617784" cy="1600941"/>
                </a:xfrm>
              </p:grpSpPr>
              <p:sp>
                <p:nvSpPr>
                  <p:cNvPr id="87" name="Rectangle 85"/>
                  <p:cNvSpPr/>
                  <p:nvPr/>
                </p:nvSpPr>
                <p:spPr bwMode="auto">
                  <a:xfrm>
                    <a:off x="6562507" y="4417767"/>
                    <a:ext cx="1617784" cy="1600941"/>
                  </a:xfrm>
                  <a:prstGeom prst="rect">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40437" numCol="1" spcCol="72000" rtlCol="0" fromWordArt="0" anchor="b" anchorCtr="0" forceAA="0" compatLnSpc="1">
                    <a:prstTxWarp prst="textNoShape">
                      <a:avLst/>
                    </a:prstTxWarp>
                    <a:noAutofit/>
                  </a:bodyPr>
                  <a:lstStyle/>
                  <a:p>
                    <a:pPr algn="ctr">
                      <a:lnSpc>
                        <a:spcPct val="110000"/>
                      </a:lnSpc>
                      <a:spcBef>
                        <a:spcPct val="0"/>
                      </a:spcBef>
                    </a:pPr>
                    <a:r>
                      <a:rPr lang="it-IT" sz="1198" dirty="0" smtClean="0">
                        <a:solidFill>
                          <a:srgbClr val="FFFFFF"/>
                        </a:solidFill>
                        <a:ea typeface="微软雅黑" panose="020B0503020204020204" pitchFamily="34" charset="-122"/>
                      </a:rPr>
                      <a:t>TIA</a:t>
                    </a:r>
                    <a:r>
                      <a:rPr lang="zh-CN" altLang="en-US" sz="1198" dirty="0" smtClean="0">
                        <a:solidFill>
                          <a:srgbClr val="FFFFFF"/>
                        </a:solidFill>
                        <a:ea typeface="微软雅黑" panose="020B0503020204020204" pitchFamily="34" charset="-122"/>
                      </a:rPr>
                      <a:t> 博途</a:t>
                    </a:r>
                    <a:endParaRPr lang="en-GB" sz="1198" dirty="0" err="1">
                      <a:solidFill>
                        <a:srgbClr val="FFFFFF"/>
                      </a:solidFill>
                      <a:ea typeface="微软雅黑" panose="020B0503020204020204" pitchFamily="34" charset="-122"/>
                    </a:endParaRPr>
                  </a:p>
                </p:txBody>
              </p:sp>
              <p:pic>
                <p:nvPicPr>
                  <p:cNvPr id="88" name="Picture 6" descr="https://eb.automation.siemens.com/goos/catalog/Pages/collateral.axd?id=247919&amp;versionid=162"/>
                  <p:cNvPicPr>
                    <a:picLocks noChangeAspect="1" noChangeArrowheads="1"/>
                  </p:cNvPicPr>
                  <p:nvPr/>
                </p:nvPicPr>
                <p:blipFill>
                  <a:blip r:embed="rId16"/>
                  <a:srcRect/>
                  <a:stretch>
                    <a:fillRect/>
                  </a:stretch>
                </p:blipFill>
                <p:spPr bwMode="auto">
                  <a:xfrm>
                    <a:off x="6749772" y="4706496"/>
                    <a:ext cx="1249590" cy="881721"/>
                  </a:xfrm>
                  <a:prstGeom prst="rect">
                    <a:avLst/>
                  </a:prstGeom>
                  <a:noFill/>
                  <a:ln w="38100">
                    <a:noFill/>
                    <a:miter lim="800000"/>
                  </a:ln>
                  <a:effectLst/>
                  <a:extLst/>
                </p:spPr>
              </p:pic>
            </p:grpSp>
            <p:sp>
              <p:nvSpPr>
                <p:cNvPr id="86" name="Right Arrow 84"/>
                <p:cNvSpPr/>
                <p:nvPr/>
              </p:nvSpPr>
              <p:spPr bwMode="auto">
                <a:xfrm flipH="1">
                  <a:off x="2033073" y="5549814"/>
                  <a:ext cx="716705" cy="505910"/>
                </a:xfrm>
                <a:prstGeom prst="rightArrow">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endParaRPr lang="en-GB" sz="1348" b="1" dirty="0" err="1">
                    <a:solidFill>
                      <a:srgbClr val="FFFFFF"/>
                    </a:solidFill>
                    <a:ea typeface="微软雅黑" panose="020B0503020204020204" pitchFamily="34" charset="-122"/>
                  </a:endParaRPr>
                </a:p>
              </p:txBody>
            </p:sp>
          </p:grpSp>
          <p:sp>
            <p:nvSpPr>
              <p:cNvPr id="77" name="Right Arrow 75"/>
              <p:cNvSpPr/>
              <p:nvPr/>
            </p:nvSpPr>
            <p:spPr bwMode="auto">
              <a:xfrm>
                <a:off x="1966242" y="6242953"/>
                <a:ext cx="5070028" cy="505911"/>
              </a:xfrm>
              <a:prstGeom prst="rightArrow">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r>
                  <a:rPr lang="zh-CN" altLang="en-US" sz="1200" dirty="0" smtClean="0">
                    <a:solidFill>
                      <a:srgbClr val="FFFFFF"/>
                    </a:solidFill>
                    <a:ea typeface="微软雅黑" panose="020B0503020204020204" pitchFamily="34" charset="-122"/>
                  </a:rPr>
                  <a:t>自动化设备控制</a:t>
                </a:r>
                <a:endParaRPr lang="en-GB" sz="1200" dirty="0" err="1">
                  <a:solidFill>
                    <a:srgbClr val="FFFFFF"/>
                  </a:solidFill>
                  <a:ea typeface="微软雅黑" panose="020B0503020204020204" pitchFamily="34" charset="-122"/>
                </a:endParaRPr>
              </a:p>
            </p:txBody>
          </p:sp>
          <p:grpSp>
            <p:nvGrpSpPr>
              <p:cNvPr id="78" name="Group 76"/>
              <p:cNvGrpSpPr/>
              <p:nvPr/>
            </p:nvGrpSpPr>
            <p:grpSpPr>
              <a:xfrm>
                <a:off x="2791735" y="4001092"/>
                <a:ext cx="2508737" cy="2336181"/>
                <a:chOff x="2817321" y="3987732"/>
                <a:chExt cx="2510044" cy="2337396"/>
              </a:xfrm>
            </p:grpSpPr>
            <p:grpSp>
              <p:nvGrpSpPr>
                <p:cNvPr id="79" name="Group 77"/>
                <p:cNvGrpSpPr/>
                <p:nvPr/>
              </p:nvGrpSpPr>
              <p:grpSpPr>
                <a:xfrm>
                  <a:off x="2817321" y="4372384"/>
                  <a:ext cx="2510044" cy="1952744"/>
                  <a:chOff x="2245844" y="3944488"/>
                  <a:chExt cx="2510044" cy="1952744"/>
                </a:xfrm>
              </p:grpSpPr>
              <p:sp>
                <p:nvSpPr>
                  <p:cNvPr id="82" name="Rechteck 2"/>
                  <p:cNvSpPr/>
                  <p:nvPr/>
                </p:nvSpPr>
                <p:spPr bwMode="auto">
                  <a:xfrm>
                    <a:off x="2245844" y="3944488"/>
                    <a:ext cx="2510044" cy="1952744"/>
                  </a:xfrm>
                  <a:prstGeom prst="rect">
                    <a:avLst/>
                  </a:prstGeom>
                  <a:solidFill>
                    <a:srgbClr val="006487"/>
                  </a:solidFill>
                  <a:ln>
                    <a:noFill/>
                  </a:ln>
                  <a:effectLst/>
                  <a:extLst/>
                </p:spPr>
                <p:txBody>
                  <a:bodyPr wrap="square" lIns="80916" tIns="40458" rIns="80916" bIns="40458" numCol="1" spcCol="72000" rtlCol="0" anchor="t">
                    <a:noAutofit/>
                  </a:bodyPr>
                  <a:lstStyle/>
                  <a:p>
                    <a:pPr algn="r" defTabSz="674410"/>
                    <a:r>
                      <a:rPr lang="zh-CN" altLang="en-US" sz="898" dirty="0" smtClean="0">
                        <a:solidFill>
                          <a:srgbClr val="FFFFFF"/>
                        </a:solidFill>
                        <a:ea typeface="微软雅黑" panose="020B0503020204020204" pitchFamily="34" charset="-122"/>
                      </a:rPr>
                      <a:t>机电一体化系统</a:t>
                    </a:r>
                    <a:endParaRPr lang="en-US" sz="898" dirty="0">
                      <a:solidFill>
                        <a:srgbClr val="FFFFFF"/>
                      </a:solidFill>
                      <a:ea typeface="微软雅黑" panose="020B0503020204020204" pitchFamily="34" charset="-122"/>
                    </a:endParaRPr>
                  </a:p>
                </p:txBody>
              </p:sp>
              <p:pic>
                <p:nvPicPr>
                  <p:cNvPr id="83" name="Picture 2"/>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gray">
                  <a:xfrm>
                    <a:off x="2698572" y="4283718"/>
                    <a:ext cx="1910202" cy="1013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0" name="Rectangle 78"/>
                <p:cNvSpPr/>
                <p:nvPr/>
              </p:nvSpPr>
              <p:spPr>
                <a:xfrm>
                  <a:off x="3002635" y="5788078"/>
                  <a:ext cx="1904726" cy="361071"/>
                </a:xfrm>
                <a:prstGeom prst="rect">
                  <a:avLst/>
                </a:prstGeom>
              </p:spPr>
              <p:txBody>
                <a:bodyPr wrap="none">
                  <a:spAutoFit/>
                </a:bodyPr>
                <a:lstStyle/>
                <a:p>
                  <a:pPr>
                    <a:spcBef>
                      <a:spcPct val="0"/>
                    </a:spcBef>
                  </a:pPr>
                  <a:r>
                    <a:rPr lang="zh-CN" altLang="en-US" sz="1349" dirty="0" smtClean="0">
                      <a:solidFill>
                        <a:srgbClr val="FFFFFF"/>
                      </a:solidFill>
                      <a:ea typeface="微软雅黑" panose="020B0503020204020204" pitchFamily="34" charset="-122"/>
                    </a:rPr>
                    <a:t>自动化产线虚拟生产</a:t>
                  </a:r>
                  <a:endParaRPr lang="en-US" sz="1349" dirty="0">
                    <a:solidFill>
                      <a:srgbClr val="FFFFFF"/>
                    </a:solidFill>
                    <a:ea typeface="微软雅黑" panose="020B0503020204020204" pitchFamily="34" charset="-122"/>
                  </a:endParaRPr>
                </a:p>
              </p:txBody>
            </p:sp>
            <p:sp>
              <p:nvSpPr>
                <p:cNvPr id="81" name="Right Arrow 79"/>
                <p:cNvSpPr/>
                <p:nvPr/>
              </p:nvSpPr>
              <p:spPr bwMode="auto">
                <a:xfrm rot="16200000" flipH="1">
                  <a:off x="4718129" y="3893372"/>
                  <a:ext cx="351410" cy="540129"/>
                </a:xfrm>
                <a:prstGeom prst="rightArrow">
                  <a:avLst/>
                </a:prstGeom>
                <a:solidFill>
                  <a:schemeClr val="accent2"/>
                </a:solidFill>
                <a:ln>
                  <a:noFill/>
                </a:ln>
                <a:effectLst/>
                <a:extLst/>
              </p:spPr>
              <p:txBody>
                <a:bodyPr wrap="square" lIns="80916" tIns="40458" rIns="80916" bIns="40458" numCol="1" spcCol="72000" rtlCol="0" anchor="t">
                  <a:noAutofit/>
                </a:bodyPr>
                <a:lstStyle/>
                <a:p>
                  <a:pPr algn="ctr" fontAlgn="base">
                    <a:spcBef>
                      <a:spcPct val="50000"/>
                    </a:spcBef>
                    <a:spcAft>
                      <a:spcPct val="0"/>
                    </a:spcAft>
                  </a:pPr>
                  <a:endParaRPr lang="en-GB" sz="1349" b="1" dirty="0">
                    <a:solidFill>
                      <a:srgbClr val="000000"/>
                    </a:solidFill>
                    <a:ea typeface="微软雅黑" panose="020B0503020204020204" pitchFamily="34" charset="-122"/>
                  </a:endParaRPr>
                </a:p>
              </p:txBody>
            </p:sp>
          </p:grpSp>
        </p:grpSp>
        <p:grpSp>
          <p:nvGrpSpPr>
            <p:cNvPr id="67" name="Group 65"/>
            <p:cNvGrpSpPr/>
            <p:nvPr/>
          </p:nvGrpSpPr>
          <p:grpSpPr>
            <a:xfrm>
              <a:off x="1635046" y="3718152"/>
              <a:ext cx="1009566" cy="1196281"/>
              <a:chOff x="143899" y="4155571"/>
              <a:chExt cx="1346789" cy="1595872"/>
            </a:xfrm>
          </p:grpSpPr>
          <p:grpSp>
            <p:nvGrpSpPr>
              <p:cNvPr id="69" name="Group 67"/>
              <p:cNvGrpSpPr/>
              <p:nvPr/>
            </p:nvGrpSpPr>
            <p:grpSpPr>
              <a:xfrm>
                <a:off x="143899" y="4155571"/>
                <a:ext cx="1346789" cy="1475457"/>
                <a:chOff x="6346" y="1412852"/>
                <a:chExt cx="4323037" cy="4736047"/>
              </a:xfrm>
            </p:grpSpPr>
            <p:pic>
              <p:nvPicPr>
                <p:cNvPr id="71" name="Grafik 20"/>
                <p:cNvPicPr>
                  <a:picLocks noChangeAspect="1"/>
                </p:cNvPicPr>
                <p:nvPr/>
              </p:nvPicPr>
              <p:blipFill rotWithShape="1">
                <a:blip r:embed="rId18">
                  <a:duotone>
                    <a:prstClr val="black"/>
                    <a:srgbClr val="BFD1DF">
                      <a:tint val="45000"/>
                      <a:satMod val="400000"/>
                    </a:srgbClr>
                  </a:duotone>
                </a:blip>
                <a:srcRect l="39391" t="12754" r="27383" b="7363"/>
                <a:stretch/>
              </p:blipFill>
              <p:spPr>
                <a:xfrm>
                  <a:off x="6346" y="1412852"/>
                  <a:ext cx="4323037" cy="4736047"/>
                </a:xfrm>
                <a:prstGeom prst="rect">
                  <a:avLst/>
                </a:prstGeom>
              </p:spPr>
            </p:pic>
            <p:grpSp>
              <p:nvGrpSpPr>
                <p:cNvPr id="72" name="Gruppieren 347"/>
                <p:cNvGrpSpPr/>
                <p:nvPr/>
              </p:nvGrpSpPr>
              <p:grpSpPr>
                <a:xfrm>
                  <a:off x="453697" y="2068403"/>
                  <a:ext cx="2944899" cy="2794115"/>
                  <a:chOff x="12647970" y="2077258"/>
                  <a:chExt cx="1519238" cy="1441450"/>
                </a:xfrm>
              </p:grpSpPr>
              <p:sp>
                <p:nvSpPr>
                  <p:cNvPr id="73" name="Freeform 263"/>
                  <p:cNvSpPr>
                    <a:spLocks noEditPoints="1"/>
                  </p:cNvSpPr>
                  <p:nvPr/>
                </p:nvSpPr>
                <p:spPr bwMode="auto">
                  <a:xfrm>
                    <a:off x="12647970" y="2077258"/>
                    <a:ext cx="1519238" cy="1441450"/>
                  </a:xfrm>
                  <a:custGeom>
                    <a:avLst/>
                    <a:gdLst>
                      <a:gd name="T0" fmla="*/ 291 w 404"/>
                      <a:gd name="T1" fmla="*/ 368 h 383"/>
                      <a:gd name="T2" fmla="*/ 194 w 404"/>
                      <a:gd name="T3" fmla="*/ 383 h 383"/>
                      <a:gd name="T4" fmla="*/ 59 w 404"/>
                      <a:gd name="T5" fmla="*/ 334 h 383"/>
                      <a:gd name="T6" fmla="*/ 0 w 404"/>
                      <a:gd name="T7" fmla="*/ 193 h 383"/>
                      <a:gd name="T8" fmla="*/ 56 w 404"/>
                      <a:gd name="T9" fmla="*/ 56 h 383"/>
                      <a:gd name="T10" fmla="*/ 209 w 404"/>
                      <a:gd name="T11" fmla="*/ 0 h 383"/>
                      <a:gd name="T12" fmla="*/ 350 w 404"/>
                      <a:gd name="T13" fmla="*/ 46 h 383"/>
                      <a:gd name="T14" fmla="*/ 404 w 404"/>
                      <a:gd name="T15" fmla="*/ 167 h 383"/>
                      <a:gd name="T16" fmla="*/ 382 w 404"/>
                      <a:gd name="T17" fmla="*/ 247 h 383"/>
                      <a:gd name="T18" fmla="*/ 311 w 404"/>
                      <a:gd name="T19" fmla="*/ 298 h 383"/>
                      <a:gd name="T20" fmla="*/ 249 w 404"/>
                      <a:gd name="T21" fmla="*/ 273 h 383"/>
                      <a:gd name="T22" fmla="*/ 177 w 404"/>
                      <a:gd name="T23" fmla="*/ 298 h 383"/>
                      <a:gd name="T24" fmla="*/ 115 w 404"/>
                      <a:gd name="T25" fmla="*/ 273 h 383"/>
                      <a:gd name="T26" fmla="*/ 97 w 404"/>
                      <a:gd name="T27" fmla="*/ 218 h 383"/>
                      <a:gd name="T28" fmla="*/ 107 w 404"/>
                      <a:gd name="T29" fmla="*/ 170 h 383"/>
                      <a:gd name="T30" fmla="*/ 151 w 404"/>
                      <a:gd name="T31" fmla="*/ 116 h 383"/>
                      <a:gd name="T32" fmla="*/ 227 w 404"/>
                      <a:gd name="T33" fmla="*/ 93 h 383"/>
                      <a:gd name="T34" fmla="*/ 301 w 404"/>
                      <a:gd name="T35" fmla="*/ 114 h 383"/>
                      <a:gd name="T36" fmla="*/ 287 w 404"/>
                      <a:gd name="T37" fmla="*/ 216 h 383"/>
                      <a:gd name="T38" fmla="*/ 285 w 404"/>
                      <a:gd name="T39" fmla="*/ 240 h 383"/>
                      <a:gd name="T40" fmla="*/ 317 w 404"/>
                      <a:gd name="T41" fmla="*/ 254 h 383"/>
                      <a:gd name="T42" fmla="*/ 352 w 404"/>
                      <a:gd name="T43" fmla="*/ 227 h 383"/>
                      <a:gd name="T44" fmla="*/ 365 w 404"/>
                      <a:gd name="T45" fmla="*/ 167 h 383"/>
                      <a:gd name="T46" fmla="*/ 319 w 404"/>
                      <a:gd name="T47" fmla="*/ 75 h 383"/>
                      <a:gd name="T48" fmla="*/ 210 w 404"/>
                      <a:gd name="T49" fmla="*/ 40 h 383"/>
                      <a:gd name="T50" fmla="*/ 92 w 404"/>
                      <a:gd name="T51" fmla="*/ 84 h 383"/>
                      <a:gd name="T52" fmla="*/ 45 w 404"/>
                      <a:gd name="T53" fmla="*/ 194 h 383"/>
                      <a:gd name="T54" fmla="*/ 89 w 404"/>
                      <a:gd name="T55" fmla="*/ 302 h 383"/>
                      <a:gd name="T56" fmla="*/ 198 w 404"/>
                      <a:gd name="T57" fmla="*/ 342 h 383"/>
                      <a:gd name="T58" fmla="*/ 284 w 404"/>
                      <a:gd name="T59" fmla="*/ 327 h 383"/>
                      <a:gd name="T60" fmla="*/ 291 w 404"/>
                      <a:gd name="T61" fmla="*/ 368 h 383"/>
                      <a:gd name="T62" fmla="*/ 253 w 404"/>
                      <a:gd name="T63" fmla="*/ 142 h 383"/>
                      <a:gd name="T64" fmla="*/ 220 w 404"/>
                      <a:gd name="T65" fmla="*/ 134 h 383"/>
                      <a:gd name="T66" fmla="*/ 172 w 404"/>
                      <a:gd name="T67" fmla="*/ 149 h 383"/>
                      <a:gd name="T68" fmla="*/ 147 w 404"/>
                      <a:gd name="T69" fmla="*/ 179 h 383"/>
                      <a:gd name="T70" fmla="*/ 141 w 404"/>
                      <a:gd name="T71" fmla="*/ 220 h 383"/>
                      <a:gd name="T72" fmla="*/ 151 w 404"/>
                      <a:gd name="T73" fmla="*/ 246 h 383"/>
                      <a:gd name="T74" fmla="*/ 186 w 404"/>
                      <a:gd name="T75" fmla="*/ 258 h 383"/>
                      <a:gd name="T76" fmla="*/ 242 w 404"/>
                      <a:gd name="T77" fmla="*/ 244 h 383"/>
                      <a:gd name="T78" fmla="*/ 253 w 404"/>
                      <a:gd name="T79" fmla="*/ 14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4" h="383">
                        <a:moveTo>
                          <a:pt x="291" y="368"/>
                        </a:moveTo>
                        <a:cubicBezTo>
                          <a:pt x="194" y="383"/>
                          <a:pt x="194" y="383"/>
                          <a:pt x="194" y="383"/>
                        </a:cubicBezTo>
                        <a:cubicBezTo>
                          <a:pt x="59" y="334"/>
                          <a:pt x="59" y="334"/>
                          <a:pt x="59" y="334"/>
                        </a:cubicBezTo>
                        <a:cubicBezTo>
                          <a:pt x="0" y="193"/>
                          <a:pt x="0" y="193"/>
                          <a:pt x="0" y="193"/>
                        </a:cubicBezTo>
                        <a:cubicBezTo>
                          <a:pt x="56" y="56"/>
                          <a:pt x="56" y="56"/>
                          <a:pt x="56" y="56"/>
                        </a:cubicBezTo>
                        <a:cubicBezTo>
                          <a:pt x="209" y="0"/>
                          <a:pt x="209" y="0"/>
                          <a:pt x="209" y="0"/>
                        </a:cubicBezTo>
                        <a:cubicBezTo>
                          <a:pt x="350" y="46"/>
                          <a:pt x="350" y="46"/>
                          <a:pt x="350" y="46"/>
                        </a:cubicBezTo>
                        <a:cubicBezTo>
                          <a:pt x="404" y="167"/>
                          <a:pt x="404" y="167"/>
                          <a:pt x="404" y="167"/>
                        </a:cubicBezTo>
                        <a:cubicBezTo>
                          <a:pt x="382" y="247"/>
                          <a:pt x="382" y="247"/>
                          <a:pt x="382" y="247"/>
                        </a:cubicBezTo>
                        <a:cubicBezTo>
                          <a:pt x="311" y="298"/>
                          <a:pt x="311" y="298"/>
                          <a:pt x="311" y="298"/>
                        </a:cubicBezTo>
                        <a:cubicBezTo>
                          <a:pt x="249" y="273"/>
                          <a:pt x="249" y="273"/>
                          <a:pt x="249" y="273"/>
                        </a:cubicBezTo>
                        <a:cubicBezTo>
                          <a:pt x="177" y="298"/>
                          <a:pt x="177" y="298"/>
                          <a:pt x="177" y="298"/>
                        </a:cubicBezTo>
                        <a:cubicBezTo>
                          <a:pt x="115" y="273"/>
                          <a:pt x="115" y="273"/>
                          <a:pt x="115" y="273"/>
                        </a:cubicBezTo>
                        <a:cubicBezTo>
                          <a:pt x="97" y="218"/>
                          <a:pt x="97" y="218"/>
                          <a:pt x="97" y="218"/>
                        </a:cubicBezTo>
                        <a:cubicBezTo>
                          <a:pt x="107" y="170"/>
                          <a:pt x="107" y="170"/>
                          <a:pt x="107" y="170"/>
                        </a:cubicBezTo>
                        <a:cubicBezTo>
                          <a:pt x="151" y="116"/>
                          <a:pt x="151" y="116"/>
                          <a:pt x="151" y="116"/>
                        </a:cubicBezTo>
                        <a:cubicBezTo>
                          <a:pt x="227" y="93"/>
                          <a:pt x="227" y="93"/>
                          <a:pt x="227" y="93"/>
                        </a:cubicBezTo>
                        <a:cubicBezTo>
                          <a:pt x="227" y="93"/>
                          <a:pt x="278" y="106"/>
                          <a:pt x="301" y="114"/>
                        </a:cubicBezTo>
                        <a:cubicBezTo>
                          <a:pt x="287" y="216"/>
                          <a:pt x="287" y="216"/>
                          <a:pt x="287" y="216"/>
                        </a:cubicBezTo>
                        <a:cubicBezTo>
                          <a:pt x="285" y="227"/>
                          <a:pt x="285" y="240"/>
                          <a:pt x="285" y="240"/>
                        </a:cubicBezTo>
                        <a:cubicBezTo>
                          <a:pt x="317" y="254"/>
                          <a:pt x="317" y="254"/>
                          <a:pt x="317" y="254"/>
                        </a:cubicBezTo>
                        <a:cubicBezTo>
                          <a:pt x="352" y="227"/>
                          <a:pt x="352" y="227"/>
                          <a:pt x="352" y="227"/>
                        </a:cubicBezTo>
                        <a:cubicBezTo>
                          <a:pt x="365" y="167"/>
                          <a:pt x="365" y="167"/>
                          <a:pt x="365" y="167"/>
                        </a:cubicBezTo>
                        <a:cubicBezTo>
                          <a:pt x="319" y="75"/>
                          <a:pt x="319" y="75"/>
                          <a:pt x="319" y="75"/>
                        </a:cubicBezTo>
                        <a:cubicBezTo>
                          <a:pt x="210" y="40"/>
                          <a:pt x="210" y="40"/>
                          <a:pt x="210" y="40"/>
                        </a:cubicBezTo>
                        <a:cubicBezTo>
                          <a:pt x="92" y="84"/>
                          <a:pt x="92" y="84"/>
                          <a:pt x="92" y="84"/>
                        </a:cubicBezTo>
                        <a:cubicBezTo>
                          <a:pt x="45" y="194"/>
                          <a:pt x="45" y="194"/>
                          <a:pt x="45" y="194"/>
                        </a:cubicBezTo>
                        <a:cubicBezTo>
                          <a:pt x="89" y="302"/>
                          <a:pt x="89" y="302"/>
                          <a:pt x="89" y="302"/>
                        </a:cubicBezTo>
                        <a:cubicBezTo>
                          <a:pt x="198" y="342"/>
                          <a:pt x="198" y="342"/>
                          <a:pt x="198" y="342"/>
                        </a:cubicBezTo>
                        <a:cubicBezTo>
                          <a:pt x="284" y="327"/>
                          <a:pt x="284" y="327"/>
                          <a:pt x="284" y="327"/>
                        </a:cubicBezTo>
                        <a:lnTo>
                          <a:pt x="291" y="368"/>
                        </a:lnTo>
                        <a:close/>
                        <a:moveTo>
                          <a:pt x="253" y="142"/>
                        </a:moveTo>
                        <a:cubicBezTo>
                          <a:pt x="220" y="134"/>
                          <a:pt x="220" y="134"/>
                          <a:pt x="220" y="134"/>
                        </a:cubicBezTo>
                        <a:cubicBezTo>
                          <a:pt x="172" y="149"/>
                          <a:pt x="172" y="149"/>
                          <a:pt x="172" y="149"/>
                        </a:cubicBezTo>
                        <a:cubicBezTo>
                          <a:pt x="147" y="179"/>
                          <a:pt x="147" y="179"/>
                          <a:pt x="147" y="179"/>
                        </a:cubicBezTo>
                        <a:cubicBezTo>
                          <a:pt x="141" y="220"/>
                          <a:pt x="141" y="220"/>
                          <a:pt x="141" y="220"/>
                        </a:cubicBezTo>
                        <a:cubicBezTo>
                          <a:pt x="151" y="246"/>
                          <a:pt x="151" y="246"/>
                          <a:pt x="151" y="246"/>
                        </a:cubicBezTo>
                        <a:cubicBezTo>
                          <a:pt x="186" y="258"/>
                          <a:pt x="186" y="258"/>
                          <a:pt x="186" y="258"/>
                        </a:cubicBezTo>
                        <a:cubicBezTo>
                          <a:pt x="242" y="244"/>
                          <a:pt x="242" y="244"/>
                          <a:pt x="242" y="244"/>
                        </a:cubicBezTo>
                        <a:lnTo>
                          <a:pt x="253" y="142"/>
                        </a:lnTo>
                        <a:close/>
                      </a:path>
                    </a:pathLst>
                  </a:custGeom>
                  <a:solidFill>
                    <a:srgbClr val="005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36" tIns="34218" rIns="68436" bIns="34218" numCol="1" anchor="t" anchorCtr="0" compatLnSpc="1">
                    <a:prstTxWarp prst="textNoShape">
                      <a:avLst/>
                    </a:prstTxWarp>
                  </a:bodyPr>
                  <a:lstStyle/>
                  <a:p>
                    <a:pPr fontAlgn="base">
                      <a:spcBef>
                        <a:spcPct val="50000"/>
                      </a:spcBef>
                      <a:spcAft>
                        <a:spcPct val="0"/>
                      </a:spcAft>
                    </a:pPr>
                    <a:endParaRPr lang="de-DE" sz="1347">
                      <a:solidFill>
                        <a:srgbClr val="ADBECB"/>
                      </a:solidFill>
                      <a:ea typeface="微软雅黑" panose="020B0503020204020204" pitchFamily="34" charset="-122"/>
                    </a:endParaRPr>
                  </a:p>
                </p:txBody>
              </p:sp>
              <p:sp>
                <p:nvSpPr>
                  <p:cNvPr id="74" name="Freeform 264"/>
                  <p:cNvSpPr>
                    <a:spLocks/>
                  </p:cNvSpPr>
                  <p:nvPr/>
                </p:nvSpPr>
                <p:spPr bwMode="auto">
                  <a:xfrm>
                    <a:off x="13013095" y="2426508"/>
                    <a:ext cx="563563" cy="773113"/>
                  </a:xfrm>
                  <a:custGeom>
                    <a:avLst/>
                    <a:gdLst>
                      <a:gd name="T0" fmla="*/ 54 w 150"/>
                      <a:gd name="T1" fmla="*/ 23 h 205"/>
                      <a:gd name="T2" fmla="*/ 10 w 150"/>
                      <a:gd name="T3" fmla="*/ 77 h 205"/>
                      <a:gd name="T4" fmla="*/ 0 w 150"/>
                      <a:gd name="T5" fmla="*/ 125 h 205"/>
                      <a:gd name="T6" fmla="*/ 18 w 150"/>
                      <a:gd name="T7" fmla="*/ 180 h 205"/>
                      <a:gd name="T8" fmla="*/ 80 w 150"/>
                      <a:gd name="T9" fmla="*/ 205 h 205"/>
                      <a:gd name="T10" fmla="*/ 83 w 150"/>
                      <a:gd name="T11" fmla="*/ 204 h 205"/>
                      <a:gd name="T12" fmla="*/ 97 w 150"/>
                      <a:gd name="T13" fmla="*/ 163 h 205"/>
                      <a:gd name="T14" fmla="*/ 89 w 150"/>
                      <a:gd name="T15" fmla="*/ 165 h 205"/>
                      <a:gd name="T16" fmla="*/ 54 w 150"/>
                      <a:gd name="T17" fmla="*/ 153 h 205"/>
                      <a:gd name="T18" fmla="*/ 44 w 150"/>
                      <a:gd name="T19" fmla="*/ 127 h 205"/>
                      <a:gd name="T20" fmla="*/ 50 w 150"/>
                      <a:gd name="T21" fmla="*/ 86 h 205"/>
                      <a:gd name="T22" fmla="*/ 75 w 150"/>
                      <a:gd name="T23" fmla="*/ 56 h 205"/>
                      <a:gd name="T24" fmla="*/ 123 w 150"/>
                      <a:gd name="T25" fmla="*/ 41 h 205"/>
                      <a:gd name="T26" fmla="*/ 137 w 150"/>
                      <a:gd name="T27" fmla="*/ 44 h 205"/>
                      <a:gd name="T28" fmla="*/ 150 w 150"/>
                      <a:gd name="T29" fmla="*/ 5 h 205"/>
                      <a:gd name="T30" fmla="*/ 130 w 150"/>
                      <a:gd name="T31" fmla="*/ 0 h 205"/>
                      <a:gd name="T32" fmla="*/ 54 w 150"/>
                      <a:gd name="T33" fmla="*/ 2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205">
                        <a:moveTo>
                          <a:pt x="54" y="23"/>
                        </a:moveTo>
                        <a:cubicBezTo>
                          <a:pt x="10" y="77"/>
                          <a:pt x="10" y="77"/>
                          <a:pt x="10" y="77"/>
                        </a:cubicBezTo>
                        <a:cubicBezTo>
                          <a:pt x="0" y="125"/>
                          <a:pt x="0" y="125"/>
                          <a:pt x="0" y="125"/>
                        </a:cubicBezTo>
                        <a:cubicBezTo>
                          <a:pt x="18" y="180"/>
                          <a:pt x="18" y="180"/>
                          <a:pt x="18" y="180"/>
                        </a:cubicBezTo>
                        <a:cubicBezTo>
                          <a:pt x="80" y="205"/>
                          <a:pt x="80" y="205"/>
                          <a:pt x="80" y="205"/>
                        </a:cubicBezTo>
                        <a:cubicBezTo>
                          <a:pt x="83" y="204"/>
                          <a:pt x="83" y="204"/>
                          <a:pt x="83" y="204"/>
                        </a:cubicBezTo>
                        <a:cubicBezTo>
                          <a:pt x="97" y="163"/>
                          <a:pt x="97" y="163"/>
                          <a:pt x="97" y="163"/>
                        </a:cubicBezTo>
                        <a:cubicBezTo>
                          <a:pt x="89" y="165"/>
                          <a:pt x="89" y="165"/>
                          <a:pt x="89" y="165"/>
                        </a:cubicBezTo>
                        <a:cubicBezTo>
                          <a:pt x="54" y="153"/>
                          <a:pt x="54" y="153"/>
                          <a:pt x="54" y="153"/>
                        </a:cubicBezTo>
                        <a:cubicBezTo>
                          <a:pt x="44" y="127"/>
                          <a:pt x="44" y="127"/>
                          <a:pt x="44" y="127"/>
                        </a:cubicBezTo>
                        <a:cubicBezTo>
                          <a:pt x="50" y="86"/>
                          <a:pt x="50" y="86"/>
                          <a:pt x="50" y="86"/>
                        </a:cubicBezTo>
                        <a:cubicBezTo>
                          <a:pt x="75" y="56"/>
                          <a:pt x="75" y="56"/>
                          <a:pt x="75" y="56"/>
                        </a:cubicBezTo>
                        <a:cubicBezTo>
                          <a:pt x="123" y="41"/>
                          <a:pt x="123" y="41"/>
                          <a:pt x="123" y="41"/>
                        </a:cubicBezTo>
                        <a:cubicBezTo>
                          <a:pt x="137" y="44"/>
                          <a:pt x="137" y="44"/>
                          <a:pt x="137" y="44"/>
                        </a:cubicBezTo>
                        <a:cubicBezTo>
                          <a:pt x="150" y="5"/>
                          <a:pt x="150" y="5"/>
                          <a:pt x="150" y="5"/>
                        </a:cubicBezTo>
                        <a:cubicBezTo>
                          <a:pt x="138" y="2"/>
                          <a:pt x="130" y="0"/>
                          <a:pt x="130" y="0"/>
                        </a:cubicBezTo>
                        <a:lnTo>
                          <a:pt x="54" y="23"/>
                        </a:lnTo>
                        <a:close/>
                      </a:path>
                    </a:pathLst>
                  </a:custGeom>
                  <a:solidFill>
                    <a:srgbClr val="00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36" tIns="34218" rIns="68436" bIns="34218" numCol="1" anchor="t" anchorCtr="0" compatLnSpc="1">
                    <a:prstTxWarp prst="textNoShape">
                      <a:avLst/>
                    </a:prstTxWarp>
                  </a:bodyPr>
                  <a:lstStyle/>
                  <a:p>
                    <a:pPr fontAlgn="base">
                      <a:spcBef>
                        <a:spcPct val="50000"/>
                      </a:spcBef>
                      <a:spcAft>
                        <a:spcPct val="0"/>
                      </a:spcAft>
                    </a:pPr>
                    <a:endParaRPr lang="de-DE" sz="1347">
                      <a:solidFill>
                        <a:srgbClr val="ADBECB"/>
                      </a:solidFill>
                      <a:ea typeface="微软雅黑" panose="020B0503020204020204" pitchFamily="34" charset="-122"/>
                    </a:endParaRPr>
                  </a:p>
                </p:txBody>
              </p:sp>
              <p:sp>
                <p:nvSpPr>
                  <p:cNvPr id="75" name="Freeform 265"/>
                  <p:cNvSpPr>
                    <a:spLocks/>
                  </p:cNvSpPr>
                  <p:nvPr/>
                </p:nvSpPr>
                <p:spPr bwMode="auto">
                  <a:xfrm>
                    <a:off x="12647970" y="2077258"/>
                    <a:ext cx="1027113" cy="1389063"/>
                  </a:xfrm>
                  <a:custGeom>
                    <a:avLst/>
                    <a:gdLst>
                      <a:gd name="T0" fmla="*/ 401 w 647"/>
                      <a:gd name="T1" fmla="*/ 785 h 875"/>
                      <a:gd name="T2" fmla="*/ 211 w 647"/>
                      <a:gd name="T3" fmla="*/ 716 h 875"/>
                      <a:gd name="T4" fmla="*/ 107 w 647"/>
                      <a:gd name="T5" fmla="*/ 460 h 875"/>
                      <a:gd name="T6" fmla="*/ 218 w 647"/>
                      <a:gd name="T7" fmla="*/ 199 h 875"/>
                      <a:gd name="T8" fmla="*/ 498 w 647"/>
                      <a:gd name="T9" fmla="*/ 95 h 875"/>
                      <a:gd name="T10" fmla="*/ 619 w 647"/>
                      <a:gd name="T11" fmla="*/ 133 h 875"/>
                      <a:gd name="T12" fmla="*/ 647 w 647"/>
                      <a:gd name="T13" fmla="*/ 50 h 875"/>
                      <a:gd name="T14" fmla="*/ 495 w 647"/>
                      <a:gd name="T15" fmla="*/ 0 h 875"/>
                      <a:gd name="T16" fmla="*/ 133 w 647"/>
                      <a:gd name="T17" fmla="*/ 133 h 875"/>
                      <a:gd name="T18" fmla="*/ 0 w 647"/>
                      <a:gd name="T19" fmla="*/ 458 h 875"/>
                      <a:gd name="T20" fmla="*/ 140 w 647"/>
                      <a:gd name="T21" fmla="*/ 792 h 875"/>
                      <a:gd name="T22" fmla="*/ 370 w 647"/>
                      <a:gd name="T23" fmla="*/ 875 h 875"/>
                      <a:gd name="T24" fmla="*/ 401 w 647"/>
                      <a:gd name="T25" fmla="*/ 785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7" h="875">
                        <a:moveTo>
                          <a:pt x="401" y="785"/>
                        </a:moveTo>
                        <a:lnTo>
                          <a:pt x="211" y="716"/>
                        </a:lnTo>
                        <a:lnTo>
                          <a:pt x="107" y="460"/>
                        </a:lnTo>
                        <a:lnTo>
                          <a:pt x="218" y="199"/>
                        </a:lnTo>
                        <a:lnTo>
                          <a:pt x="498" y="95"/>
                        </a:lnTo>
                        <a:lnTo>
                          <a:pt x="619" y="133"/>
                        </a:lnTo>
                        <a:lnTo>
                          <a:pt x="647" y="50"/>
                        </a:lnTo>
                        <a:lnTo>
                          <a:pt x="495" y="0"/>
                        </a:lnTo>
                        <a:lnTo>
                          <a:pt x="133" y="133"/>
                        </a:lnTo>
                        <a:lnTo>
                          <a:pt x="0" y="458"/>
                        </a:lnTo>
                        <a:lnTo>
                          <a:pt x="140" y="792"/>
                        </a:lnTo>
                        <a:lnTo>
                          <a:pt x="370" y="875"/>
                        </a:lnTo>
                        <a:lnTo>
                          <a:pt x="401" y="785"/>
                        </a:lnTo>
                        <a:close/>
                      </a:path>
                    </a:pathLst>
                  </a:custGeom>
                  <a:solidFill>
                    <a:srgbClr val="00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36" tIns="34218" rIns="68436" bIns="34218" numCol="1" anchor="t" anchorCtr="0" compatLnSpc="1">
                    <a:prstTxWarp prst="textNoShape">
                      <a:avLst/>
                    </a:prstTxWarp>
                  </a:bodyPr>
                  <a:lstStyle/>
                  <a:p>
                    <a:pPr fontAlgn="base">
                      <a:spcBef>
                        <a:spcPct val="50000"/>
                      </a:spcBef>
                      <a:spcAft>
                        <a:spcPct val="0"/>
                      </a:spcAft>
                    </a:pPr>
                    <a:endParaRPr lang="de-DE" sz="1347">
                      <a:solidFill>
                        <a:srgbClr val="ADBECB"/>
                      </a:solidFill>
                      <a:ea typeface="微软雅黑" panose="020B0503020204020204" pitchFamily="34" charset="-122"/>
                    </a:endParaRPr>
                  </a:p>
                </p:txBody>
              </p:sp>
            </p:grpSp>
          </p:grpSp>
          <p:sp>
            <p:nvSpPr>
              <p:cNvPr id="70" name="Right Arrow 68"/>
              <p:cNvSpPr/>
              <p:nvPr/>
            </p:nvSpPr>
            <p:spPr bwMode="auto">
              <a:xfrm rot="5400000" flipH="1">
                <a:off x="759969" y="5271032"/>
                <a:ext cx="454912" cy="505910"/>
              </a:xfrm>
              <a:prstGeom prst="rightArrow">
                <a:avLst/>
              </a:prstGeom>
              <a:solidFill>
                <a:srgbClr val="FFC000"/>
              </a:solidFill>
              <a:ln>
                <a:noFill/>
              </a:ln>
              <a:effectLst/>
              <a:extLst/>
            </p:spPr>
            <p:txBody>
              <a:bodyPr rot="0" spcFirstLastPara="0" vertOverflow="overflow" horzOverflow="overflow" vert="horz" wrap="square" lIns="80874" tIns="40437" rIns="80874" bIns="40437" numCol="1" spcCol="72000" rtlCol="0" fromWordArt="0" anchor="ctr" anchorCtr="0" forceAA="0" compatLnSpc="1">
                <a:prstTxWarp prst="textNoShape">
                  <a:avLst/>
                </a:prstTxWarp>
                <a:noAutofit/>
              </a:bodyPr>
              <a:lstStyle/>
              <a:p>
                <a:pPr algn="ctr">
                  <a:lnSpc>
                    <a:spcPct val="110000"/>
                  </a:lnSpc>
                  <a:spcBef>
                    <a:spcPct val="0"/>
                  </a:spcBef>
                </a:pPr>
                <a:endParaRPr lang="en-GB" sz="1348" b="1" dirty="0" err="1">
                  <a:solidFill>
                    <a:srgbClr val="FFFFFF"/>
                  </a:solidFill>
                  <a:ea typeface="微软雅黑" panose="020B0503020204020204" pitchFamily="34" charset="-122"/>
                </a:endParaRPr>
              </a:p>
            </p:txBody>
          </p:sp>
        </p:grpSp>
        <p:pic>
          <p:nvPicPr>
            <p:cNvPr id="68" name="Picture 66"/>
            <p:cNvPicPr>
              <a:picLocks noChangeAspect="1"/>
            </p:cNvPicPr>
            <p:nvPr/>
          </p:nvPicPr>
          <p:blipFill>
            <a:blip r:embed="rId19"/>
            <a:stretch>
              <a:fillRect/>
            </a:stretch>
          </p:blipFill>
          <p:spPr>
            <a:xfrm flipH="1">
              <a:off x="5297246" y="5036229"/>
              <a:ext cx="1342587" cy="414068"/>
            </a:xfrm>
            <a:prstGeom prst="rect">
              <a:avLst/>
            </a:prstGeom>
          </p:spPr>
        </p:pic>
      </p:grpSp>
    </p:spTree>
    <p:extLst>
      <p:ext uri="{BB962C8B-B14F-4D97-AF65-F5344CB8AC3E}">
        <p14:creationId xmlns:p14="http://schemas.microsoft.com/office/powerpoint/2010/main" val="6075110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720040" y="1412875"/>
            <a:ext cx="10569921" cy="4752975"/>
          </a:xfrm>
        </p:spPr>
        <p:txBody>
          <a:bodyPr/>
          <a:lstStyle/>
          <a:p>
            <a:pPr marL="285750" indent="-285750">
              <a:buFont typeface="Wingdings" panose="05000000000000000000" pitchFamily="2" charset="2"/>
              <a:buChar char="ü"/>
            </a:pP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强大</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实力：</a:t>
            </a:r>
            <a:r>
              <a:rPr lang="zh-CN" altLang="en-US" dirty="0" smtClean="0">
                <a:latin typeface="微软雅黑" panose="020B0503020204020204" pitchFamily="34" charset="-122"/>
                <a:ea typeface="微软雅黑" panose="020B0503020204020204" pitchFamily="34" charset="-122"/>
              </a:rPr>
              <a:t>西</a:t>
            </a:r>
            <a:r>
              <a:rPr lang="zh-CN" altLang="en-US" dirty="0">
                <a:latin typeface="微软雅黑" panose="020B0503020204020204" pitchFamily="34" charset="-122"/>
                <a:ea typeface="微软雅黑" panose="020B0503020204020204" pitchFamily="34" charset="-122"/>
              </a:rPr>
              <a:t>门子自身也是一家世界领先的</a:t>
            </a:r>
            <a:r>
              <a:rPr lang="zh-CN" altLang="en-US" b="1" dirty="0">
                <a:solidFill>
                  <a:srgbClr val="FF0000"/>
                </a:solidFill>
                <a:latin typeface="微软雅黑" panose="020B0503020204020204" pitchFamily="34" charset="-122"/>
                <a:ea typeface="微软雅黑" panose="020B0503020204020204" pitchFamily="34" charset="-122"/>
              </a:rPr>
              <a:t>制造业企业</a:t>
            </a:r>
            <a:r>
              <a:rPr lang="zh-CN" altLang="en-US" dirty="0">
                <a:latin typeface="微软雅黑" panose="020B0503020204020204" pitchFamily="34" charset="-122"/>
                <a:ea typeface="微软雅黑" panose="020B0503020204020204" pitchFamily="34" charset="-122"/>
              </a:rPr>
              <a:t>，专注于</a:t>
            </a:r>
            <a:r>
              <a:rPr lang="zh-CN" altLang="en-US" b="1" dirty="0">
                <a:solidFill>
                  <a:srgbClr val="FF0000"/>
                </a:solidFill>
                <a:latin typeface="微软雅黑" panose="020B0503020204020204" pitchFamily="34" charset="-122"/>
                <a:ea typeface="微软雅黑" panose="020B0503020204020204" pitchFamily="34" charset="-122"/>
              </a:rPr>
              <a:t>电气化、自动化、数字化</a:t>
            </a:r>
            <a:r>
              <a:rPr lang="zh-CN" altLang="en-US" dirty="0">
                <a:latin typeface="微软雅黑" panose="020B0503020204020204" pitchFamily="34" charset="-122"/>
                <a:ea typeface="微软雅黑" panose="020B0503020204020204" pitchFamily="34" charset="-122"/>
              </a:rPr>
              <a:t>领</a:t>
            </a:r>
            <a:r>
              <a:rPr lang="zh-CN" altLang="en-US" dirty="0" smtClean="0">
                <a:latin typeface="微软雅黑" panose="020B0503020204020204" pitchFamily="34" charset="-122"/>
                <a:ea typeface="微软雅黑" panose="020B0503020204020204" pitchFamily="34" charset="-122"/>
              </a:rPr>
              <a:t>域</a:t>
            </a: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共享</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愿景：</a:t>
            </a:r>
            <a:r>
              <a:rPr lang="zh-CN" altLang="en-US" dirty="0" smtClean="0">
                <a:latin typeface="微软雅黑" panose="020B0503020204020204" pitchFamily="34" charset="-122"/>
                <a:ea typeface="微软雅黑" panose="020B0503020204020204" pitchFamily="34" charset="-122"/>
              </a:rPr>
              <a:t>西</a:t>
            </a:r>
            <a:r>
              <a:rPr lang="zh-CN" altLang="en-US" dirty="0">
                <a:latin typeface="微软雅黑" panose="020B0503020204020204" pitchFamily="34" charset="-122"/>
                <a:ea typeface="微软雅黑" panose="020B0503020204020204" pitchFamily="34" charset="-122"/>
              </a:rPr>
              <a:t>门子在德国企业界</a:t>
            </a:r>
            <a:r>
              <a:rPr lang="zh-CN" altLang="en-US" b="1" dirty="0">
                <a:solidFill>
                  <a:srgbClr val="FF0000"/>
                </a:solidFill>
                <a:latin typeface="微软雅黑" panose="020B0503020204020204" pitchFamily="34" charset="-122"/>
                <a:ea typeface="微软雅黑" panose="020B0503020204020204" pitchFamily="34" charset="-122"/>
              </a:rPr>
              <a:t>“工业</a:t>
            </a:r>
            <a:r>
              <a:rPr lang="en-US" altLang="zh-CN" b="1" dirty="0">
                <a:solidFill>
                  <a:srgbClr val="FF0000"/>
                </a:solidFill>
                <a:latin typeface="微软雅黑" panose="020B0503020204020204" pitchFamily="34" charset="-122"/>
                <a:ea typeface="微软雅黑" panose="020B0503020204020204" pitchFamily="34" charset="-122"/>
              </a:rPr>
              <a:t>4.0</a:t>
            </a:r>
            <a:r>
              <a:rPr lang="zh-CN" altLang="en-US" b="1" dirty="0">
                <a:solidFill>
                  <a:srgbClr val="FF0000"/>
                </a:solidFill>
                <a:latin typeface="微软雅黑" panose="020B0503020204020204" pitchFamily="34" charset="-122"/>
                <a:ea typeface="微软雅黑" panose="020B0503020204020204" pitchFamily="34" charset="-122"/>
              </a:rPr>
              <a:t>” 中扮演重要角色</a:t>
            </a:r>
            <a:r>
              <a:rPr lang="zh-CN" altLang="en-US"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也在美国“再工业化战略”中也扮演创新技术合作伙伴和投资商的角</a:t>
            </a:r>
            <a:r>
              <a:rPr lang="zh-CN" altLang="en-US" dirty="0" smtClean="0">
                <a:latin typeface="微软雅黑" panose="020B0503020204020204" pitchFamily="34" charset="-122"/>
                <a:ea typeface="微软雅黑" panose="020B0503020204020204" pitchFamily="34" charset="-122"/>
              </a:rPr>
              <a:t>色</a:t>
            </a: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率先垂</a:t>
            </a: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范</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西</a:t>
            </a:r>
            <a:r>
              <a:rPr lang="zh-CN" altLang="en-US" dirty="0">
                <a:latin typeface="微软雅黑" panose="020B0503020204020204" pitchFamily="34" charset="-122"/>
                <a:ea typeface="微软雅黑" panose="020B0503020204020204" pitchFamily="34" charset="-122"/>
              </a:rPr>
              <a:t>门子自身也通过打造安倍格</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成</a:t>
            </a:r>
            <a:r>
              <a:rPr lang="zh-CN" altLang="en-US" dirty="0" smtClean="0">
                <a:latin typeface="微软雅黑" panose="020B0503020204020204" pitchFamily="34" charset="-122"/>
                <a:ea typeface="微软雅黑" panose="020B0503020204020204" pitchFamily="34" charset="-122"/>
              </a:rPr>
              <a:t>都工业自</a:t>
            </a:r>
            <a:r>
              <a:rPr lang="zh-CN" altLang="en-US" dirty="0">
                <a:latin typeface="微软雅黑" panose="020B0503020204020204" pitchFamily="34" charset="-122"/>
                <a:ea typeface="微软雅黑" panose="020B0503020204020204" pitchFamily="34" charset="-122"/>
              </a:rPr>
              <a:t>动化产品</a:t>
            </a:r>
            <a:r>
              <a:rPr lang="zh-CN" altLang="en-US" b="1" dirty="0">
                <a:solidFill>
                  <a:srgbClr val="FF0000"/>
                </a:solidFill>
                <a:latin typeface="微软雅黑" panose="020B0503020204020204" pitchFamily="34" charset="-122"/>
                <a:ea typeface="微软雅黑" panose="020B0503020204020204" pitchFamily="34" charset="-122"/>
              </a:rPr>
              <a:t>数字化工厂样板</a:t>
            </a:r>
            <a:r>
              <a:rPr lang="zh-CN" altLang="en-US"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率先实践“工业</a:t>
            </a:r>
            <a:r>
              <a:rPr lang="en-US" altLang="zh-CN" dirty="0">
                <a:latin typeface="微软雅黑" panose="020B0503020204020204" pitchFamily="34" charset="-122"/>
                <a:ea typeface="微软雅黑" panose="020B0503020204020204" pitchFamily="34" charset="-122"/>
              </a:rPr>
              <a:t>4.0</a:t>
            </a:r>
            <a:r>
              <a:rPr lang="zh-CN" altLang="en-US" dirty="0" smtClean="0">
                <a:latin typeface="微软雅黑" panose="020B0503020204020204" pitchFamily="34" charset="-122"/>
                <a:ea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落地</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技</a:t>
            </a: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术</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应工业界迈向</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工业</a:t>
            </a:r>
            <a:r>
              <a:rPr lang="en-US" altLang="zh-CN" dirty="0" smtClean="0">
                <a:latin typeface="微软雅黑" panose="020B0503020204020204" pitchFamily="34" charset="-122"/>
                <a:ea typeface="微软雅黑" panose="020B0503020204020204" pitchFamily="34" charset="-122"/>
              </a:rPr>
              <a:t>4.0”</a:t>
            </a:r>
            <a:r>
              <a:rPr lang="zh-CN" altLang="en-US" dirty="0" smtClean="0">
                <a:latin typeface="微软雅黑" panose="020B0503020204020204" pitchFamily="34" charset="-122"/>
                <a:ea typeface="微软雅黑" panose="020B0503020204020204" pitchFamily="34" charset="-122"/>
              </a:rPr>
              <a:t>的要求，西门子提供</a:t>
            </a:r>
            <a:r>
              <a:rPr lang="zh-CN" altLang="en-US" b="1" dirty="0" smtClean="0">
                <a:solidFill>
                  <a:srgbClr val="FF0000"/>
                </a:solidFill>
                <a:latin typeface="微软雅黑" panose="020B0503020204020204" pitchFamily="34" charset="-122"/>
                <a:ea typeface="微软雅黑" panose="020B0503020204020204" pitchFamily="34" charset="-122"/>
              </a:rPr>
              <a:t>数字化企业软件套件</a:t>
            </a:r>
            <a:r>
              <a:rPr lang="zh-CN" altLang="en-US" dirty="0" smtClean="0">
                <a:latin typeface="微软雅黑" panose="020B0503020204020204" pitchFamily="34" charset="-122"/>
                <a:ea typeface="微软雅黑" panose="020B0503020204020204" pitchFamily="34" charset="-122"/>
              </a:rPr>
              <a:t>，引领数字化企业进程</a:t>
            </a: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成功客户：</a:t>
            </a:r>
            <a:r>
              <a:rPr lang="zh-CN" altLang="en-US" dirty="0" smtClean="0">
                <a:latin typeface="微软雅黑" panose="020B0503020204020204" pitchFamily="34" charset="-122"/>
                <a:ea typeface="微软雅黑" panose="020B0503020204020204" pitchFamily="34" charset="-122"/>
              </a:rPr>
              <a:t>西</a:t>
            </a:r>
            <a:r>
              <a:rPr lang="zh-CN" altLang="en-US" dirty="0">
                <a:latin typeface="微软雅黑" panose="020B0503020204020204" pitchFamily="34" charset="-122"/>
                <a:ea typeface="微软雅黑" panose="020B0503020204020204" pitchFamily="34" charset="-122"/>
              </a:rPr>
              <a:t>门</a:t>
            </a:r>
            <a:r>
              <a:rPr lang="zh-CN" altLang="en-US" dirty="0" smtClean="0">
                <a:latin typeface="微软雅黑" panose="020B0503020204020204" pitchFamily="34" charset="-122"/>
                <a:ea typeface="微软雅黑" panose="020B0503020204020204" pitchFamily="34" charset="-122"/>
              </a:rPr>
              <a:t>子工业软件是全球汽车、航空航天、</a:t>
            </a:r>
            <a:r>
              <a:rPr lang="zh-CN" altLang="en-US" dirty="0">
                <a:latin typeface="微软雅黑" panose="020B0503020204020204" pitchFamily="34" charset="-122"/>
                <a:ea typeface="微软雅黑" panose="020B0503020204020204" pitchFamily="34" charset="-122"/>
              </a:rPr>
              <a:t>高科</a:t>
            </a:r>
            <a:r>
              <a:rPr lang="zh-CN" altLang="en-US" dirty="0" smtClean="0">
                <a:latin typeface="微软雅黑" panose="020B0503020204020204" pitchFamily="34" charset="-122"/>
                <a:ea typeface="微软雅黑" panose="020B0503020204020204" pitchFamily="34" charset="-122"/>
              </a:rPr>
              <a:t>技电子、船舶、工业装备、能源电力、消费品、医疗器械等八大行业的长期战略合作伙伴</a:t>
            </a: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endParaRPr lang="en-US" altLang="zh-CN" dirty="0" smtClean="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ü"/>
            </a:pPr>
            <a:r>
              <a:rPr lang="zh-CN" altLang="en-US" b="1" dirty="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本</a:t>
            </a:r>
            <a:r>
              <a:rPr lang="zh-CN" altLang="en-US" b="1" dirty="0" smtClean="0">
                <a:solidFill>
                  <a:schemeClr val="accent5">
                    <a:lumMod val="60000"/>
                    <a:lumOff val="40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土研发：</a:t>
            </a:r>
            <a:r>
              <a:rPr lang="zh-CN" altLang="en-US" dirty="0" smtClean="0">
                <a:latin typeface="微软雅黑" panose="020B0503020204020204" pitchFamily="34" charset="-122"/>
                <a:ea typeface="微软雅黑" panose="020B0503020204020204" pitchFamily="34" charset="-122"/>
              </a:rPr>
              <a:t>西</a:t>
            </a:r>
            <a:r>
              <a:rPr lang="zh-CN" altLang="en-US" dirty="0">
                <a:latin typeface="微软雅黑" panose="020B0503020204020204" pitchFamily="34" charset="-122"/>
                <a:ea typeface="微软雅黑" panose="020B0503020204020204" pitchFamily="34" charset="-122"/>
              </a:rPr>
              <a:t>门</a:t>
            </a:r>
            <a:r>
              <a:rPr lang="zh-CN" altLang="en-US" dirty="0" smtClean="0">
                <a:latin typeface="微软雅黑" panose="020B0503020204020204" pitchFamily="34" charset="-122"/>
                <a:ea typeface="微软雅黑" panose="020B0503020204020204" pitchFamily="34" charset="-122"/>
              </a:rPr>
              <a:t>子在中国运营超过</a:t>
            </a:r>
            <a:r>
              <a:rPr lang="en-US" altLang="zh-CN" dirty="0" smtClean="0">
                <a:latin typeface="微软雅黑" panose="020B0503020204020204" pitchFamily="34" charset="-122"/>
                <a:ea typeface="微软雅黑" panose="020B0503020204020204" pitchFamily="34" charset="-122"/>
              </a:rPr>
              <a:t>140</a:t>
            </a:r>
            <a:r>
              <a:rPr lang="zh-CN" altLang="en-US" dirty="0" smtClean="0">
                <a:latin typeface="微软雅黑" panose="020B0503020204020204" pitchFamily="34" charset="-122"/>
                <a:ea typeface="微软雅黑" panose="020B0503020204020204" pitchFamily="34" charset="-122"/>
              </a:rPr>
              <a:t>年历史，其工业软件部门在中国也超过</a:t>
            </a:r>
            <a:r>
              <a:rPr lang="en-US" altLang="zh-CN" dirty="0" smtClean="0">
                <a:latin typeface="微软雅黑" panose="020B0503020204020204" pitchFamily="34" charset="-122"/>
                <a:ea typeface="微软雅黑" panose="020B0503020204020204" pitchFamily="34" charset="-122"/>
              </a:rPr>
              <a:t>30</a:t>
            </a:r>
            <a:r>
              <a:rPr lang="zh-CN" altLang="en-US" dirty="0" smtClean="0">
                <a:latin typeface="微软雅黑" panose="020B0503020204020204" pitchFamily="34" charset="-122"/>
                <a:ea typeface="微软雅黑" panose="020B0503020204020204" pitchFamily="34" charset="-122"/>
              </a:rPr>
              <a:t>年历史，持续加大</a:t>
            </a:r>
            <a:r>
              <a:rPr lang="zh-CN" altLang="en-US" b="1" dirty="0">
                <a:solidFill>
                  <a:srgbClr val="FF0000"/>
                </a:solidFill>
                <a:latin typeface="微软雅黑" panose="020B0503020204020204" pitchFamily="34" charset="-122"/>
                <a:ea typeface="微软雅黑" panose="020B0503020204020204" pitchFamily="34" charset="-122"/>
              </a:rPr>
              <a:t>本地支持力量</a:t>
            </a:r>
            <a:r>
              <a:rPr lang="zh-CN" altLang="en-US" dirty="0" smtClean="0">
                <a:latin typeface="微软雅黑" panose="020B0503020204020204" pitchFamily="34" charset="-122"/>
                <a:ea typeface="微软雅黑" panose="020B0503020204020204" pitchFamily="34" charset="-122"/>
              </a:rPr>
              <a:t>（上海</a:t>
            </a:r>
            <a:r>
              <a:rPr lang="zh-CN" altLang="en-US" dirty="0">
                <a:latin typeface="微软雅黑" panose="020B0503020204020204" pitchFamily="34" charset="-122"/>
                <a:ea typeface="微软雅黑" panose="020B0503020204020204" pitchFamily="34" charset="-122"/>
              </a:rPr>
              <a:t>研</a:t>
            </a:r>
            <a:r>
              <a:rPr lang="zh-CN" altLang="en-US" dirty="0" smtClean="0">
                <a:latin typeface="微软雅黑" panose="020B0503020204020204" pitchFamily="34" charset="-122"/>
                <a:ea typeface="微软雅黑" panose="020B0503020204020204" pitchFamily="34" charset="-122"/>
              </a:rPr>
              <a:t>发中心和众多行业解决方案合作伙伴）</a:t>
            </a:r>
            <a:endParaRPr lang="en-US" altLang="zh-CN" dirty="0" smtClean="0">
              <a:latin typeface="微软雅黑" panose="020B0503020204020204" pitchFamily="34" charset="-122"/>
              <a:ea typeface="微软雅黑" panose="020B0503020204020204" pitchFamily="34" charset="-122"/>
            </a:endParaRPr>
          </a:p>
        </p:txBody>
      </p:sp>
      <p:sp>
        <p:nvSpPr>
          <p:cNvPr id="8" name="Rounded Rectangle 7"/>
          <p:cNvSpPr/>
          <p:nvPr/>
        </p:nvSpPr>
        <p:spPr bwMode="auto">
          <a:xfrm>
            <a:off x="720040" y="5778231"/>
            <a:ext cx="10774310" cy="476654"/>
          </a:xfrm>
          <a:prstGeom prst="roundRect">
            <a:avLst/>
          </a:prstGeom>
          <a:solidFill>
            <a:schemeClr val="accent5">
              <a:lumMod val="60000"/>
              <a:lumOff val="40000"/>
            </a:schemeClr>
          </a:solidFill>
          <a:ln/>
          <a:extLst/>
        </p:spPr>
        <p:style>
          <a:lnRef idx="0">
            <a:schemeClr val="accent5"/>
          </a:lnRef>
          <a:fillRef idx="1002">
            <a:schemeClr val="dk1"/>
          </a:fillRef>
          <a:effectRef idx="3">
            <a:schemeClr val="accent5"/>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zh-CN" altLang="en-US" b="1" dirty="0">
                <a:solidFill>
                  <a:schemeClr val="bg1"/>
                </a:solidFill>
                <a:latin typeface="微软雅黑" panose="020B0503020204020204" pitchFamily="34" charset="-122"/>
                <a:ea typeface="微软雅黑" panose="020B0503020204020204" pitchFamily="34" charset="-122"/>
              </a:rPr>
              <a:t>西门</a:t>
            </a:r>
            <a:r>
              <a:rPr lang="zh-CN" altLang="en-US" b="1" dirty="0" smtClean="0">
                <a:solidFill>
                  <a:schemeClr val="bg1"/>
                </a:solidFill>
                <a:latin typeface="微软雅黑" panose="020B0503020204020204" pitchFamily="34" charset="-122"/>
                <a:ea typeface="微软雅黑" panose="020B0503020204020204" pitchFamily="34" charset="-122"/>
              </a:rPr>
              <a:t>子和领先企业战略</a:t>
            </a:r>
            <a:r>
              <a:rPr lang="zh-CN" altLang="en-US" b="1" dirty="0" smtClean="0">
                <a:solidFill>
                  <a:srgbClr val="FF0000"/>
                </a:solidFill>
                <a:latin typeface="微软雅黑" panose="020B0503020204020204" pitchFamily="34" charset="-122"/>
                <a:ea typeface="微软雅黑" panose="020B0503020204020204" pitchFamily="34" charset="-122"/>
              </a:rPr>
              <a:t>合作</a:t>
            </a:r>
            <a:r>
              <a:rPr lang="zh-CN" altLang="en-US" b="1" dirty="0" smtClean="0">
                <a:solidFill>
                  <a:schemeClr val="bg1"/>
                </a:solidFill>
                <a:latin typeface="微软雅黑" panose="020B0503020204020204" pitchFamily="34" charset="-122"/>
                <a:ea typeface="微软雅黑" panose="020B0503020204020204" pitchFamily="34" charset="-122"/>
              </a:rPr>
              <a:t>，高起点</a:t>
            </a:r>
            <a:r>
              <a:rPr lang="zh-CN" altLang="en-US" b="1" dirty="0" smtClean="0">
                <a:solidFill>
                  <a:srgbClr val="FF0000"/>
                </a:solidFill>
                <a:latin typeface="微软雅黑" panose="020B0503020204020204" pitchFamily="34" charset="-122"/>
                <a:ea typeface="微软雅黑" panose="020B0503020204020204" pitchFamily="34" charset="-122"/>
              </a:rPr>
              <a:t>规划</a:t>
            </a:r>
            <a:r>
              <a:rPr lang="zh-CN" altLang="en-US" b="1" dirty="0" smtClean="0">
                <a:solidFill>
                  <a:schemeClr val="bg1"/>
                </a:solidFill>
                <a:latin typeface="微软雅黑" panose="020B0503020204020204" pitchFamily="34" charset="-122"/>
                <a:ea typeface="微软雅黑" panose="020B0503020204020204" pitchFamily="34" charset="-122"/>
              </a:rPr>
              <a:t>，脚踏实地</a:t>
            </a:r>
            <a:r>
              <a:rPr lang="zh-CN" altLang="en-US" b="1" dirty="0" smtClean="0">
                <a:solidFill>
                  <a:srgbClr val="FF0000"/>
                </a:solidFill>
                <a:latin typeface="微软雅黑" panose="020B0503020204020204" pitchFamily="34" charset="-122"/>
                <a:ea typeface="微软雅黑" panose="020B0503020204020204" pitchFamily="34" charset="-122"/>
              </a:rPr>
              <a:t>实施</a:t>
            </a:r>
            <a:r>
              <a:rPr lang="zh-CN" altLang="en-US" b="1" dirty="0" smtClean="0">
                <a:solidFill>
                  <a:schemeClr val="bg1"/>
                </a:solidFill>
                <a:latin typeface="微软雅黑" panose="020B0503020204020204" pitchFamily="34" charset="-122"/>
                <a:ea typeface="微软雅黑" panose="020B0503020204020204" pitchFamily="34" charset="-122"/>
              </a:rPr>
              <a:t>，共同</a:t>
            </a:r>
            <a:r>
              <a:rPr lang="zh-CN" altLang="en-US" b="1" dirty="0" smtClean="0">
                <a:solidFill>
                  <a:srgbClr val="FF0000"/>
                </a:solidFill>
                <a:latin typeface="微软雅黑" panose="020B0503020204020204" pitchFamily="34" charset="-122"/>
                <a:ea typeface="微软雅黑" panose="020B0503020204020204" pitchFamily="34" charset="-122"/>
              </a:rPr>
              <a:t>引领</a:t>
            </a:r>
            <a:r>
              <a:rPr lang="zh-CN" altLang="en-US" b="1" dirty="0">
                <a:solidFill>
                  <a:schemeClr val="bg1"/>
                </a:solidFill>
                <a:latin typeface="微软雅黑" panose="020B0503020204020204" pitchFamily="34" charset="-122"/>
                <a:ea typeface="微软雅黑" panose="020B0503020204020204" pitchFamily="34" charset="-122"/>
              </a:rPr>
              <a:t>制</a:t>
            </a:r>
            <a:r>
              <a:rPr lang="zh-CN" altLang="en-US" b="1" dirty="0" smtClean="0">
                <a:solidFill>
                  <a:schemeClr val="bg1"/>
                </a:solidFill>
                <a:latin typeface="微软雅黑" panose="020B0503020204020204" pitchFamily="34" charset="-122"/>
                <a:ea typeface="微软雅黑" panose="020B0503020204020204" pitchFamily="34" charset="-122"/>
              </a:rPr>
              <a:t>造业迈入“工业</a:t>
            </a:r>
            <a:r>
              <a:rPr lang="en-US" altLang="zh-CN" b="1" dirty="0" smtClean="0">
                <a:solidFill>
                  <a:schemeClr val="bg1"/>
                </a:solidFill>
                <a:latin typeface="微软雅黑" panose="020B0503020204020204" pitchFamily="34" charset="-122"/>
                <a:ea typeface="微软雅黑" panose="020B0503020204020204" pitchFamily="34" charset="-122"/>
              </a:rPr>
              <a:t>4.0</a:t>
            </a:r>
            <a:r>
              <a:rPr lang="zh-CN" altLang="en-US" b="1" dirty="0" smtClean="0">
                <a:solidFill>
                  <a:schemeClr val="bg1"/>
                </a:solidFill>
                <a:latin typeface="微软雅黑" panose="020B0503020204020204" pitchFamily="34" charset="-122"/>
                <a:ea typeface="微软雅黑" panose="020B0503020204020204" pitchFamily="34" charset="-122"/>
              </a:rPr>
              <a:t>”时代</a:t>
            </a:r>
            <a:endParaRPr lang="en-US" sz="1800" b="1" dirty="0" smtClean="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26329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p:cNvSpPr>
            <a:spLocks noGrp="1"/>
          </p:cNvSpPr>
          <p:nvPr>
            <p:ph type="ctrTitle"/>
          </p:nvPr>
        </p:nvSpPr>
        <p:spPr>
          <a:xfrm>
            <a:off x="330373" y="3284538"/>
            <a:ext cx="11863742" cy="862012"/>
          </a:xfrm>
          <a:solidFill>
            <a:srgbClr val="233746">
              <a:alpha val="65097"/>
            </a:srgbClr>
          </a:solidFill>
        </p:spPr>
        <p:txBody>
          <a:bodyPr/>
          <a:lstStyle/>
          <a:p>
            <a:pPr eaLnBrk="1" hangingPunct="1"/>
            <a:r>
              <a:rPr lang="zh-CN" altLang="en-US"/>
              <a:t>谢谢！</a:t>
            </a:r>
            <a:r>
              <a:rPr lang="en-US" altLang="zh-CN"/>
              <a:t>  </a:t>
            </a:r>
          </a:p>
        </p:txBody>
      </p:sp>
      <p:sp>
        <p:nvSpPr>
          <p:cNvPr id="14" name="Title 3"/>
          <p:cNvSpPr txBox="1">
            <a:spLocks/>
          </p:cNvSpPr>
          <p:nvPr/>
        </p:nvSpPr>
        <p:spPr bwMode="gray">
          <a:xfrm>
            <a:off x="298607" y="4154488"/>
            <a:ext cx="11895508" cy="562238"/>
          </a:xfrm>
          <a:prstGeom prst="rect">
            <a:avLst/>
          </a:prstGeom>
          <a:solidFill>
            <a:srgbClr val="879BAA"/>
          </a:solidFill>
          <a:ln w="9525">
            <a:noFill/>
            <a:miter lim="800000"/>
            <a:headEnd/>
            <a:tailEnd/>
          </a:ln>
        </p:spPr>
        <p:txBody>
          <a:bodyPr lIns="270000" tIns="144000" rIns="370800" bIns="108000">
            <a:spAutoFit/>
          </a:bodyPr>
          <a:lstStyle/>
          <a:p>
            <a:pPr>
              <a:spcBef>
                <a:spcPct val="0"/>
              </a:spcBef>
            </a:pPr>
            <a:r>
              <a:rPr lang="en-US" altLang="zh-CN" sz="2000" b="1" dirty="0">
                <a:solidFill>
                  <a:srgbClr val="FFFFFF"/>
                </a:solidFill>
                <a:ea typeface="ＭＳ Ｐゴシック" pitchFamily="34" charset="-128"/>
                <a:cs typeface="Arial" pitchFamily="34" charset="0"/>
              </a:rPr>
              <a:t>Smarter decisions, better products. </a:t>
            </a:r>
            <a:endParaRPr lang="zh-CN" altLang="en-US" sz="2000" b="1" dirty="0">
              <a:solidFill>
                <a:srgbClr val="FFFFFF"/>
              </a:solidFill>
              <a:ea typeface="宋体" pitchFamily="2" charset="-122"/>
              <a:cs typeface="Arial" pitchFamily="34" charset="0"/>
            </a:endParaRPr>
          </a:p>
        </p:txBody>
      </p:sp>
    </p:spTree>
    <p:extLst>
      <p:ext uri="{BB962C8B-B14F-4D97-AF65-F5344CB8AC3E}">
        <p14:creationId xmlns:p14="http://schemas.microsoft.com/office/powerpoint/2010/main" val="381056975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8350" cy="1268413"/>
          </a:xfrm>
        </p:spPr>
        <p:txBody>
          <a:bodyPr/>
          <a:lstStyle/>
          <a:p>
            <a:pPr defTabSz="912813"/>
            <a:r>
              <a:rPr lang="zh-CN" altLang="en-US" dirty="0" smtClean="0">
                <a:latin typeface="宋体" panose="02010600030101010101" pitchFamily="2" charset="-122"/>
                <a:ea typeface="宋体" panose="02010600030101010101" pitchFamily="2" charset="-122"/>
                <a:cs typeface="Arial" charset="0"/>
              </a:rPr>
              <a:t>西门子业务集团架构</a:t>
            </a:r>
            <a:br>
              <a:rPr lang="zh-CN" altLang="en-US" dirty="0" smtClean="0">
                <a:latin typeface="宋体" panose="02010600030101010101" pitchFamily="2" charset="-122"/>
                <a:ea typeface="宋体" panose="02010600030101010101" pitchFamily="2" charset="-122"/>
                <a:cs typeface="Arial" charset="0"/>
              </a:rPr>
            </a:br>
            <a:r>
              <a:rPr lang="zh-CN" altLang="en-US" b="0" dirty="0" smtClean="0">
                <a:latin typeface="宋体" panose="02010600030101010101" pitchFamily="2" charset="-122"/>
                <a:ea typeface="宋体" panose="02010600030101010101" pitchFamily="2" charset="-122"/>
                <a:cs typeface="Arial" charset="0"/>
              </a:rPr>
              <a:t>扁平的、市场驱动的组织架构</a:t>
            </a:r>
            <a:endParaRPr lang="en-US" altLang="zh-CN" b="0" dirty="0" smtClean="0">
              <a:latin typeface="宋体" panose="02010600030101010101" pitchFamily="2" charset="-122"/>
              <a:ea typeface="宋体" panose="02010600030101010101" pitchFamily="2" charset="-122"/>
              <a:cs typeface="Arial" charset="0"/>
            </a:endParaRPr>
          </a:p>
        </p:txBody>
      </p:sp>
      <p:sp>
        <p:nvSpPr>
          <p:cNvPr id="3" name="Rectangle 2"/>
          <p:cNvSpPr/>
          <p:nvPr/>
        </p:nvSpPr>
        <p:spPr bwMode="auto">
          <a:xfrm>
            <a:off x="338139" y="1413925"/>
            <a:ext cx="11377612" cy="4750501"/>
          </a:xfrm>
          <a:prstGeom prst="rect">
            <a:avLst/>
          </a:prstGeom>
          <a:gradFill flip="none" rotWithShape="1">
            <a:gsLst>
              <a:gs pos="100000">
                <a:srgbClr val="AFD7E1"/>
              </a:gs>
              <a:gs pos="58000">
                <a:schemeClr val="bg1"/>
              </a:gs>
            </a:gsLst>
            <a:path path="circle">
              <a:fillToRect l="50000" t="50000" r="50000" b="50000"/>
            </a:path>
            <a:tileRect/>
          </a:gradFill>
          <a:ln>
            <a:noFill/>
          </a:ln>
          <a:effectLst/>
          <a:extLst/>
        </p:spPr>
        <p:txBody>
          <a:bodyPr lIns="107944" tIns="53972" rIns="107944" bIns="53972" spcCol="72000" anchor="ctr"/>
          <a:lstStyle/>
          <a:p>
            <a:pPr algn="ctr" fontAlgn="auto">
              <a:lnSpc>
                <a:spcPct val="110000"/>
              </a:lnSpc>
              <a:spcAft>
                <a:spcPts val="0"/>
              </a:spcAft>
              <a:buFont typeface="Wingdings" charset="0"/>
              <a:buNone/>
              <a:defRPr/>
            </a:pPr>
            <a:endParaRPr lang="en-US" sz="1799" b="1" dirty="0" err="1">
              <a:solidFill>
                <a:srgbClr val="000000"/>
              </a:solidFill>
              <a:latin typeface="宋体" panose="02010600030101010101" pitchFamily="2" charset="-122"/>
              <a:ea typeface="宋体" panose="02010600030101010101" pitchFamily="2" charset="-122"/>
            </a:endParaRPr>
          </a:p>
        </p:txBody>
      </p:sp>
      <p:sp>
        <p:nvSpPr>
          <p:cNvPr id="4" name="Rectangle 21"/>
          <p:cNvSpPr>
            <a:spLocks noChangeArrowheads="1"/>
          </p:cNvSpPr>
          <p:nvPr/>
        </p:nvSpPr>
        <p:spPr bwMode="auto">
          <a:xfrm>
            <a:off x="2728515" y="4677852"/>
            <a:ext cx="1656625" cy="808038"/>
          </a:xfrm>
          <a:prstGeom prst="rect">
            <a:avLst/>
          </a:prstGeom>
          <a:solidFill>
            <a:schemeClr val="bg1"/>
          </a:solidFill>
          <a:ln w="9525">
            <a:solidFill>
              <a:schemeClr val="accent1"/>
            </a:solidFill>
            <a:miter lim="800000"/>
            <a:headEnd/>
            <a:tailEnd/>
          </a:ln>
          <a:effectLst/>
        </p:spPr>
        <p:txBody>
          <a:bodyPr lIns="35981" tIns="71963" rIns="35981" bIns="0"/>
          <a:lstStyle/>
          <a:p>
            <a:pPr algn="ctr">
              <a:spcAft>
                <a:spcPts val="300"/>
              </a:spcAft>
            </a:pPr>
            <a:r>
              <a:rPr lang="zh-CN" altLang="en-US" sz="1000" b="1" dirty="0">
                <a:solidFill>
                  <a:srgbClr val="000000"/>
                </a:solidFill>
                <a:latin typeface="宋体" panose="02010600030101010101" pitchFamily="2" charset="-122"/>
                <a:ea typeface="宋体" panose="02010600030101010101" pitchFamily="2" charset="-122"/>
              </a:rPr>
              <a:t>发电服</a:t>
            </a:r>
            <a:r>
              <a:rPr lang="zh-CN" altLang="en-US" sz="1000" b="1" dirty="0" smtClean="0">
                <a:solidFill>
                  <a:srgbClr val="000000"/>
                </a:solidFill>
                <a:latin typeface="宋体" panose="02010600030101010101" pitchFamily="2" charset="-122"/>
                <a:ea typeface="宋体" panose="02010600030101010101" pitchFamily="2" charset="-122"/>
              </a:rPr>
              <a:t>务集团</a:t>
            </a:r>
            <a:endParaRPr lang="zh-CN" altLang="en-US" sz="1000" dirty="0">
              <a:solidFill>
                <a:srgbClr val="000000"/>
              </a:solidFill>
              <a:latin typeface="宋体" panose="02010600030101010101" pitchFamily="2" charset="-122"/>
              <a:ea typeface="宋体" panose="02010600030101010101" pitchFamily="2" charset="-122"/>
            </a:endParaRPr>
          </a:p>
        </p:txBody>
      </p:sp>
      <p:sp>
        <p:nvSpPr>
          <p:cNvPr id="5" name="Text Box 11"/>
          <p:cNvSpPr txBox="1">
            <a:spLocks noChangeArrowheads="1"/>
          </p:cNvSpPr>
          <p:nvPr/>
        </p:nvSpPr>
        <p:spPr bwMode="auto">
          <a:xfrm>
            <a:off x="915669" y="3998745"/>
            <a:ext cx="1231106" cy="492443"/>
          </a:xfrm>
          <a:prstGeom prst="rect">
            <a:avLst/>
          </a:prstGeom>
          <a:noFill/>
          <a:ln w="9525" algn="ctr">
            <a:noFill/>
            <a:miter lim="800000"/>
            <a:headEnd/>
            <a:tailEnd/>
          </a:ln>
        </p:spPr>
        <p:txBody>
          <a:bodyPr wrap="none" lIns="0" tIns="0" rIns="0" bIns="0">
            <a:spAutoFit/>
          </a:bodyPr>
          <a:lstStyle/>
          <a:p>
            <a:pPr algn="ctr">
              <a:spcBef>
                <a:spcPts val="500"/>
              </a:spcBef>
              <a:spcAft>
                <a:spcPts val="500"/>
              </a:spcAft>
            </a:pPr>
            <a:r>
              <a:rPr lang="zh-CN" altLang="en-US" sz="1600" b="1" dirty="0" smtClean="0">
                <a:solidFill>
                  <a:srgbClr val="006487"/>
                </a:solidFill>
                <a:latin typeface="宋体" panose="02010600030101010101" pitchFamily="2" charset="-122"/>
                <a:ea typeface="宋体" panose="02010600030101010101" pitchFamily="2" charset="-122"/>
                <a:cs typeface="Times New Roman" panose="02020603050405020304" pitchFamily="18" charset="0"/>
              </a:rPr>
              <a:t>业务集团</a:t>
            </a:r>
            <a:r>
              <a:rPr lang="zh-CN" altLang="en-US" sz="1600" b="1" dirty="0">
                <a:solidFill>
                  <a:srgbClr val="006487"/>
                </a:solidFill>
                <a:latin typeface="宋体" panose="02010600030101010101" pitchFamily="2" charset="-122"/>
                <a:ea typeface="宋体" panose="02010600030101010101" pitchFamily="2" charset="-122"/>
                <a:cs typeface="Times New Roman" panose="02020603050405020304" pitchFamily="18" charset="0"/>
              </a:rPr>
              <a:t/>
            </a:r>
            <a:br>
              <a:rPr lang="zh-CN" altLang="en-US" sz="1600" b="1" dirty="0">
                <a:solidFill>
                  <a:srgbClr val="006487"/>
                </a:solidFill>
                <a:latin typeface="宋体" panose="02010600030101010101" pitchFamily="2" charset="-122"/>
                <a:ea typeface="宋体" panose="02010600030101010101" pitchFamily="2" charset="-122"/>
                <a:cs typeface="Times New Roman" panose="02020603050405020304" pitchFamily="18" charset="0"/>
              </a:rPr>
            </a:br>
            <a:r>
              <a:rPr lang="zh-CN" altLang="en-US" sz="1600" dirty="0">
                <a:solidFill>
                  <a:srgbClr val="006487"/>
                </a:solidFill>
                <a:latin typeface="宋体" panose="02010600030101010101" pitchFamily="2" charset="-122"/>
                <a:ea typeface="宋体" panose="02010600030101010101" pitchFamily="2" charset="-122"/>
                <a:cs typeface="Times New Roman" panose="02020603050405020304" pitchFamily="18" charset="0"/>
              </a:rPr>
              <a:t>（全球</a:t>
            </a:r>
            <a:r>
              <a:rPr lang="en-US" altLang="zh-CN" sz="1600" dirty="0">
                <a:solidFill>
                  <a:srgbClr val="006487"/>
                </a:solidFill>
                <a:latin typeface="宋体" panose="02010600030101010101" pitchFamily="2" charset="-122"/>
                <a:ea typeface="宋体" panose="02010600030101010101" pitchFamily="2" charset="-122"/>
                <a:cs typeface="Times New Roman" panose="02020603050405020304" pitchFamily="18" charset="0"/>
              </a:rPr>
              <a:t> P&amp;L</a:t>
            </a:r>
            <a:r>
              <a:rPr lang="zh-CN" altLang="en-US" sz="1600" dirty="0">
                <a:solidFill>
                  <a:srgbClr val="006487"/>
                </a:solidFill>
                <a:latin typeface="宋体" panose="02010600030101010101" pitchFamily="2" charset="-122"/>
                <a:ea typeface="宋体" panose="02010600030101010101" pitchFamily="2" charset="-122"/>
                <a:cs typeface="Times New Roman" panose="02020603050405020304" pitchFamily="18" charset="0"/>
              </a:rPr>
              <a:t>）</a:t>
            </a:r>
          </a:p>
        </p:txBody>
      </p:sp>
      <p:sp>
        <p:nvSpPr>
          <p:cNvPr id="6" name="Rectangle 15"/>
          <p:cNvSpPr>
            <a:spLocks noChangeArrowheads="1"/>
          </p:cNvSpPr>
          <p:nvPr/>
        </p:nvSpPr>
        <p:spPr bwMode="gray">
          <a:xfrm>
            <a:off x="1444920" y="6180140"/>
            <a:ext cx="7716091" cy="138499"/>
          </a:xfrm>
          <a:prstGeom prst="rect">
            <a:avLst/>
          </a:prstGeom>
          <a:noFill/>
          <a:ln w="12700">
            <a:noFill/>
            <a:miter lim="800000"/>
            <a:headEnd/>
            <a:tailEnd/>
          </a:ln>
        </p:spPr>
        <p:txBody>
          <a:bodyPr lIns="0" tIns="0" rIns="0" bIns="0" anchor="b">
            <a:spAutoFit/>
          </a:bodyPr>
          <a:lstStyle/>
          <a:p>
            <a:pPr defTabSz="760413" eaLnBrk="0" hangingPunct="0">
              <a:tabLst>
                <a:tab pos="179388" algn="l"/>
                <a:tab pos="3806825" algn="l"/>
                <a:tab pos="3908425" algn="l"/>
                <a:tab pos="4949825" algn="l"/>
              </a:tabLst>
            </a:pPr>
            <a:r>
              <a:rPr lang="en-US" altLang="zh-CN" sz="900">
                <a:solidFill>
                  <a:srgbClr val="000000"/>
                </a:solidFill>
                <a:latin typeface="宋体" panose="02010600030101010101" pitchFamily="2" charset="-122"/>
                <a:ea typeface="宋体" panose="02010600030101010101" pitchFamily="2" charset="-122"/>
              </a:rPr>
              <a:t>1) </a:t>
            </a:r>
            <a:r>
              <a:rPr lang="zh-CN" altLang="en-US" sz="900" dirty="0">
                <a:solidFill>
                  <a:srgbClr val="000000"/>
                </a:solidFill>
                <a:latin typeface="宋体" panose="02010600030101010101" pitchFamily="2" charset="-122"/>
                <a:ea typeface="宋体" panose="02010600030101010101" pitchFamily="2" charset="-122"/>
              </a:rPr>
              <a:t>独立国家联合体</a:t>
            </a:r>
          </a:p>
        </p:txBody>
      </p:sp>
      <p:sp>
        <p:nvSpPr>
          <p:cNvPr id="7" name="Rectangle 25"/>
          <p:cNvSpPr>
            <a:spLocks noChangeArrowheads="1"/>
          </p:cNvSpPr>
          <p:nvPr/>
        </p:nvSpPr>
        <p:spPr bwMode="auto">
          <a:xfrm>
            <a:off x="2739635" y="5614479"/>
            <a:ext cx="7824098" cy="550863"/>
          </a:xfrm>
          <a:prstGeom prst="rect">
            <a:avLst/>
          </a:prstGeom>
          <a:solidFill>
            <a:schemeClr val="accent5"/>
          </a:solidFill>
          <a:ln w="9525">
            <a:solidFill>
              <a:schemeClr val="accent1"/>
            </a:solidFill>
            <a:miter lim="800000"/>
            <a:headEnd/>
            <a:tailEnd/>
          </a:ln>
        </p:spPr>
        <p:txBody>
          <a:bodyPr lIns="0" tIns="0" rIns="0" bIns="0" anchor="ctr"/>
          <a:lstStyle/>
          <a:p>
            <a:pPr algn="ctr">
              <a:spcAft>
                <a:spcPts val="300"/>
              </a:spcAft>
            </a:pPr>
            <a:r>
              <a:rPr lang="zh-CN" altLang="en-US" sz="1500" b="1">
                <a:solidFill>
                  <a:srgbClr val="FFFFFF"/>
                </a:solidFill>
                <a:latin typeface="宋体" panose="02010600030101010101" pitchFamily="2" charset="-122"/>
                <a:ea typeface="宋体" panose="02010600030101010101" pitchFamily="2" charset="-122"/>
              </a:rPr>
              <a:t>管理委员会</a:t>
            </a:r>
          </a:p>
        </p:txBody>
      </p:sp>
      <p:grpSp>
        <p:nvGrpSpPr>
          <p:cNvPr id="87049" name="Gruppieren 128"/>
          <p:cNvGrpSpPr>
            <a:grpSpLocks/>
          </p:cNvGrpSpPr>
          <p:nvPr/>
        </p:nvGrpSpPr>
        <p:grpSpPr bwMode="auto">
          <a:xfrm>
            <a:off x="2739635" y="1423479"/>
            <a:ext cx="7824098" cy="854075"/>
            <a:chOff x="1937665" y="3828498"/>
            <a:chExt cx="5530693" cy="374308"/>
          </a:xfrm>
        </p:grpSpPr>
        <p:sp>
          <p:nvSpPr>
            <p:cNvPr id="9" name="Gleichschenkliges Dreieck 19"/>
            <p:cNvSpPr/>
            <p:nvPr/>
          </p:nvSpPr>
          <p:spPr bwMode="auto">
            <a:xfrm>
              <a:off x="1937665" y="3828498"/>
              <a:ext cx="5530693" cy="374308"/>
            </a:xfrm>
            <a:prstGeom prst="triangle">
              <a:avLst/>
            </a:prstGeom>
            <a:solidFill>
              <a:schemeClr val="accent1">
                <a:lumMod val="75000"/>
              </a:schemeClr>
            </a:solidFill>
            <a:ln w="9525">
              <a:solidFill>
                <a:schemeClr val="bg1"/>
              </a:solidFill>
              <a:miter lim="800000"/>
              <a:headEnd/>
              <a:tailEnd/>
            </a:ln>
            <a:extLst/>
          </p:spPr>
          <p:txBody>
            <a:bodyPr wrap="none" lIns="0" tIns="0" rIns="0" bIns="35981" anchor="b"/>
            <a:lstStyle/>
            <a:p>
              <a:pPr algn="ctr" fontAlgn="auto">
                <a:lnSpc>
                  <a:spcPct val="110000"/>
                </a:lnSpc>
                <a:spcAft>
                  <a:spcPts val="300"/>
                </a:spcAft>
                <a:defRPr/>
              </a:pPr>
              <a:r>
                <a:rPr lang="en-US" sz="900" b="1" kern="0" dirty="0">
                  <a:solidFill>
                    <a:srgbClr val="FFFFFF"/>
                  </a:solidFill>
                  <a:latin typeface="宋体" panose="02010600030101010101" pitchFamily="2" charset="-122"/>
                  <a:ea typeface="宋体" panose="02010600030101010101" pitchFamily="2" charset="-122"/>
                  <a:cs typeface="Times New Roman" panose="02020603050405020304" pitchFamily="18" charset="0"/>
                </a:rPr>
                <a:t>Market</a:t>
              </a:r>
              <a:endParaRPr lang="de-DE" sz="900" b="1" kern="0" dirty="0">
                <a:solidFill>
                  <a:srgbClr val="FFFFFF"/>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0" name="Gleichschenkliges Dreieck 20"/>
            <p:cNvSpPr/>
            <p:nvPr/>
          </p:nvSpPr>
          <p:spPr bwMode="auto">
            <a:xfrm>
              <a:off x="3469103" y="3828498"/>
              <a:ext cx="2427397" cy="374308"/>
            </a:xfrm>
            <a:prstGeom prst="triangle">
              <a:avLst>
                <a:gd name="adj" fmla="val 50840"/>
              </a:avLst>
            </a:prstGeom>
            <a:solidFill>
              <a:schemeClr val="bg2">
                <a:lumMod val="60000"/>
                <a:lumOff val="40000"/>
              </a:schemeClr>
            </a:solidFill>
            <a:ln>
              <a:solidFill>
                <a:schemeClr val="bg1"/>
              </a:solidFill>
            </a:ln>
            <a:effectLst/>
            <a:extLst/>
          </p:spPr>
          <p:txBody>
            <a:bodyPr lIns="89953" tIns="89953" rIns="89953" bIns="89953" spcCol="72000" anchor="ctr"/>
            <a:lstStyle/>
            <a:p>
              <a:pPr algn="ctr" fontAlgn="auto">
                <a:spcAft>
                  <a:spcPts val="0"/>
                </a:spcAft>
                <a:buFont typeface="Wingdings" charset="0"/>
                <a:buNone/>
                <a:defRPr/>
              </a:pPr>
              <a:endParaRPr lang="de-DE" sz="900" b="1" dirty="0">
                <a:solidFill>
                  <a:srgbClr val="000000"/>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1" name="Rechteck 21"/>
            <p:cNvSpPr/>
            <p:nvPr/>
          </p:nvSpPr>
          <p:spPr>
            <a:xfrm>
              <a:off x="3292789" y="4065852"/>
              <a:ext cx="181300" cy="67443"/>
            </a:xfrm>
            <a:prstGeom prst="rect">
              <a:avLst/>
            </a:prstGeom>
          </p:spPr>
          <p:txBody>
            <a:bodyPr wrap="none" lIns="0" tIns="0" rIns="0" bIns="0" anchor="ctr">
              <a:spAutoFit/>
            </a:bodyPr>
            <a:lstStyle/>
            <a:p>
              <a:pPr algn="ctr"/>
              <a:r>
                <a:rPr lang="zh-CN" altLang="en-US" sz="1000" b="1">
                  <a:solidFill>
                    <a:srgbClr val="FFFFFF"/>
                  </a:solidFill>
                  <a:latin typeface="宋体" panose="02010600030101010101" pitchFamily="2" charset="-122"/>
                  <a:ea typeface="宋体" panose="02010600030101010101" pitchFamily="2" charset="-122"/>
                  <a:cs typeface="Times New Roman" panose="02020603050405020304" pitchFamily="18" charset="0"/>
                </a:rPr>
                <a:t>美洲</a:t>
              </a:r>
              <a:endParaRPr lang="zh-CN" altLang="de-DE" sz="1000" b="1">
                <a:solidFill>
                  <a:srgbClr val="FFFFFF"/>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2" name="Rechteck 22"/>
            <p:cNvSpPr/>
            <p:nvPr/>
          </p:nvSpPr>
          <p:spPr>
            <a:xfrm>
              <a:off x="5758280" y="4065852"/>
              <a:ext cx="543902" cy="67443"/>
            </a:xfrm>
            <a:prstGeom prst="rect">
              <a:avLst/>
            </a:prstGeom>
          </p:spPr>
          <p:txBody>
            <a:bodyPr wrap="none" lIns="0" tIns="0" rIns="0" bIns="0" anchor="ctr">
              <a:spAutoFit/>
            </a:bodyPr>
            <a:lstStyle/>
            <a:p>
              <a:pPr algn="ctr"/>
              <a:r>
                <a:rPr lang="zh-CN" altLang="en-US" sz="1000" b="1">
                  <a:solidFill>
                    <a:srgbClr val="FFFFFF"/>
                  </a:solidFill>
                  <a:latin typeface="宋体" panose="02010600030101010101" pitchFamily="2" charset="-122"/>
                  <a:ea typeface="宋体" panose="02010600030101010101" pitchFamily="2" charset="-122"/>
                  <a:cs typeface="Times New Roman" panose="02020603050405020304" pitchFamily="18" charset="0"/>
                </a:rPr>
                <a:t>全球医疗保健</a:t>
              </a:r>
              <a:endParaRPr lang="zh-CN" altLang="de-DE" sz="1000" b="1">
                <a:solidFill>
                  <a:srgbClr val="FFFFFF"/>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3" name="Rechteck 23"/>
            <p:cNvSpPr/>
            <p:nvPr/>
          </p:nvSpPr>
          <p:spPr>
            <a:xfrm>
              <a:off x="4039882" y="4015270"/>
              <a:ext cx="287816" cy="168608"/>
            </a:xfrm>
            <a:prstGeom prst="rect">
              <a:avLst/>
            </a:prstGeom>
          </p:spPr>
          <p:txBody>
            <a:bodyPr wrap="none" lIns="0" tIns="0" rIns="0" bIns="0" anchor="ctr">
              <a:spAutoFit/>
            </a:bodyPr>
            <a:lstStyle/>
            <a:p>
              <a:pPr algn="ctr"/>
              <a:r>
                <a:rPr lang="zh-CN" altLang="en-US"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中东</a:t>
              </a:r>
              <a:r>
                <a:rPr lang="zh-CN" altLang="en-US" sz="1000" b="1"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rPr>
                <a:t>，</a:t>
              </a:r>
              <a:endParaRPr lang="en-US" altLang="zh-CN" sz="1000" b="1"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endParaRPr>
            </a:p>
            <a:p>
              <a:pPr algn="ctr"/>
              <a:r>
                <a:rPr lang="en-US" altLang="zh-CN" sz="1000" b="1"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rPr>
                <a:t>CIS</a:t>
              </a:r>
              <a:r>
                <a:rPr lang="en-US" altLang="zh-CN" sz="1000" b="1" baseline="30000"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rPr>
                <a:t>1</a:t>
              </a:r>
              <a:r>
                <a:rPr lang="en-US" altLang="zh-CN" sz="1000" b="1" baseline="30000" dirty="0">
                  <a:solidFill>
                    <a:srgbClr val="000000"/>
                  </a:solidFill>
                  <a:latin typeface="宋体" panose="02010600030101010101" pitchFamily="2" charset="-122"/>
                  <a:ea typeface="宋体" panose="02010600030101010101" pitchFamily="2" charset="-122"/>
                  <a:cs typeface="Times New Roman" panose="02020603050405020304" pitchFamily="18" charset="0"/>
                </a:rPr>
                <a:t>)</a:t>
              </a:r>
              <a:r>
                <a:rPr lang="en-US" altLang="zh-CN"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  </a:t>
              </a:r>
              <a:endParaRPr lang="de-DE" altLang="zh-CN"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4" name="Rechteck 24"/>
            <p:cNvSpPr/>
            <p:nvPr/>
          </p:nvSpPr>
          <p:spPr>
            <a:xfrm>
              <a:off x="5109842" y="4015270"/>
              <a:ext cx="271951" cy="168608"/>
            </a:xfrm>
            <a:prstGeom prst="rect">
              <a:avLst/>
            </a:prstGeom>
          </p:spPr>
          <p:txBody>
            <a:bodyPr wrap="none" lIns="0" tIns="0" rIns="0" bIns="0" anchor="ctr">
              <a:spAutoFit/>
            </a:bodyPr>
            <a:lstStyle/>
            <a:p>
              <a:pPr algn="ctr"/>
              <a:r>
                <a:rPr lang="zh-CN" altLang="en-US"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亚洲</a:t>
              </a:r>
              <a:r>
                <a:rPr lang="zh-CN" altLang="en-US" sz="1000" b="1"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rPr>
                <a:t>，</a:t>
              </a:r>
              <a:endParaRPr lang="en-US" altLang="zh-CN" sz="1000" b="1" dirty="0" smtClean="0">
                <a:solidFill>
                  <a:srgbClr val="000000"/>
                </a:solidFill>
                <a:latin typeface="宋体" panose="02010600030101010101" pitchFamily="2" charset="-122"/>
                <a:ea typeface="宋体" panose="02010600030101010101" pitchFamily="2" charset="-122"/>
                <a:cs typeface="Times New Roman" panose="02020603050405020304" pitchFamily="18" charset="0"/>
              </a:endParaRPr>
            </a:p>
            <a:p>
              <a:pPr algn="ctr"/>
              <a:r>
                <a:rPr lang="zh-CN" altLang="en-US" sz="1000" b="1" dirty="0" smtClean="0">
                  <a:solidFill>
                    <a:schemeClr val="tx1"/>
                  </a:solidFill>
                  <a:latin typeface="宋体" panose="02010600030101010101" pitchFamily="2" charset="-122"/>
                  <a:ea typeface="宋体" panose="02010600030101010101" pitchFamily="2" charset="-122"/>
                  <a:cs typeface="Times New Roman" panose="02020603050405020304" pitchFamily="18" charset="0"/>
                </a:rPr>
                <a:t>澳洲</a:t>
              </a:r>
              <a:endParaRPr lang="zh-CN" altLang="de-DE" sz="1000" b="1" dirty="0">
                <a:solidFill>
                  <a:schemeClr val="tx1"/>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5" name="Gleichschenkliges Dreieck 25"/>
            <p:cNvSpPr/>
            <p:nvPr/>
          </p:nvSpPr>
          <p:spPr bwMode="auto">
            <a:xfrm>
              <a:off x="4319029" y="3828498"/>
              <a:ext cx="727545" cy="374308"/>
            </a:xfrm>
            <a:prstGeom prst="triangle">
              <a:avLst>
                <a:gd name="adj" fmla="val 50840"/>
              </a:avLst>
            </a:prstGeom>
            <a:solidFill>
              <a:schemeClr val="accent1">
                <a:lumMod val="75000"/>
              </a:schemeClr>
            </a:solidFill>
            <a:ln>
              <a:solidFill>
                <a:schemeClr val="bg1"/>
              </a:solidFill>
            </a:ln>
            <a:effectLst/>
            <a:extLst/>
          </p:spPr>
          <p:txBody>
            <a:bodyPr lIns="89953" tIns="89953" rIns="89953" bIns="89953" spcCol="72000" anchor="ctr"/>
            <a:lstStyle/>
            <a:p>
              <a:pPr algn="ctr" fontAlgn="auto">
                <a:spcAft>
                  <a:spcPts val="0"/>
                </a:spcAft>
                <a:buFont typeface="Wingdings" charset="0"/>
                <a:buNone/>
                <a:defRPr/>
              </a:pPr>
              <a:endParaRPr lang="de-DE" sz="900" b="1" dirty="0">
                <a:solidFill>
                  <a:srgbClr val="000000"/>
                </a:solidFill>
                <a:latin typeface="宋体" panose="02010600030101010101" pitchFamily="2" charset="-122"/>
                <a:ea typeface="宋体" panose="02010600030101010101" pitchFamily="2" charset="-122"/>
                <a:cs typeface="Times New Roman" panose="02020603050405020304" pitchFamily="18" charset="0"/>
              </a:endParaRPr>
            </a:p>
          </p:txBody>
        </p:sp>
        <p:sp>
          <p:nvSpPr>
            <p:cNvPr id="16" name="Rechteck 26"/>
            <p:cNvSpPr/>
            <p:nvPr/>
          </p:nvSpPr>
          <p:spPr>
            <a:xfrm>
              <a:off x="4548800" y="4015270"/>
              <a:ext cx="271951" cy="168608"/>
            </a:xfrm>
            <a:prstGeom prst="rect">
              <a:avLst/>
            </a:prstGeom>
          </p:spPr>
          <p:txBody>
            <a:bodyPr wrap="none" lIns="0" tIns="0" rIns="0" bIns="0" anchor="ctr">
              <a:spAutoFit/>
            </a:bodyPr>
            <a:lstStyle/>
            <a:p>
              <a:pPr algn="ctr"/>
              <a:r>
                <a:rPr lang="zh-CN" altLang="en-US" sz="1000" b="1" dirty="0">
                  <a:solidFill>
                    <a:srgbClr val="FFFFFF"/>
                  </a:solidFill>
                  <a:latin typeface="宋体" panose="02010600030101010101" pitchFamily="2" charset="-122"/>
                  <a:ea typeface="宋体" panose="02010600030101010101" pitchFamily="2" charset="-122"/>
                  <a:cs typeface="Times New Roman" panose="02020603050405020304" pitchFamily="18" charset="0"/>
                </a:rPr>
                <a:t>欧洲</a:t>
              </a:r>
              <a:r>
                <a:rPr lang="zh-CN" altLang="en-US" sz="1000" b="1" dirty="0" smtClean="0">
                  <a:solidFill>
                    <a:srgbClr val="FFFFFF"/>
                  </a:solidFill>
                  <a:latin typeface="宋体" panose="02010600030101010101" pitchFamily="2" charset="-122"/>
                  <a:ea typeface="宋体" panose="02010600030101010101" pitchFamily="2" charset="-122"/>
                  <a:cs typeface="Times New Roman" panose="02020603050405020304" pitchFamily="18" charset="0"/>
                </a:rPr>
                <a:t>，</a:t>
              </a:r>
              <a:endParaRPr lang="en-US" altLang="zh-CN" sz="1000" b="1" dirty="0" smtClean="0">
                <a:solidFill>
                  <a:srgbClr val="FFFFFF"/>
                </a:solidFill>
                <a:latin typeface="宋体" panose="02010600030101010101" pitchFamily="2" charset="-122"/>
                <a:ea typeface="宋体" panose="02010600030101010101" pitchFamily="2" charset="-122"/>
                <a:cs typeface="Times New Roman" panose="02020603050405020304" pitchFamily="18" charset="0"/>
              </a:endParaRPr>
            </a:p>
            <a:p>
              <a:pPr algn="ctr"/>
              <a:r>
                <a:rPr lang="zh-CN" altLang="en-US" sz="1000" b="1" dirty="0" smtClean="0">
                  <a:solidFill>
                    <a:srgbClr val="FFFFFF"/>
                  </a:solidFill>
                  <a:latin typeface="宋体" panose="02010600030101010101" pitchFamily="2" charset="-122"/>
                  <a:ea typeface="宋体" panose="02010600030101010101" pitchFamily="2" charset="-122"/>
                  <a:cs typeface="Times New Roman" panose="02020603050405020304" pitchFamily="18" charset="0"/>
                </a:rPr>
                <a:t>非</a:t>
              </a:r>
              <a:r>
                <a:rPr lang="zh-CN" altLang="en-US" sz="1000" b="1" dirty="0">
                  <a:solidFill>
                    <a:srgbClr val="FFFFFF"/>
                  </a:solidFill>
                  <a:latin typeface="宋体" panose="02010600030101010101" pitchFamily="2" charset="-122"/>
                  <a:ea typeface="宋体" panose="02010600030101010101" pitchFamily="2" charset="-122"/>
                  <a:cs typeface="Times New Roman" panose="02020603050405020304" pitchFamily="18" charset="0"/>
                </a:rPr>
                <a:t>洲</a:t>
              </a:r>
              <a:endParaRPr lang="de-DE" altLang="zh-CN" sz="1000" b="1" dirty="0">
                <a:solidFill>
                  <a:srgbClr val="FFFFFF"/>
                </a:solidFill>
                <a:latin typeface="宋体" panose="02010600030101010101" pitchFamily="2" charset="-122"/>
                <a:ea typeface="宋体" panose="02010600030101010101" pitchFamily="2" charset="-122"/>
                <a:cs typeface="Times New Roman" panose="02020603050405020304" pitchFamily="18" charset="0"/>
              </a:endParaRPr>
            </a:p>
          </p:txBody>
        </p:sp>
      </p:grpSp>
      <p:sp>
        <p:nvSpPr>
          <p:cNvPr id="17" name="Line 18"/>
          <p:cNvSpPr>
            <a:spLocks noChangeShapeType="1"/>
          </p:cNvSpPr>
          <p:nvPr/>
        </p:nvSpPr>
        <p:spPr bwMode="auto">
          <a:xfrm flipV="1">
            <a:off x="9785451" y="2729990"/>
            <a:ext cx="778280" cy="0"/>
          </a:xfrm>
          <a:prstGeom prst="line">
            <a:avLst/>
          </a:prstGeom>
          <a:noFill/>
          <a:ln w="9525">
            <a:solidFill>
              <a:schemeClr val="bg2">
                <a:lumMod val="75000"/>
              </a:schemeClr>
            </a:solidFill>
            <a:round/>
            <a:headEnd/>
            <a:tailEnd/>
          </a:ln>
        </p:spPr>
        <p:txBody>
          <a:bodyPr/>
          <a:lstStyle/>
          <a:p>
            <a:pPr fontAlgn="auto">
              <a:spcAft>
                <a:spcPts val="0"/>
              </a:spcAft>
              <a:defRPr/>
            </a:pPr>
            <a:endParaRPr lang="de-DE" sz="1000" dirty="0">
              <a:solidFill>
                <a:srgbClr val="000000"/>
              </a:solidFill>
              <a:latin typeface="宋体" panose="02010600030101010101" pitchFamily="2" charset="-122"/>
              <a:ea typeface="宋体" panose="02010600030101010101" pitchFamily="2" charset="-122"/>
            </a:endParaRPr>
          </a:p>
        </p:txBody>
      </p:sp>
      <p:sp>
        <p:nvSpPr>
          <p:cNvPr id="18" name="Rectangle 25"/>
          <p:cNvSpPr>
            <a:spLocks noChangeArrowheads="1"/>
          </p:cNvSpPr>
          <p:nvPr/>
        </p:nvSpPr>
        <p:spPr bwMode="auto">
          <a:xfrm>
            <a:off x="9785451" y="2818890"/>
            <a:ext cx="778280" cy="2670175"/>
          </a:xfrm>
          <a:prstGeom prst="rect">
            <a:avLst/>
          </a:prstGeom>
          <a:solidFill>
            <a:schemeClr val="accent2">
              <a:alpha val="50196"/>
            </a:schemeClr>
          </a:solidFill>
          <a:ln w="9525">
            <a:solidFill>
              <a:schemeClr val="accent2">
                <a:alpha val="50000"/>
              </a:schemeClr>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金融服务集团</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19" name="Line 18"/>
          <p:cNvSpPr>
            <a:spLocks noChangeShapeType="1"/>
          </p:cNvSpPr>
          <p:nvPr/>
        </p:nvSpPr>
        <p:spPr bwMode="auto">
          <a:xfrm flipV="1">
            <a:off x="2739633" y="2729990"/>
            <a:ext cx="6065820" cy="0"/>
          </a:xfrm>
          <a:prstGeom prst="line">
            <a:avLst/>
          </a:prstGeom>
          <a:noFill/>
          <a:ln w="9525">
            <a:solidFill>
              <a:schemeClr val="bg2">
                <a:lumMod val="75000"/>
              </a:schemeClr>
            </a:solidFill>
            <a:round/>
            <a:headEnd/>
            <a:tailEnd/>
          </a:ln>
        </p:spPr>
        <p:txBody>
          <a:bodyPr/>
          <a:lstStyle/>
          <a:p>
            <a:pPr algn="ctr" fontAlgn="auto">
              <a:spcAft>
                <a:spcPts val="0"/>
              </a:spcAft>
              <a:defRPr/>
            </a:pPr>
            <a:endParaRPr lang="de-DE" sz="1000" dirty="0">
              <a:solidFill>
                <a:srgbClr val="000000"/>
              </a:solidFill>
              <a:latin typeface="宋体" panose="02010600030101010101" pitchFamily="2" charset="-122"/>
              <a:ea typeface="宋体" panose="02010600030101010101" pitchFamily="2" charset="-122"/>
            </a:endParaRPr>
          </a:p>
        </p:txBody>
      </p:sp>
      <p:sp>
        <p:nvSpPr>
          <p:cNvPr id="20" name="Rectangle 21"/>
          <p:cNvSpPr>
            <a:spLocks noChangeArrowheads="1"/>
          </p:cNvSpPr>
          <p:nvPr/>
        </p:nvSpPr>
        <p:spPr bwMode="auto">
          <a:xfrm>
            <a:off x="2739635" y="2818892"/>
            <a:ext cx="776691" cy="1709737"/>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发电与天然气集团</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b="1" dirty="0">
              <a:solidFill>
                <a:srgbClr val="000000"/>
              </a:solidFill>
              <a:latin typeface="宋体" panose="02010600030101010101" pitchFamily="2" charset="-122"/>
              <a:ea typeface="宋体" panose="02010600030101010101" pitchFamily="2" charset="-122"/>
            </a:endParaRPr>
          </a:p>
        </p:txBody>
      </p:sp>
      <p:sp>
        <p:nvSpPr>
          <p:cNvPr id="21" name="Rectangle 21"/>
          <p:cNvSpPr>
            <a:spLocks noChangeArrowheads="1"/>
          </p:cNvSpPr>
          <p:nvPr/>
        </p:nvSpPr>
        <p:spPr bwMode="auto">
          <a:xfrm>
            <a:off x="3619567" y="2818892"/>
            <a:ext cx="776691" cy="1709737"/>
          </a:xfrm>
          <a:prstGeom prst="rect">
            <a:avLst/>
          </a:prstGeom>
          <a:solidFill>
            <a:srgbClr val="BECDD7"/>
          </a:solidFill>
          <a:ln w="9525">
            <a:solidFill>
              <a:schemeClr val="accent2"/>
            </a:solidFill>
            <a:miter lim="800000"/>
            <a:headEnd/>
            <a:tailEnd/>
          </a:ln>
        </p:spPr>
        <p:txBody>
          <a:bodyPr lIns="0" tIns="71963" rIns="0"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风力发电与可再生能源集团</a:t>
            </a:r>
            <a:r>
              <a:rPr lang="en-US" altLang="zh-CN" sz="900" b="1" dirty="0" smtClean="0">
                <a:solidFill>
                  <a:srgbClr val="000000"/>
                </a:solidFill>
                <a:latin typeface="宋体" panose="02010600030101010101" pitchFamily="2" charset="-122"/>
                <a:ea typeface="宋体" panose="02010600030101010101" pitchFamily="2" charset="-122"/>
              </a:rPr>
              <a:t/>
            </a:r>
            <a:br>
              <a:rPr lang="en-US" altLang="zh-CN" sz="900" b="1" dirty="0" smtClean="0">
                <a:solidFill>
                  <a:srgbClr val="000000"/>
                </a:solidFill>
                <a:latin typeface="宋体" panose="02010600030101010101" pitchFamily="2" charset="-122"/>
                <a:ea typeface="宋体" panose="02010600030101010101" pitchFamily="2" charset="-122"/>
              </a:rPr>
            </a:br>
            <a:endParaRPr lang="en-US" altLang="zh-CN" sz="900" b="1" dirty="0">
              <a:solidFill>
                <a:srgbClr val="000000"/>
              </a:solidFill>
              <a:latin typeface="宋体" panose="02010600030101010101" pitchFamily="2" charset="-122"/>
              <a:ea typeface="宋体" panose="02010600030101010101" pitchFamily="2" charset="-122"/>
            </a:endParaRPr>
          </a:p>
        </p:txBody>
      </p:sp>
      <p:sp>
        <p:nvSpPr>
          <p:cNvPr id="22" name="Rectangle 21"/>
          <p:cNvSpPr>
            <a:spLocks noChangeArrowheads="1"/>
          </p:cNvSpPr>
          <p:nvPr/>
        </p:nvSpPr>
        <p:spPr bwMode="auto">
          <a:xfrm>
            <a:off x="6268897" y="2818890"/>
            <a:ext cx="776691" cy="2670175"/>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smtClean="0">
                <a:solidFill>
                  <a:srgbClr val="000000"/>
                </a:solidFill>
                <a:latin typeface="宋体" panose="02010600030101010101" pitchFamily="2" charset="-122"/>
                <a:ea typeface="宋体" panose="02010600030101010101" pitchFamily="2" charset="-122"/>
              </a:rPr>
              <a:t>交通集团</a:t>
            </a: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3" name="Rectangle 21"/>
          <p:cNvSpPr>
            <a:spLocks noChangeArrowheads="1"/>
          </p:cNvSpPr>
          <p:nvPr/>
        </p:nvSpPr>
        <p:spPr bwMode="auto">
          <a:xfrm>
            <a:off x="4497910" y="2818890"/>
            <a:ext cx="778280" cy="2670175"/>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能源管</a:t>
            </a:r>
            <a:r>
              <a:rPr lang="zh-CN" altLang="en-US" sz="900" b="1" dirty="0" smtClean="0">
                <a:solidFill>
                  <a:srgbClr val="000000"/>
                </a:solidFill>
                <a:latin typeface="宋体" panose="02010600030101010101" pitchFamily="2" charset="-122"/>
                <a:ea typeface="宋体" panose="02010600030101010101" pitchFamily="2" charset="-122"/>
              </a:rPr>
              <a:t>理集团</a:t>
            </a: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4" name="Rectangle 21"/>
          <p:cNvSpPr>
            <a:spLocks noChangeArrowheads="1"/>
          </p:cNvSpPr>
          <p:nvPr/>
        </p:nvSpPr>
        <p:spPr bwMode="auto">
          <a:xfrm>
            <a:off x="5388962" y="2818890"/>
            <a:ext cx="778280" cy="2670175"/>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楼宇科技集团</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5" name="Rectangle 21"/>
          <p:cNvSpPr>
            <a:spLocks noChangeArrowheads="1"/>
          </p:cNvSpPr>
          <p:nvPr/>
        </p:nvSpPr>
        <p:spPr bwMode="auto">
          <a:xfrm>
            <a:off x="7148830" y="2818890"/>
            <a:ext cx="776691" cy="2670175"/>
          </a:xfrm>
          <a:prstGeom prst="rect">
            <a:avLst/>
          </a:prstGeom>
          <a:solidFill>
            <a:srgbClr val="8CC3D2"/>
          </a:solidFill>
          <a:ln w="34925">
            <a:solidFill>
              <a:schemeClr val="accent3"/>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数字化工厂集团</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6" name="Rectangle 21"/>
          <p:cNvSpPr>
            <a:spLocks noChangeArrowheads="1"/>
          </p:cNvSpPr>
          <p:nvPr/>
        </p:nvSpPr>
        <p:spPr bwMode="auto">
          <a:xfrm>
            <a:off x="8028763" y="2818890"/>
            <a:ext cx="776691" cy="2670175"/>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过程工业与驱动集团</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7" name="Rectangle 21"/>
          <p:cNvSpPr>
            <a:spLocks noChangeArrowheads="1"/>
          </p:cNvSpPr>
          <p:nvPr/>
        </p:nvSpPr>
        <p:spPr bwMode="auto">
          <a:xfrm>
            <a:off x="8907106" y="2672842"/>
            <a:ext cx="778280" cy="2816225"/>
          </a:xfrm>
          <a:prstGeom prst="rect">
            <a:avLst/>
          </a:prstGeom>
          <a:solidFill>
            <a:srgbClr val="BECDD7"/>
          </a:solidFill>
          <a:ln w="9525">
            <a:solidFill>
              <a:schemeClr val="accent2"/>
            </a:solidFill>
            <a:miter lim="800000"/>
            <a:headEnd/>
            <a:tailEnd/>
          </a:ln>
        </p:spPr>
        <p:txBody>
          <a:bodyPr lIns="35981" tIns="71963" rIns="35981" bIns="0"/>
          <a:lstStyle/>
          <a:p>
            <a:pPr algn="ctr">
              <a:spcAft>
                <a:spcPts val="300"/>
              </a:spcAft>
            </a:pPr>
            <a:r>
              <a:rPr lang="zh-CN" altLang="en-US" sz="900" b="1" dirty="0">
                <a:solidFill>
                  <a:srgbClr val="000000"/>
                </a:solidFill>
                <a:latin typeface="宋体" panose="02010600030101010101" pitchFamily="2" charset="-122"/>
                <a:ea typeface="宋体" panose="02010600030101010101" pitchFamily="2" charset="-122"/>
              </a:rPr>
              <a:t>西门子医疗</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r>
              <a:rPr lang="zh-CN" altLang="en-US" sz="900" b="1" dirty="0">
                <a:solidFill>
                  <a:srgbClr val="000000"/>
                </a:solidFill>
                <a:latin typeface="宋体" panose="02010600030101010101" pitchFamily="2" charset="-122"/>
                <a:ea typeface="宋体" panose="02010600030101010101" pitchFamily="2" charset="-122"/>
              </a:rPr>
              <a:t/>
            </a:r>
            <a:br>
              <a:rPr lang="zh-CN" altLang="en-US" sz="900" b="1" dirty="0">
                <a:solidFill>
                  <a:srgbClr val="000000"/>
                </a:solidFill>
                <a:latin typeface="宋体" panose="02010600030101010101" pitchFamily="2" charset="-122"/>
                <a:ea typeface="宋体" panose="02010600030101010101" pitchFamily="2" charset="-122"/>
              </a:rPr>
            </a:br>
            <a:endParaRPr lang="zh-CN" altLang="en-US" sz="900" b="1"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a:p>
            <a:pPr algn="ctr">
              <a:spcAft>
                <a:spcPts val="300"/>
              </a:spcAft>
            </a:pPr>
            <a:endParaRPr lang="en-US" altLang="zh-CN" sz="900" dirty="0">
              <a:solidFill>
                <a:srgbClr val="000000"/>
              </a:solidFill>
              <a:latin typeface="宋体" panose="02010600030101010101" pitchFamily="2" charset="-122"/>
              <a:ea typeface="宋体" panose="02010600030101010101" pitchFamily="2" charset="-122"/>
            </a:endParaRPr>
          </a:p>
        </p:txBody>
      </p:sp>
      <p:sp>
        <p:nvSpPr>
          <p:cNvPr id="28" name="Text Box 58"/>
          <p:cNvSpPr txBox="1">
            <a:spLocks noChangeAspect="1" noChangeArrowheads="1"/>
          </p:cNvSpPr>
          <p:nvPr/>
        </p:nvSpPr>
        <p:spPr bwMode="auto">
          <a:xfrm>
            <a:off x="8332130" y="2516637"/>
            <a:ext cx="1899640" cy="130805"/>
          </a:xfrm>
          <a:prstGeom prst="rect">
            <a:avLst/>
          </a:prstGeom>
          <a:noFill/>
          <a:ln w="9525">
            <a:noFill/>
            <a:miter lim="800000"/>
            <a:headEnd/>
            <a:tailEnd/>
          </a:ln>
        </p:spPr>
        <p:txBody>
          <a:bodyPr lIns="0" tIns="0" rIns="0" bIns="0" anchor="b">
            <a:spAutoFit/>
          </a:bodyPr>
          <a:lstStyle/>
          <a:p>
            <a:pPr algn="ctr">
              <a:lnSpc>
                <a:spcPct val="85000"/>
              </a:lnSpc>
            </a:pPr>
            <a:r>
              <a:rPr lang="zh-CN" altLang="en-US" sz="1000" b="1" dirty="0">
                <a:solidFill>
                  <a:srgbClr val="006487"/>
                </a:solidFill>
                <a:latin typeface="宋体" panose="02010600030101010101" pitchFamily="2" charset="-122"/>
                <a:ea typeface="宋体" panose="02010600030101010101" pitchFamily="2" charset="-122"/>
              </a:rPr>
              <a:t>单独管理</a:t>
            </a:r>
          </a:p>
        </p:txBody>
      </p:sp>
      <p:sp>
        <p:nvSpPr>
          <p:cNvPr id="29" name="Text Box 11"/>
          <p:cNvSpPr txBox="1">
            <a:spLocks noChangeArrowheads="1"/>
          </p:cNvSpPr>
          <p:nvPr/>
        </p:nvSpPr>
        <p:spPr bwMode="auto">
          <a:xfrm>
            <a:off x="9492072" y="5797042"/>
            <a:ext cx="666849" cy="200055"/>
          </a:xfrm>
          <a:prstGeom prst="rect">
            <a:avLst/>
          </a:prstGeom>
          <a:noFill/>
          <a:ln w="9525" algn="ctr">
            <a:noFill/>
            <a:miter lim="800000"/>
            <a:headEnd/>
            <a:tailEnd/>
          </a:ln>
        </p:spPr>
        <p:txBody>
          <a:bodyPr wrap="none" lIns="0" tIns="0" rIns="0" bIns="0">
            <a:spAutoFit/>
          </a:bodyPr>
          <a:lstStyle/>
          <a:p>
            <a:pPr>
              <a:spcBef>
                <a:spcPts val="500"/>
              </a:spcBef>
              <a:spcAft>
                <a:spcPts val="500"/>
              </a:spcAft>
            </a:pPr>
            <a:r>
              <a:rPr lang="zh-CN" altLang="en-US" sz="1300" b="1" dirty="0">
                <a:solidFill>
                  <a:srgbClr val="FFFFFF"/>
                </a:solidFill>
                <a:latin typeface="宋体" panose="02010600030101010101" pitchFamily="2" charset="-122"/>
                <a:ea typeface="宋体" panose="02010600030101010101" pitchFamily="2" charset="-122"/>
              </a:rPr>
              <a:t>公司核心</a:t>
            </a:r>
          </a:p>
        </p:txBody>
      </p:sp>
      <p:sp>
        <p:nvSpPr>
          <p:cNvPr id="30" name="Text Box 11"/>
          <p:cNvSpPr txBox="1">
            <a:spLocks noChangeArrowheads="1"/>
          </p:cNvSpPr>
          <p:nvPr/>
        </p:nvSpPr>
        <p:spPr bwMode="auto">
          <a:xfrm>
            <a:off x="2869877" y="5797042"/>
            <a:ext cx="666849" cy="200055"/>
          </a:xfrm>
          <a:prstGeom prst="rect">
            <a:avLst/>
          </a:prstGeom>
          <a:noFill/>
          <a:ln w="9525" algn="ctr">
            <a:noFill/>
            <a:miter lim="800000"/>
            <a:headEnd/>
            <a:tailEnd/>
          </a:ln>
        </p:spPr>
        <p:txBody>
          <a:bodyPr wrap="none" lIns="0" tIns="0" rIns="0" bIns="0">
            <a:spAutoFit/>
          </a:bodyPr>
          <a:lstStyle/>
          <a:p>
            <a:pPr>
              <a:spcBef>
                <a:spcPts val="500"/>
              </a:spcBef>
              <a:spcAft>
                <a:spcPts val="500"/>
              </a:spcAft>
            </a:pPr>
            <a:r>
              <a:rPr lang="zh-CN" altLang="en-US" sz="1300" b="1">
                <a:solidFill>
                  <a:srgbClr val="FFFFFF"/>
                </a:solidFill>
                <a:latin typeface="宋体" panose="02010600030101010101" pitchFamily="2" charset="-122"/>
                <a:ea typeface="宋体" panose="02010600030101010101" pitchFamily="2" charset="-122"/>
              </a:rPr>
              <a:t>公司服务</a:t>
            </a:r>
          </a:p>
        </p:txBody>
      </p:sp>
      <p:sp>
        <p:nvSpPr>
          <p:cNvPr id="31" name="Textfeld 58"/>
          <p:cNvSpPr txBox="1"/>
          <p:nvPr/>
        </p:nvSpPr>
        <p:spPr>
          <a:xfrm>
            <a:off x="3006472" y="4160329"/>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PG</a:t>
            </a:r>
          </a:p>
        </p:txBody>
      </p:sp>
      <p:sp>
        <p:nvSpPr>
          <p:cNvPr id="32" name="Line 18"/>
          <p:cNvSpPr>
            <a:spLocks noChangeShapeType="1"/>
          </p:cNvSpPr>
          <p:nvPr/>
        </p:nvSpPr>
        <p:spPr bwMode="auto">
          <a:xfrm flipV="1">
            <a:off x="9775923" y="2722052"/>
            <a:ext cx="776691" cy="0"/>
          </a:xfrm>
          <a:prstGeom prst="line">
            <a:avLst/>
          </a:prstGeom>
          <a:noFill/>
          <a:ln w="9525">
            <a:solidFill>
              <a:schemeClr val="bg2">
                <a:lumMod val="75000"/>
              </a:schemeClr>
            </a:solidFill>
            <a:round/>
            <a:headEnd/>
            <a:tailEnd/>
          </a:ln>
        </p:spPr>
        <p:txBody>
          <a:bodyPr/>
          <a:lstStyle/>
          <a:p>
            <a:pPr fontAlgn="auto">
              <a:spcAft>
                <a:spcPts val="0"/>
              </a:spcAft>
              <a:defRPr/>
            </a:pPr>
            <a:endParaRPr lang="de-DE" sz="1000">
              <a:solidFill>
                <a:srgbClr val="000000"/>
              </a:solidFill>
              <a:latin typeface="宋体" panose="02010600030101010101" pitchFamily="2" charset="-122"/>
              <a:ea typeface="宋体" panose="02010600030101010101" pitchFamily="2" charset="-122"/>
            </a:endParaRPr>
          </a:p>
        </p:txBody>
      </p:sp>
      <p:sp>
        <p:nvSpPr>
          <p:cNvPr id="33" name="Line 18"/>
          <p:cNvSpPr>
            <a:spLocks noChangeShapeType="1"/>
          </p:cNvSpPr>
          <p:nvPr/>
        </p:nvSpPr>
        <p:spPr bwMode="auto">
          <a:xfrm flipV="1">
            <a:off x="2728516" y="2722052"/>
            <a:ext cx="6065820" cy="0"/>
          </a:xfrm>
          <a:prstGeom prst="line">
            <a:avLst/>
          </a:prstGeom>
          <a:noFill/>
          <a:ln w="9525">
            <a:solidFill>
              <a:schemeClr val="bg2">
                <a:lumMod val="75000"/>
              </a:schemeClr>
            </a:solidFill>
            <a:round/>
            <a:headEnd/>
            <a:tailEnd/>
          </a:ln>
        </p:spPr>
        <p:txBody>
          <a:bodyPr/>
          <a:lstStyle/>
          <a:p>
            <a:pPr algn="ctr" fontAlgn="auto">
              <a:spcAft>
                <a:spcPts val="0"/>
              </a:spcAft>
              <a:defRPr/>
            </a:pPr>
            <a:endParaRPr lang="de-DE" sz="1000">
              <a:solidFill>
                <a:srgbClr val="000000"/>
              </a:solidFill>
              <a:latin typeface="宋体" panose="02010600030101010101" pitchFamily="2" charset="-122"/>
              <a:ea typeface="宋体" panose="02010600030101010101" pitchFamily="2" charset="-122"/>
            </a:endParaRPr>
          </a:p>
        </p:txBody>
      </p:sp>
      <p:sp>
        <p:nvSpPr>
          <p:cNvPr id="34" name="Textfeld 88"/>
          <p:cNvSpPr txBox="1"/>
          <p:nvPr/>
        </p:nvSpPr>
        <p:spPr>
          <a:xfrm>
            <a:off x="6523029"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MO</a:t>
            </a:r>
          </a:p>
        </p:txBody>
      </p:sp>
      <p:sp>
        <p:nvSpPr>
          <p:cNvPr id="35" name="Textfeld 89"/>
          <p:cNvSpPr txBox="1"/>
          <p:nvPr/>
        </p:nvSpPr>
        <p:spPr>
          <a:xfrm>
            <a:off x="3446439"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PS</a:t>
            </a:r>
          </a:p>
        </p:txBody>
      </p:sp>
      <p:sp>
        <p:nvSpPr>
          <p:cNvPr id="36" name="Textfeld 91"/>
          <p:cNvSpPr txBox="1"/>
          <p:nvPr/>
        </p:nvSpPr>
        <p:spPr>
          <a:xfrm>
            <a:off x="3872111" y="4160329"/>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WP</a:t>
            </a:r>
          </a:p>
        </p:txBody>
      </p:sp>
      <p:sp>
        <p:nvSpPr>
          <p:cNvPr id="37" name="Textfeld 95"/>
          <p:cNvSpPr txBox="1"/>
          <p:nvPr/>
        </p:nvSpPr>
        <p:spPr>
          <a:xfrm>
            <a:off x="4761574"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EM</a:t>
            </a:r>
          </a:p>
        </p:txBody>
      </p:sp>
      <p:sp>
        <p:nvSpPr>
          <p:cNvPr id="38" name="Textfeld 96"/>
          <p:cNvSpPr txBox="1"/>
          <p:nvPr/>
        </p:nvSpPr>
        <p:spPr>
          <a:xfrm>
            <a:off x="5666919"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BT</a:t>
            </a:r>
          </a:p>
        </p:txBody>
      </p:sp>
      <p:sp>
        <p:nvSpPr>
          <p:cNvPr id="39" name="Textfeld 97"/>
          <p:cNvSpPr txBox="1"/>
          <p:nvPr/>
        </p:nvSpPr>
        <p:spPr>
          <a:xfrm>
            <a:off x="7425197"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DF</a:t>
            </a:r>
          </a:p>
        </p:txBody>
      </p:sp>
      <p:sp>
        <p:nvSpPr>
          <p:cNvPr id="40" name="Textfeld 98"/>
          <p:cNvSpPr txBox="1"/>
          <p:nvPr/>
        </p:nvSpPr>
        <p:spPr>
          <a:xfrm>
            <a:off x="8300366"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PD</a:t>
            </a:r>
          </a:p>
        </p:txBody>
      </p:sp>
      <p:sp>
        <p:nvSpPr>
          <p:cNvPr id="41" name="Textfeld 99"/>
          <p:cNvSpPr txBox="1"/>
          <p:nvPr/>
        </p:nvSpPr>
        <p:spPr>
          <a:xfrm>
            <a:off x="9175534" y="5196966"/>
            <a:ext cx="12824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HC</a:t>
            </a:r>
          </a:p>
        </p:txBody>
      </p:sp>
      <p:sp>
        <p:nvSpPr>
          <p:cNvPr id="42" name="Textfeld 100"/>
          <p:cNvSpPr txBox="1"/>
          <p:nvPr/>
        </p:nvSpPr>
        <p:spPr>
          <a:xfrm>
            <a:off x="10010993" y="5196966"/>
            <a:ext cx="192360" cy="169277"/>
          </a:xfrm>
          <a:prstGeom prst="rect">
            <a:avLst/>
          </a:prstGeom>
          <a:noFill/>
        </p:spPr>
        <p:txBody>
          <a:bodyPr wrap="none" lIns="0" tIns="0" rIns="0" bIns="0">
            <a:spAutoFit/>
          </a:bodyPr>
          <a:lstStyle/>
          <a:p>
            <a:pPr fontAlgn="auto">
              <a:lnSpc>
                <a:spcPct val="110000"/>
              </a:lnSpc>
              <a:spcBef>
                <a:spcPts val="0"/>
              </a:spcBef>
              <a:spcAft>
                <a:spcPts val="0"/>
              </a:spcAft>
              <a:defRPr/>
            </a:pPr>
            <a:r>
              <a:rPr lang="de-DE" sz="1000" b="1" dirty="0">
                <a:solidFill>
                  <a:srgbClr val="000000"/>
                </a:solidFill>
                <a:latin typeface="宋体" panose="02010600030101010101" pitchFamily="2" charset="-122"/>
                <a:ea typeface="宋体" panose="02010600030101010101" pitchFamily="2" charset="-122"/>
                <a:cs typeface="Times New Roman" panose="02020603050405020304" pitchFamily="18" charset="0"/>
              </a:rPr>
              <a:t>SFS</a:t>
            </a:r>
          </a:p>
        </p:txBody>
      </p:sp>
      <p:sp>
        <p:nvSpPr>
          <p:cNvPr id="43" name="Text Box 11"/>
          <p:cNvSpPr txBox="1">
            <a:spLocks noChangeArrowheads="1"/>
          </p:cNvSpPr>
          <p:nvPr/>
        </p:nvSpPr>
        <p:spPr bwMode="auto">
          <a:xfrm>
            <a:off x="799711" y="1709024"/>
            <a:ext cx="1290418" cy="246221"/>
          </a:xfrm>
          <a:prstGeom prst="rect">
            <a:avLst/>
          </a:prstGeom>
          <a:noFill/>
          <a:ln w="9525" algn="ctr">
            <a:noFill/>
            <a:miter lim="800000"/>
            <a:headEnd/>
            <a:tailEnd/>
          </a:ln>
        </p:spPr>
        <p:txBody>
          <a:bodyPr wrap="none" lIns="0" tIns="0" rIns="0" bIns="0">
            <a:spAutoFit/>
          </a:bodyPr>
          <a:lstStyle/>
          <a:p>
            <a:pPr>
              <a:spcBef>
                <a:spcPts val="500"/>
              </a:spcBef>
              <a:spcAft>
                <a:spcPts val="500"/>
              </a:spcAft>
            </a:pPr>
            <a:r>
              <a:rPr lang="en-US" sz="1600" b="1" dirty="0">
                <a:solidFill>
                  <a:srgbClr val="006487"/>
                </a:solidFill>
                <a:latin typeface="宋体" panose="02010600030101010101" pitchFamily="2" charset="-122"/>
                <a:ea typeface="宋体" panose="02010600030101010101" pitchFamily="2" charset="-122"/>
              </a:rPr>
              <a:t>Go-to-market</a:t>
            </a:r>
            <a:endParaRPr lang="en-US" sz="1600" dirty="0">
              <a:solidFill>
                <a:srgbClr val="006487"/>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883068237"/>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3"/>
          <p:cNvSpPr>
            <a:spLocks noGrp="1" noChangeArrowheads="1"/>
          </p:cNvSpPr>
          <p:nvPr>
            <p:ph type="title"/>
            <p:custDataLst>
              <p:tags r:id="rId2"/>
            </p:custDataLst>
          </p:nvPr>
        </p:nvSpPr>
        <p:spPr>
          <a:xfrm>
            <a:off x="0" y="1588"/>
            <a:ext cx="12198350" cy="1268412"/>
          </a:xfrm>
        </p:spPr>
        <p:txBody>
          <a:bodyPr/>
          <a:lstStyle/>
          <a:p>
            <a:r>
              <a:rPr lang="en-US" altLang="zh-CN" dirty="0" smtClean="0">
                <a:latin typeface="Arial" charset="0"/>
                <a:ea typeface="宋体" pitchFamily="2" charset="-122"/>
                <a:cs typeface="Arial" charset="0"/>
              </a:rPr>
              <a:t/>
            </a:r>
            <a:br>
              <a:rPr lang="en-US" altLang="zh-CN" dirty="0" smtClean="0">
                <a:latin typeface="Arial" charset="0"/>
                <a:ea typeface="宋体" pitchFamily="2" charset="-122"/>
                <a:cs typeface="Arial" charset="0"/>
              </a:rPr>
            </a:br>
            <a:r>
              <a:rPr lang="zh-CN" altLang="en-US" dirty="0" smtClean="0">
                <a:latin typeface="Arial" charset="0"/>
                <a:ea typeface="宋体" pitchFamily="2" charset="-122"/>
                <a:cs typeface="Arial" charset="0"/>
              </a:rPr>
              <a:t>西门子数字化工厂集团简介</a:t>
            </a:r>
            <a:endParaRPr lang="en-US" altLang="zh-CN" dirty="0" smtClean="0">
              <a:latin typeface="Arial" charset="0"/>
              <a:ea typeface="宋体" pitchFamily="2" charset="-122"/>
              <a:cs typeface="Arial" charset="0"/>
            </a:endParaRPr>
          </a:p>
        </p:txBody>
      </p:sp>
      <p:sp>
        <p:nvSpPr>
          <p:cNvPr id="10" name="RectanNX9o8TT0mh0e7DveHIhRLIQ"/>
          <p:cNvSpPr>
            <a:spLocks noChangeArrowheads="1"/>
          </p:cNvSpPr>
          <p:nvPr/>
        </p:nvSpPr>
        <p:spPr bwMode="auto">
          <a:xfrm>
            <a:off x="640096" y="1988820"/>
            <a:ext cx="5177945" cy="1461939"/>
          </a:xfrm>
          <a:prstGeom prst="rect">
            <a:avLst/>
          </a:prstGeom>
          <a:noFill/>
          <a:ln>
            <a:noFill/>
          </a:ln>
          <a:extLst/>
        </p:spPr>
        <p:txBody>
          <a:bodyPr lIns="0" tIns="0" rIns="0" bIns="0">
            <a:spAutoFit/>
          </a:bodyPr>
          <a:lstStyle/>
          <a:p>
            <a:r>
              <a:rPr lang="zh-CN" altLang="en-US" sz="1900" dirty="0">
                <a:solidFill>
                  <a:srgbClr val="000000"/>
                </a:solidFill>
                <a:ea typeface="宋体" pitchFamily="2" charset="-122"/>
              </a:rPr>
              <a:t>数字化工厂集团提供全面、无缝集成的领先</a:t>
            </a:r>
            <a:r>
              <a:rPr lang="en-US" altLang="zh-CN" sz="1900" dirty="0">
                <a:solidFill>
                  <a:srgbClr val="000000"/>
                </a:solidFill>
                <a:ea typeface="宋体" pitchFamily="2" charset="-122"/>
              </a:rPr>
              <a:t>PLM</a:t>
            </a:r>
            <a:r>
              <a:rPr lang="zh-CN" altLang="en-US" sz="1900" dirty="0">
                <a:solidFill>
                  <a:srgbClr val="000000"/>
                </a:solidFill>
                <a:ea typeface="宋体" pitchFamily="2" charset="-122"/>
              </a:rPr>
              <a:t>软件解决方案和自动化技术组合，涵盖从产品设计到生产执行及服务的完整生命周期，帮助全球制造企业提高过程灵活性和效率，加快新产品上市速</a:t>
            </a:r>
            <a:r>
              <a:rPr lang="zh-CN" altLang="en-US" sz="1900" dirty="0" smtClean="0">
                <a:solidFill>
                  <a:srgbClr val="000000"/>
                </a:solidFill>
                <a:ea typeface="宋体" pitchFamily="2" charset="-122"/>
              </a:rPr>
              <a:t>度。</a:t>
            </a:r>
            <a:endParaRPr lang="en-US" altLang="zh-CN" sz="1900" b="1" dirty="0">
              <a:solidFill>
                <a:srgbClr val="000000"/>
              </a:solidFill>
              <a:ea typeface="宋体" pitchFamily="2" charset="-122"/>
            </a:endParaRPr>
          </a:p>
        </p:txBody>
      </p:sp>
      <p:sp>
        <p:nvSpPr>
          <p:cNvPr id="7" name="Rectangle 3"/>
          <p:cNvSpPr>
            <a:spLocks noChangeArrowheads="1"/>
          </p:cNvSpPr>
          <p:nvPr>
            <p:custDataLst>
              <p:tags r:id="rId3"/>
            </p:custDataLst>
          </p:nvPr>
        </p:nvSpPr>
        <p:spPr bwMode="auto">
          <a:xfrm>
            <a:off x="0" y="5445125"/>
            <a:ext cx="12198350" cy="719138"/>
          </a:xfrm>
          <a:prstGeom prst="rect">
            <a:avLst/>
          </a:prstGeom>
          <a:solidFill>
            <a:srgbClr val="ADBECB"/>
          </a:solidFill>
          <a:ln w="9525">
            <a:noFill/>
            <a:miter lim="800000"/>
            <a:headEnd/>
            <a:tailEnd/>
          </a:ln>
        </p:spPr>
        <p:txBody>
          <a:bodyPr lIns="626074" tIns="71963" rIns="395794" bIns="71963" anchor="ctr"/>
          <a:lstStyle/>
          <a:p>
            <a:pPr eaLnBrk="0" hangingPunct="0">
              <a:buSzPct val="100000"/>
            </a:pPr>
            <a:r>
              <a:rPr lang="zh-CN" altLang="en-US" sz="1700" b="1" dirty="0" smtClean="0">
                <a:solidFill>
                  <a:srgbClr val="000000"/>
                </a:solidFill>
                <a:ea typeface="宋体" pitchFamily="2" charset="-122"/>
              </a:rPr>
              <a:t>西门子无</a:t>
            </a:r>
            <a:r>
              <a:rPr lang="zh-CN" altLang="en-US" sz="1700" b="1" dirty="0">
                <a:solidFill>
                  <a:srgbClr val="000000"/>
                </a:solidFill>
                <a:ea typeface="宋体" pitchFamily="2" charset="-122"/>
              </a:rPr>
              <a:t>缝集</a:t>
            </a:r>
            <a:r>
              <a:rPr lang="zh-CN" altLang="en-US" sz="1700" b="1" dirty="0" smtClean="0">
                <a:solidFill>
                  <a:srgbClr val="000000"/>
                </a:solidFill>
                <a:ea typeface="宋体" pitchFamily="2" charset="-122"/>
              </a:rPr>
              <a:t>成了产品开发、</a:t>
            </a:r>
            <a:r>
              <a:rPr lang="zh-CN" altLang="en-US" sz="1700" b="1" dirty="0">
                <a:solidFill>
                  <a:srgbClr val="000000"/>
                </a:solidFill>
                <a:ea typeface="宋体" pitchFamily="2" charset="-122"/>
              </a:rPr>
              <a:t>生</a:t>
            </a:r>
            <a:r>
              <a:rPr lang="zh-CN" altLang="en-US" sz="1700" b="1" dirty="0" smtClean="0">
                <a:solidFill>
                  <a:srgbClr val="000000"/>
                </a:solidFill>
                <a:ea typeface="宋体" pitchFamily="2" charset="-122"/>
              </a:rPr>
              <a:t>产和</a:t>
            </a:r>
            <a:r>
              <a:rPr lang="zh-CN" altLang="en-US" sz="1700" b="1" dirty="0">
                <a:solidFill>
                  <a:srgbClr val="000000"/>
                </a:solidFill>
                <a:ea typeface="宋体" pitchFamily="2" charset="-122"/>
              </a:rPr>
              <a:t>供</a:t>
            </a:r>
            <a:r>
              <a:rPr lang="zh-CN" altLang="en-US" sz="1700" b="1" dirty="0" smtClean="0">
                <a:solidFill>
                  <a:srgbClr val="000000"/>
                </a:solidFill>
                <a:ea typeface="宋体" pitchFamily="2" charset="-122"/>
              </a:rPr>
              <a:t>应。</a:t>
            </a:r>
            <a:endParaRPr lang="en-US" altLang="zh-CN" sz="1700" b="1" dirty="0">
              <a:solidFill>
                <a:srgbClr val="000000"/>
              </a:solidFill>
              <a:ea typeface="宋体" pitchFamily="2" charset="-122"/>
            </a:endParaRPr>
          </a:p>
        </p:txBody>
      </p:sp>
      <p:pic>
        <p:nvPicPr>
          <p:cNvPr id="89092" name="cdtPicture 2 Id3"/>
          <p:cNvPicPr>
            <a:picLocks/>
          </p:cNvPicPr>
          <p:nvPr>
            <p:custDataLst>
              <p:tags r:id="rId4"/>
            </p:custDataLst>
          </p:nvPr>
        </p:nvPicPr>
        <p:blipFill>
          <a:blip r:embed="rId7"/>
          <a:srcRect l="11101"/>
          <a:stretch>
            <a:fillRect/>
          </a:stretch>
        </p:blipFill>
        <p:spPr bwMode="auto">
          <a:xfrm>
            <a:off x="6243714" y="1411288"/>
            <a:ext cx="5954637" cy="3924300"/>
          </a:xfrm>
          <a:prstGeom prst="rect">
            <a:avLst/>
          </a:prstGeom>
          <a:noFill/>
          <a:ln w="9525">
            <a:noFill/>
            <a:miter lim="800000"/>
            <a:headEnd/>
            <a:tailEnd/>
          </a:ln>
        </p:spPr>
      </p:pic>
      <p:cxnSp>
        <p:nvCxnSpPr>
          <p:cNvPr id="89093" name="Gerade Verbindung 12"/>
          <p:cNvCxnSpPr>
            <a:cxnSpLocks noChangeShapeType="1"/>
          </p:cNvCxnSpPr>
          <p:nvPr/>
        </p:nvCxnSpPr>
        <p:spPr bwMode="auto">
          <a:xfrm>
            <a:off x="0" y="5453063"/>
            <a:ext cx="12198350" cy="0"/>
          </a:xfrm>
          <a:prstGeom prst="line">
            <a:avLst/>
          </a:prstGeom>
          <a:noFill/>
          <a:ln w="28575" algn="ctr">
            <a:solidFill>
              <a:srgbClr val="FFFFFF"/>
            </a:solidFill>
            <a:round/>
            <a:headEnd/>
            <a:tailEnd/>
          </a:ln>
        </p:spPr>
      </p:cxnSp>
    </p:spTree>
    <p:custDataLst>
      <p:tags r:id="rId1"/>
    </p:custDataLst>
    <p:extLst>
      <p:ext uri="{BB962C8B-B14F-4D97-AF65-F5344CB8AC3E}">
        <p14:creationId xmlns:p14="http://schemas.microsoft.com/office/powerpoint/2010/main" val="2011384013"/>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dirty="0" smtClean="0"/>
              <a:t>Siemens PLM Software </a:t>
            </a:r>
            <a:r>
              <a:rPr lang="zh-CN" altLang="en-US" dirty="0" smtClean="0"/>
              <a:t>在全球</a:t>
            </a:r>
            <a:endParaRPr lang="en-US" dirty="0"/>
          </a:p>
        </p:txBody>
      </p:sp>
      <p:sp>
        <p:nvSpPr>
          <p:cNvPr id="6" name="Rectangle 5"/>
          <p:cNvSpPr/>
          <p:nvPr/>
        </p:nvSpPr>
        <p:spPr>
          <a:xfrm>
            <a:off x="914600" y="1700809"/>
            <a:ext cx="8234164" cy="2092881"/>
          </a:xfrm>
          <a:prstGeom prst="rect">
            <a:avLst/>
          </a:prstGeom>
        </p:spPr>
        <p:txBody>
          <a:bodyPr wrap="square">
            <a:spAutoFit/>
          </a:bodyPr>
          <a:lstStyle/>
          <a:p>
            <a:r>
              <a:rPr lang="zh-CN" altLang="en-US" sz="2000" dirty="0">
                <a:solidFill>
                  <a:schemeClr val="tx1"/>
                </a:solidFill>
              </a:rPr>
              <a:t>西门子数字化工厂集团旗下机构</a:t>
            </a:r>
            <a:r>
              <a:rPr lang="en-US" altLang="zh-CN" sz="2000" dirty="0">
                <a:solidFill>
                  <a:schemeClr val="tx1"/>
                </a:solidFill>
              </a:rPr>
              <a:t>Siemens PLM Software</a:t>
            </a:r>
            <a:r>
              <a:rPr lang="zh-CN" altLang="en-US" sz="2000" dirty="0">
                <a:solidFill>
                  <a:schemeClr val="tx1"/>
                </a:solidFill>
              </a:rPr>
              <a:t>是全球领先的产品生命周期管理（</a:t>
            </a:r>
            <a:r>
              <a:rPr lang="en-US" altLang="zh-CN" sz="2000" dirty="0">
                <a:solidFill>
                  <a:schemeClr val="tx1"/>
                </a:solidFill>
              </a:rPr>
              <a:t>PLM</a:t>
            </a:r>
            <a:r>
              <a:rPr lang="zh-CN" altLang="en-US" sz="2000" dirty="0">
                <a:solidFill>
                  <a:schemeClr val="tx1"/>
                </a:solidFill>
              </a:rPr>
              <a:t>）和生产运营管理（</a:t>
            </a:r>
            <a:r>
              <a:rPr lang="en-US" altLang="zh-CN" sz="2000" dirty="0">
                <a:solidFill>
                  <a:schemeClr val="tx1"/>
                </a:solidFill>
              </a:rPr>
              <a:t>MOM</a:t>
            </a:r>
            <a:r>
              <a:rPr lang="zh-CN" altLang="en-US" sz="2000" dirty="0">
                <a:solidFill>
                  <a:schemeClr val="tx1"/>
                </a:solidFill>
              </a:rPr>
              <a:t>）软件、系统与服务提供商</a:t>
            </a:r>
            <a:r>
              <a:rPr lang="zh-CN" altLang="en-US" sz="2000" dirty="0" smtClean="0">
                <a:solidFill>
                  <a:schemeClr val="tx1"/>
                </a:solidFill>
              </a:rPr>
              <a:t>，</a:t>
            </a:r>
            <a:endParaRPr lang="en-US" altLang="zh-CN" sz="2000" dirty="0" smtClean="0">
              <a:solidFill>
                <a:schemeClr val="tx1"/>
              </a:solidFill>
            </a:endParaRPr>
          </a:p>
          <a:p>
            <a:r>
              <a:rPr lang="zh-CN" altLang="en-US" sz="2000" dirty="0" smtClean="0">
                <a:solidFill>
                  <a:schemeClr val="tx1"/>
                </a:solidFill>
              </a:rPr>
              <a:t>拥</a:t>
            </a:r>
            <a:r>
              <a:rPr lang="zh-CN" altLang="en-US" sz="2000" dirty="0">
                <a:solidFill>
                  <a:schemeClr val="tx1"/>
                </a:solidFill>
              </a:rPr>
              <a:t>有超过</a:t>
            </a:r>
            <a:r>
              <a:rPr lang="en-US" altLang="zh-CN" sz="2000" dirty="0">
                <a:solidFill>
                  <a:schemeClr val="tx1"/>
                </a:solidFill>
              </a:rPr>
              <a:t>1,500</a:t>
            </a:r>
            <a:r>
              <a:rPr lang="zh-CN" altLang="en-US" sz="2000" dirty="0">
                <a:solidFill>
                  <a:schemeClr val="tx1"/>
                </a:solidFill>
              </a:rPr>
              <a:t>万套已发售软件，全球客户数量达</a:t>
            </a:r>
            <a:r>
              <a:rPr lang="en-US" altLang="zh-CN" sz="2000" dirty="0">
                <a:solidFill>
                  <a:schemeClr val="tx1"/>
                </a:solidFill>
              </a:rPr>
              <a:t>140,000</a:t>
            </a:r>
            <a:r>
              <a:rPr lang="zh-CN" altLang="en-US" sz="2000" dirty="0">
                <a:solidFill>
                  <a:schemeClr val="tx1"/>
                </a:solidFill>
              </a:rPr>
              <a:t>多家</a:t>
            </a:r>
            <a:r>
              <a:rPr lang="zh-CN" altLang="en-US" sz="2000" dirty="0" smtClean="0">
                <a:solidFill>
                  <a:schemeClr val="tx1"/>
                </a:solidFill>
              </a:rPr>
              <a:t>。</a:t>
            </a:r>
            <a:endParaRPr lang="en-US" altLang="zh-CN" sz="2000" dirty="0" smtClean="0">
              <a:solidFill>
                <a:schemeClr val="tx1"/>
              </a:solidFill>
            </a:endParaRPr>
          </a:p>
          <a:p>
            <a:r>
              <a:rPr lang="zh-CN" altLang="en-US" sz="2000" dirty="0" smtClean="0">
                <a:solidFill>
                  <a:schemeClr val="tx1"/>
                </a:solidFill>
              </a:rPr>
              <a:t>公</a:t>
            </a:r>
            <a:r>
              <a:rPr lang="zh-CN" altLang="en-US" sz="2000" dirty="0">
                <a:solidFill>
                  <a:schemeClr val="tx1"/>
                </a:solidFill>
              </a:rPr>
              <a:t>司总部位于美国德克萨斯州普莱诺市</a:t>
            </a:r>
            <a:r>
              <a:rPr lang="zh-CN" altLang="en-US" sz="2000" dirty="0" smtClean="0">
                <a:solidFill>
                  <a:schemeClr val="tx1"/>
                </a:solidFill>
              </a:rPr>
              <a:t>。</a:t>
            </a:r>
            <a:endParaRPr lang="en-US" altLang="zh-CN" sz="2000" dirty="0" smtClean="0">
              <a:solidFill>
                <a:schemeClr val="tx1"/>
              </a:solidFill>
            </a:endParaRPr>
          </a:p>
          <a:p>
            <a:r>
              <a:rPr lang="en-US" altLang="zh-CN" sz="2000" dirty="0" smtClean="0">
                <a:hlinkClick r:id="rId2"/>
              </a:rPr>
              <a:t>http</a:t>
            </a:r>
            <a:r>
              <a:rPr lang="en-US" altLang="zh-CN" sz="2000" dirty="0">
                <a:hlinkClick r:id="rId2"/>
              </a:rPr>
              <a:t>://www.plm.automation.siemens.com/zh_cn/</a:t>
            </a:r>
            <a:endParaRPr lang="en-US" sz="2000" dirty="0"/>
          </a:p>
        </p:txBody>
      </p:sp>
      <p:pic>
        <p:nvPicPr>
          <p:cNvPr id="89090" name="Picture 2" descr="C:\Users\zhangyuj\Desktop\Realize Innovation Campaign ads materials\SIP-Frontside-2015.03.23.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1665" y="2017676"/>
            <a:ext cx="4832681" cy="4809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109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el 1"/>
          <p:cNvSpPr>
            <a:spLocks noGrp="1"/>
          </p:cNvSpPr>
          <p:nvPr>
            <p:ph type="title"/>
          </p:nvPr>
        </p:nvSpPr>
        <p:spPr>
          <a:xfrm>
            <a:off x="0" y="1"/>
            <a:ext cx="12198350" cy="1268413"/>
          </a:xfrm>
        </p:spPr>
        <p:txBody>
          <a:bodyPr/>
          <a:lstStyle/>
          <a:p>
            <a:r>
              <a:rPr lang="zh-CN" altLang="en-US" dirty="0" smtClean="0">
                <a:latin typeface="微软雅黑" panose="020B0503020204020204" pitchFamily="34" charset="-122"/>
                <a:ea typeface="微软雅黑" panose="020B0503020204020204" pitchFamily="34" charset="-122"/>
              </a:rPr>
              <a:t>互联网正在造就商业变革，并向制造业提出了新的挑战</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用户参与</a:t>
            </a:r>
            <a:r>
              <a:rPr lang="zh-CN" altLang="en-US" dirty="0">
                <a:latin typeface="微软雅黑" panose="020B0503020204020204" pitchFamily="34" charset="-122"/>
                <a:ea typeface="微软雅黑" panose="020B0503020204020204" pitchFamily="34" charset="-122"/>
              </a:rPr>
              <a:t>的</a:t>
            </a:r>
            <a:r>
              <a:rPr lang="zh-CN" altLang="en-US" dirty="0" smtClean="0">
                <a:latin typeface="微软雅黑" panose="020B0503020204020204" pitchFamily="34" charset="-122"/>
                <a:ea typeface="微软雅黑" panose="020B0503020204020204" pitchFamily="34" charset="-122"/>
              </a:rPr>
              <a:t>个性化定制</a:t>
            </a:r>
            <a:endParaRPr lang="en-US" altLang="de-DE" dirty="0">
              <a:latin typeface="微软雅黑" panose="020B0503020204020204" pitchFamily="34" charset="-122"/>
              <a:ea typeface="微软雅黑" panose="020B0503020204020204" pitchFamily="34" charset="-122"/>
            </a:endParaRPr>
          </a:p>
        </p:txBody>
      </p:sp>
      <p:grpSp>
        <p:nvGrpSpPr>
          <p:cNvPr id="2" name="Gruppieren 1"/>
          <p:cNvGrpSpPr/>
          <p:nvPr/>
        </p:nvGrpSpPr>
        <p:grpSpPr>
          <a:xfrm>
            <a:off x="719425" y="1414800"/>
            <a:ext cx="10950647" cy="5027478"/>
            <a:chOff x="3277904" y="1414800"/>
            <a:chExt cx="5501902" cy="5027478"/>
          </a:xfrm>
        </p:grpSpPr>
        <p:sp>
          <p:nvSpPr>
            <p:cNvPr id="16" name="Rechteck 15"/>
            <p:cNvSpPr/>
            <p:nvPr/>
          </p:nvSpPr>
          <p:spPr bwMode="auto">
            <a:xfrm>
              <a:off x="3277904" y="1414800"/>
              <a:ext cx="5501901" cy="4751050"/>
            </a:xfrm>
            <a:prstGeom prst="rect">
              <a:avLst/>
            </a:prstGeom>
            <a:solidFill>
              <a:srgbClr val="EBF0F5"/>
            </a:solid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latin typeface="微软雅黑" panose="020B0503020204020204" pitchFamily="34" charset="-122"/>
                <a:ea typeface="微软雅黑" panose="020B0503020204020204" pitchFamily="34" charset="-122"/>
              </a:endParaRPr>
            </a:p>
          </p:txBody>
        </p:sp>
        <p:pic>
          <p:nvPicPr>
            <p:cNvPr id="97292" name="Grafik 97291"/>
            <p:cNvPicPr>
              <a:picLocks noChangeAspect="1"/>
            </p:cNvPicPr>
            <p:nvPr/>
          </p:nvPicPr>
          <p:blipFill rotWithShape="1">
            <a:blip r:embed="rId9" cstate="screen">
              <a:extLst>
                <a:ext uri="{28A0092B-C50C-407E-A947-70E740481C1C}">
                  <a14:useLocalDpi xmlns:a14="http://schemas.microsoft.com/office/drawing/2010/main"/>
                </a:ext>
              </a:extLst>
            </a:blip>
            <a:srcRect t="3193"/>
            <a:stretch/>
          </p:blipFill>
          <p:spPr>
            <a:xfrm>
              <a:off x="3278381" y="1414800"/>
              <a:ext cx="3035848" cy="4585042"/>
            </a:xfrm>
            <a:prstGeom prst="rect">
              <a:avLst/>
            </a:prstGeom>
          </p:spPr>
        </p:pic>
        <p:grpSp>
          <p:nvGrpSpPr>
            <p:cNvPr id="97289" name="Gruppieren 97288"/>
            <p:cNvGrpSpPr/>
            <p:nvPr/>
          </p:nvGrpSpPr>
          <p:grpSpPr>
            <a:xfrm>
              <a:off x="3445015" y="1702296"/>
              <a:ext cx="5114282" cy="4739982"/>
              <a:chOff x="5336986" y="2127350"/>
              <a:chExt cx="6210785" cy="4314928"/>
            </a:xfrm>
          </p:grpSpPr>
          <p:pic>
            <p:nvPicPr>
              <p:cNvPr id="29" name="Grafik 28"/>
              <p:cNvPicPr>
                <a:picLocks/>
              </p:cNvPicPr>
              <p:nvPr/>
            </p:nvPicPr>
            <p:blipFill rotWithShape="1">
              <a:blip r:embed="rId10">
                <a:extLst>
                  <a:ext uri="{28A0092B-C50C-407E-A947-70E740481C1C}">
                    <a14:useLocalDpi xmlns:a14="http://schemas.microsoft.com/office/drawing/2010/main"/>
                  </a:ext>
                </a:extLst>
              </a:blip>
              <a:srcRect/>
              <a:stretch/>
            </p:blipFill>
            <p:spPr>
              <a:xfrm>
                <a:off x="9596945" y="2494872"/>
                <a:ext cx="1778725" cy="1909886"/>
              </a:xfrm>
              <a:prstGeom prst="ellipse">
                <a:avLst/>
              </a:prstGeom>
            </p:spPr>
          </p:pic>
          <p:pic>
            <p:nvPicPr>
              <p:cNvPr id="40" name="Picture 9"/>
              <p:cNvPicPr>
                <a:picLocks noChangeArrowheads="1"/>
              </p:cNvPicPr>
              <p:nvPr>
                <p:custDataLst>
                  <p:tags r:id="rId2"/>
                </p:custDataLst>
              </p:nvPr>
            </p:nvPicPr>
            <p:blipFill>
              <a:blip r:embed="rId11">
                <a:extLst>
                  <a:ext uri="{28A0092B-C50C-407E-A947-70E740481C1C}">
                    <a14:useLocalDpi xmlns:a14="http://schemas.microsoft.com/office/drawing/2010/main"/>
                  </a:ext>
                </a:extLst>
              </a:blip>
              <a:stretch>
                <a:fillRect/>
              </a:stretch>
            </p:blipFill>
            <p:spPr bwMode="auto">
              <a:xfrm>
                <a:off x="9777723" y="2838790"/>
                <a:ext cx="830336" cy="1022010"/>
              </a:xfrm>
              <a:prstGeom prst="rect">
                <a:avLst/>
              </a:prstGeom>
              <a:noFill/>
              <a:ln>
                <a:noFill/>
              </a:ln>
              <a:effectLst>
                <a:outerShdw blurRad="2032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9"/>
              <p:cNvPicPr>
                <a:picLocks noChangeArrowheads="1"/>
              </p:cNvPicPr>
              <p:nvPr>
                <p:custDataLst>
                  <p:tags r:id="rId3"/>
                </p:custDataLst>
              </p:nvPr>
            </p:nvPicPr>
            <p:blipFill>
              <a:blip r:embed="rId11" cstate="screen">
                <a:extLst>
                  <a:ext uri="{28A0092B-C50C-407E-A947-70E740481C1C}">
                    <a14:useLocalDpi xmlns:a14="http://schemas.microsoft.com/office/drawing/2010/main"/>
                  </a:ext>
                </a:extLst>
              </a:blip>
              <a:stretch>
                <a:fillRect/>
              </a:stretch>
            </p:blipFill>
            <p:spPr bwMode="auto">
              <a:xfrm>
                <a:off x="10711634" y="2127350"/>
                <a:ext cx="747303" cy="921632"/>
              </a:xfrm>
              <a:prstGeom prst="rect">
                <a:avLst/>
              </a:prstGeom>
              <a:noFill/>
              <a:ln>
                <a:noFill/>
              </a:ln>
              <a:effectLst>
                <a:outerShdw blurRad="2032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9"/>
              <p:cNvPicPr>
                <a:picLocks noChangeAspect="1" noChangeArrowheads="1"/>
              </p:cNvPicPr>
              <p:nvPr>
                <p:custDataLst>
                  <p:tags r:id="rId4"/>
                </p:custDataLst>
              </p:nvPr>
            </p:nvPicPr>
            <p:blipFill>
              <a:blip r:embed="rId12" cstate="screen">
                <a:extLst>
                  <a:ext uri="{28A0092B-C50C-407E-A947-70E740481C1C}">
                    <a14:useLocalDpi xmlns:a14="http://schemas.microsoft.com/office/drawing/2010/main"/>
                  </a:ext>
                </a:extLst>
              </a:blip>
              <a:stretch>
                <a:fillRect/>
              </a:stretch>
            </p:blipFill>
            <p:spPr bwMode="auto">
              <a:xfrm>
                <a:off x="9726142" y="2427236"/>
                <a:ext cx="357285" cy="443986"/>
              </a:xfrm>
              <a:prstGeom prst="rect">
                <a:avLst/>
              </a:prstGeom>
              <a:noFill/>
              <a:ln>
                <a:noFill/>
              </a:ln>
              <a:effectLst>
                <a:outerShdw blurRad="2032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9"/>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tretch>
                <a:fillRect/>
              </a:stretch>
            </p:blipFill>
            <p:spPr bwMode="auto">
              <a:xfrm>
                <a:off x="10977107" y="3700406"/>
                <a:ext cx="570664" cy="704828"/>
              </a:xfrm>
              <a:prstGeom prst="rect">
                <a:avLst/>
              </a:prstGeom>
              <a:noFill/>
              <a:ln>
                <a:noFill/>
              </a:ln>
              <a:effectLst>
                <a:outerShdw blurRad="2032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9"/>
              <p:cNvPicPr>
                <a:picLocks noChangeAspect="1" noChangeArrowheads="1"/>
              </p:cNvPicPr>
              <p:nvPr>
                <p:custDataLst>
                  <p:tags r:id="rId6"/>
                </p:custDataLst>
              </p:nvPr>
            </p:nvPicPr>
            <p:blipFill>
              <a:blip r:embed="rId12" cstate="screen">
                <a:extLst>
                  <a:ext uri="{28A0092B-C50C-407E-A947-70E740481C1C}">
                    <a14:useLocalDpi xmlns:a14="http://schemas.microsoft.com/office/drawing/2010/main"/>
                  </a:ext>
                </a:extLst>
              </a:blip>
              <a:stretch>
                <a:fillRect/>
              </a:stretch>
            </p:blipFill>
            <p:spPr bwMode="auto">
              <a:xfrm>
                <a:off x="9315892" y="3043366"/>
                <a:ext cx="357285" cy="443986"/>
              </a:xfrm>
              <a:prstGeom prst="rect">
                <a:avLst/>
              </a:prstGeom>
              <a:noFill/>
              <a:ln>
                <a:noFill/>
              </a:ln>
              <a:effectLst>
                <a:outerShdw blurRad="2032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6"/>
              <p:cNvPicPr>
                <a:picLocks/>
              </p:cNvPicPr>
              <p:nvPr/>
            </p:nvPicPr>
            <p:blipFill rotWithShape="1">
              <a:blip r:embed="rId14" cstate="screen">
                <a:extLst>
                  <a:ext uri="{28A0092B-C50C-407E-A947-70E740481C1C}">
                    <a14:useLocalDpi xmlns:a14="http://schemas.microsoft.com/office/drawing/2010/main"/>
                  </a:ext>
                </a:extLst>
              </a:blip>
              <a:srcRect/>
              <a:stretch/>
            </p:blipFill>
            <p:spPr>
              <a:xfrm>
                <a:off x="5336986" y="2135028"/>
                <a:ext cx="2508636" cy="3070264"/>
              </a:xfrm>
              <a:prstGeom prst="rect">
                <a:avLst/>
              </a:prstGeom>
              <a:effectLst>
                <a:outerShdw blurRad="152400" dist="88900" dir="2700000" algn="tl" rotWithShape="0">
                  <a:prstClr val="black">
                    <a:alpha val="40000"/>
                  </a:prstClr>
                </a:outerShdw>
              </a:effectLst>
            </p:spPr>
          </p:pic>
          <p:sp>
            <p:nvSpPr>
              <p:cNvPr id="14" name="Freihandform 13"/>
              <p:cNvSpPr/>
              <p:nvPr/>
            </p:nvSpPr>
            <p:spPr bwMode="auto">
              <a:xfrm>
                <a:off x="5925293" y="3463463"/>
                <a:ext cx="4935146" cy="1446536"/>
              </a:xfrm>
              <a:custGeom>
                <a:avLst/>
                <a:gdLst>
                  <a:gd name="connsiteX0" fmla="*/ 0 w 5811253"/>
                  <a:gd name="connsiteY0" fmla="*/ 96252 h 2286000"/>
                  <a:gd name="connsiteX1" fmla="*/ 2803358 w 5811253"/>
                  <a:gd name="connsiteY1" fmla="*/ 2286000 h 2286000"/>
                  <a:gd name="connsiteX2" fmla="*/ 5811253 w 5811253"/>
                  <a:gd name="connsiteY2" fmla="*/ 0 h 2286000"/>
                  <a:gd name="connsiteX0" fmla="*/ 0 w 6080063"/>
                  <a:gd name="connsiteY0" fmla="*/ 96252 h 2286000"/>
                  <a:gd name="connsiteX1" fmla="*/ 2803358 w 6080063"/>
                  <a:gd name="connsiteY1" fmla="*/ 2286000 h 2286000"/>
                  <a:gd name="connsiteX2" fmla="*/ 5811253 w 6080063"/>
                  <a:gd name="connsiteY2" fmla="*/ 0 h 2286000"/>
                  <a:gd name="connsiteX0" fmla="*/ 390965 w 6471028"/>
                  <a:gd name="connsiteY0" fmla="*/ 96252 h 2286000"/>
                  <a:gd name="connsiteX1" fmla="*/ 3194323 w 6471028"/>
                  <a:gd name="connsiteY1" fmla="*/ 2286000 h 2286000"/>
                  <a:gd name="connsiteX2" fmla="*/ 6202218 w 6471028"/>
                  <a:gd name="connsiteY2" fmla="*/ 0 h 2286000"/>
                  <a:gd name="connsiteX0" fmla="*/ 389946 w 6470786"/>
                  <a:gd name="connsiteY0" fmla="*/ 96252 h 2286000"/>
                  <a:gd name="connsiteX1" fmla="*/ 3205336 w 6470786"/>
                  <a:gd name="connsiteY1" fmla="*/ 2286000 h 2286000"/>
                  <a:gd name="connsiteX2" fmla="*/ 6201199 w 6470786"/>
                  <a:gd name="connsiteY2" fmla="*/ 0 h 2286000"/>
                  <a:gd name="connsiteX0" fmla="*/ 813320 w 7248498"/>
                  <a:gd name="connsiteY0" fmla="*/ 96252 h 2286036"/>
                  <a:gd name="connsiteX1" fmla="*/ 3628710 w 7248498"/>
                  <a:gd name="connsiteY1" fmla="*/ 2286000 h 2286036"/>
                  <a:gd name="connsiteX2" fmla="*/ 6624573 w 7248498"/>
                  <a:gd name="connsiteY2" fmla="*/ 0 h 2286036"/>
                  <a:gd name="connsiteX0" fmla="*/ 382363 w 5720138"/>
                  <a:gd name="connsiteY0" fmla="*/ 57556 h 2247369"/>
                  <a:gd name="connsiteX1" fmla="*/ 3197753 w 5720138"/>
                  <a:gd name="connsiteY1" fmla="*/ 2247304 h 2247369"/>
                  <a:gd name="connsiteX2" fmla="*/ 5402047 w 5720138"/>
                  <a:gd name="connsiteY2" fmla="*/ 0 h 2247369"/>
                  <a:gd name="connsiteX0" fmla="*/ 472461 w 4735672"/>
                  <a:gd name="connsiteY0" fmla="*/ 173642 h 2247946"/>
                  <a:gd name="connsiteX1" fmla="*/ 2227447 w 4735672"/>
                  <a:gd name="connsiteY1" fmla="*/ 2247304 h 2247946"/>
                  <a:gd name="connsiteX2" fmla="*/ 4431741 w 4735672"/>
                  <a:gd name="connsiteY2" fmla="*/ 0 h 2247946"/>
                  <a:gd name="connsiteX0" fmla="*/ 1296449 w 5559660"/>
                  <a:gd name="connsiteY0" fmla="*/ 173642 h 2247603"/>
                  <a:gd name="connsiteX1" fmla="*/ 3051435 w 5559660"/>
                  <a:gd name="connsiteY1" fmla="*/ 2247304 h 2247603"/>
                  <a:gd name="connsiteX2" fmla="*/ 5255729 w 5559660"/>
                  <a:gd name="connsiteY2" fmla="*/ 0 h 2247603"/>
                  <a:gd name="connsiteX0" fmla="*/ 1142077 w 5405288"/>
                  <a:gd name="connsiteY0" fmla="*/ 173642 h 2247708"/>
                  <a:gd name="connsiteX1" fmla="*/ 2897063 w 5405288"/>
                  <a:gd name="connsiteY1" fmla="*/ 2247304 h 2247708"/>
                  <a:gd name="connsiteX2" fmla="*/ 5101357 w 5405288"/>
                  <a:gd name="connsiteY2" fmla="*/ 0 h 2247708"/>
                  <a:gd name="connsiteX0" fmla="*/ 1142077 w 6123566"/>
                  <a:gd name="connsiteY0" fmla="*/ 173642 h 2247708"/>
                  <a:gd name="connsiteX1" fmla="*/ 2897063 w 6123566"/>
                  <a:gd name="connsiteY1" fmla="*/ 2247304 h 2247708"/>
                  <a:gd name="connsiteX2" fmla="*/ 5101357 w 6123566"/>
                  <a:gd name="connsiteY2" fmla="*/ 0 h 2247708"/>
                  <a:gd name="connsiteX0" fmla="*/ 2011583 w 7768581"/>
                  <a:gd name="connsiteY0" fmla="*/ 173642 h 2247349"/>
                  <a:gd name="connsiteX1" fmla="*/ 3766569 w 7768581"/>
                  <a:gd name="connsiteY1" fmla="*/ 2247304 h 2247349"/>
                  <a:gd name="connsiteX2" fmla="*/ 5970863 w 7768581"/>
                  <a:gd name="connsiteY2" fmla="*/ 0 h 2247349"/>
                  <a:gd name="connsiteX0" fmla="*/ 1158365 w 6690535"/>
                  <a:gd name="connsiteY0" fmla="*/ 76902 h 2150645"/>
                  <a:gd name="connsiteX1" fmla="*/ 2913351 w 6690535"/>
                  <a:gd name="connsiteY1" fmla="*/ 2150564 h 2150645"/>
                  <a:gd name="connsiteX2" fmla="*/ 5742084 w 6690535"/>
                  <a:gd name="connsiteY2" fmla="*/ 0 h 2150645"/>
                  <a:gd name="connsiteX0" fmla="*/ 1162579 w 6666452"/>
                  <a:gd name="connsiteY0" fmla="*/ 18858 h 2150568"/>
                  <a:gd name="connsiteX1" fmla="*/ 2889813 w 6666452"/>
                  <a:gd name="connsiteY1" fmla="*/ 2150564 h 2150568"/>
                  <a:gd name="connsiteX2" fmla="*/ 5718546 w 6666452"/>
                  <a:gd name="connsiteY2" fmla="*/ 0 h 2150568"/>
                  <a:gd name="connsiteX0" fmla="*/ 1433017 w 7136212"/>
                  <a:gd name="connsiteY0" fmla="*/ 18858 h 2150801"/>
                  <a:gd name="connsiteX1" fmla="*/ 3160251 w 7136212"/>
                  <a:gd name="connsiteY1" fmla="*/ 2150564 h 2150801"/>
                  <a:gd name="connsiteX2" fmla="*/ 5988984 w 7136212"/>
                  <a:gd name="connsiteY2" fmla="*/ 0 h 2150801"/>
                  <a:gd name="connsiteX0" fmla="*/ 748609 w 6451803"/>
                  <a:gd name="connsiteY0" fmla="*/ 18858 h 2150897"/>
                  <a:gd name="connsiteX1" fmla="*/ 2475843 w 6451803"/>
                  <a:gd name="connsiteY1" fmla="*/ 2150564 h 2150897"/>
                  <a:gd name="connsiteX2" fmla="*/ 5304576 w 6451803"/>
                  <a:gd name="connsiteY2" fmla="*/ 0 h 2150897"/>
                  <a:gd name="connsiteX0" fmla="*/ 748609 w 5810377"/>
                  <a:gd name="connsiteY0" fmla="*/ 18858 h 2150897"/>
                  <a:gd name="connsiteX1" fmla="*/ 2475843 w 5810377"/>
                  <a:gd name="connsiteY1" fmla="*/ 2150564 h 2150897"/>
                  <a:gd name="connsiteX2" fmla="*/ 5304576 w 5810377"/>
                  <a:gd name="connsiteY2" fmla="*/ 0 h 2150897"/>
                  <a:gd name="connsiteX0" fmla="*/ 748609 w 5849386"/>
                  <a:gd name="connsiteY0" fmla="*/ 18858 h 2150897"/>
                  <a:gd name="connsiteX1" fmla="*/ 2475843 w 5849386"/>
                  <a:gd name="connsiteY1" fmla="*/ 2150564 h 2150897"/>
                  <a:gd name="connsiteX2" fmla="*/ 5304576 w 5849386"/>
                  <a:gd name="connsiteY2" fmla="*/ 0 h 2150897"/>
                  <a:gd name="connsiteX0" fmla="*/ 748609 w 5790965"/>
                  <a:gd name="connsiteY0" fmla="*/ 18858 h 2150897"/>
                  <a:gd name="connsiteX1" fmla="*/ 2475843 w 5790965"/>
                  <a:gd name="connsiteY1" fmla="*/ 2150564 h 2150897"/>
                  <a:gd name="connsiteX2" fmla="*/ 5304576 w 5790965"/>
                  <a:gd name="connsiteY2" fmla="*/ 0 h 2150897"/>
                  <a:gd name="connsiteX0" fmla="*/ 609612 w 5759711"/>
                  <a:gd name="connsiteY0" fmla="*/ 18858 h 2172838"/>
                  <a:gd name="connsiteX1" fmla="*/ 2997944 w 5759711"/>
                  <a:gd name="connsiteY1" fmla="*/ 2172511 h 2172838"/>
                  <a:gd name="connsiteX2" fmla="*/ 5165579 w 5759711"/>
                  <a:gd name="connsiteY2" fmla="*/ 0 h 2172838"/>
                  <a:gd name="connsiteX0" fmla="*/ 604105 w 5760359"/>
                  <a:gd name="connsiteY0" fmla="*/ 18858 h 1909570"/>
                  <a:gd name="connsiteX1" fmla="*/ 3023918 w 5760359"/>
                  <a:gd name="connsiteY1" fmla="*/ 1909149 h 1909570"/>
                  <a:gd name="connsiteX2" fmla="*/ 5160072 w 5760359"/>
                  <a:gd name="connsiteY2" fmla="*/ 0 h 1909570"/>
                  <a:gd name="connsiteX0" fmla="*/ 604105 w 5760359"/>
                  <a:gd name="connsiteY0" fmla="*/ 18858 h 1427220"/>
                  <a:gd name="connsiteX1" fmla="*/ 3023918 w 5760359"/>
                  <a:gd name="connsiteY1" fmla="*/ 1426316 h 1427220"/>
                  <a:gd name="connsiteX2" fmla="*/ 5160072 w 5760359"/>
                  <a:gd name="connsiteY2" fmla="*/ 0 h 1427220"/>
                  <a:gd name="connsiteX0" fmla="*/ 598685 w 5761203"/>
                  <a:gd name="connsiteY0" fmla="*/ 18858 h 1646382"/>
                  <a:gd name="connsiteX1" fmla="*/ 3049979 w 5761203"/>
                  <a:gd name="connsiteY1" fmla="*/ 1645786 h 1646382"/>
                  <a:gd name="connsiteX2" fmla="*/ 5154652 w 5761203"/>
                  <a:gd name="connsiteY2" fmla="*/ 0 h 1646382"/>
                  <a:gd name="connsiteX0" fmla="*/ 428858 w 5370836"/>
                  <a:gd name="connsiteY0" fmla="*/ 216380 h 1844781"/>
                  <a:gd name="connsiteX1" fmla="*/ 2880152 w 5370836"/>
                  <a:gd name="connsiteY1" fmla="*/ 1843308 h 1844781"/>
                  <a:gd name="connsiteX2" fmla="*/ 4953344 w 5370836"/>
                  <a:gd name="connsiteY2" fmla="*/ 0 h 1844781"/>
                  <a:gd name="connsiteX0" fmla="*/ 424412 w 5371476"/>
                  <a:gd name="connsiteY0" fmla="*/ 216380 h 2326996"/>
                  <a:gd name="connsiteX1" fmla="*/ 2922927 w 5371476"/>
                  <a:gd name="connsiteY1" fmla="*/ 2326140 h 2326996"/>
                  <a:gd name="connsiteX2" fmla="*/ 4948898 w 5371476"/>
                  <a:gd name="connsiteY2" fmla="*/ 0 h 2326996"/>
                  <a:gd name="connsiteX0" fmla="*/ 570078 w 5691870"/>
                  <a:gd name="connsiteY0" fmla="*/ 216380 h 2326168"/>
                  <a:gd name="connsiteX1" fmla="*/ 3068593 w 5691870"/>
                  <a:gd name="connsiteY1" fmla="*/ 2326140 h 2326168"/>
                  <a:gd name="connsiteX2" fmla="*/ 5094564 w 5691870"/>
                  <a:gd name="connsiteY2" fmla="*/ 0 h 2326168"/>
                </a:gdLst>
                <a:ahLst/>
                <a:cxnLst>
                  <a:cxn ang="0">
                    <a:pos x="connsiteX0" y="connsiteY0"/>
                  </a:cxn>
                  <a:cxn ang="0">
                    <a:pos x="connsiteX1" y="connsiteY1"/>
                  </a:cxn>
                  <a:cxn ang="0">
                    <a:pos x="connsiteX2" y="connsiteY2"/>
                  </a:cxn>
                </a:cxnLst>
                <a:rect l="l" t="t" r="r" b="b"/>
                <a:pathLst>
                  <a:path w="5691870" h="2326168">
                    <a:moveTo>
                      <a:pt x="570078" y="216380"/>
                    </a:moveTo>
                    <a:cubicBezTo>
                      <a:pt x="-1019732" y="1251314"/>
                      <a:pt x="1008055" y="2318308"/>
                      <a:pt x="3068593" y="2326140"/>
                    </a:cubicBezTo>
                    <a:cubicBezTo>
                      <a:pt x="5129131" y="2333972"/>
                      <a:pt x="6554610" y="720885"/>
                      <a:pt x="5094564" y="0"/>
                    </a:cubicBezTo>
                  </a:path>
                </a:pathLst>
              </a:custGeom>
              <a:noFill/>
              <a:ln w="76200" cap="rnd">
                <a:solidFill>
                  <a:srgbClr val="FFFFFF"/>
                </a:solidFill>
                <a:round/>
                <a:headEnd type="none" w="med" len="med"/>
                <a:tailEnd type="arrow" w="med" len="med"/>
              </a:ln>
              <a:effectLst>
                <a:outerShdw blurRad="228600" dist="38099" dir="2700000" algn="ctr" rotWithShape="0">
                  <a:schemeClr val="tx1">
                    <a:alpha val="75000"/>
                  </a:schemeClr>
                </a:outerShdw>
              </a:effectLst>
              <a:extLst>
                <a:ext uri="{909E8E84-426E-40DD-AFC4-6F175D3DCCD1}">
                  <a14:hiddenFill xmlns:a14="http://schemas.microsoft.com/office/drawing/2010/main">
                    <a:solidFill>
                      <a:srgbClr val="BBE0E3"/>
                    </a:solidFill>
                  </a14:hiddenFill>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p:txBody>
          </p:sp>
          <p:sp>
            <p:nvSpPr>
              <p:cNvPr id="97288" name="Ellipse 97287"/>
              <p:cNvSpPr/>
              <p:nvPr/>
            </p:nvSpPr>
            <p:spPr bwMode="auto">
              <a:xfrm>
                <a:off x="7094906" y="2852477"/>
                <a:ext cx="3589801" cy="3589801"/>
              </a:xfrm>
              <a:prstGeom prst="ellipse">
                <a:avLst/>
              </a:prstGeom>
              <a:gradFill flip="none" rotWithShape="1">
                <a:gsLst>
                  <a:gs pos="43000">
                    <a:schemeClr val="bg1"/>
                  </a:gs>
                  <a:gs pos="64000">
                    <a:schemeClr val="bg1">
                      <a:alpha val="0"/>
                    </a:schemeClr>
                  </a:gs>
                  <a:gs pos="100000">
                    <a:schemeClr val="bg1">
                      <a:alpha val="0"/>
                    </a:schemeClr>
                  </a:gs>
                </a:gsLst>
                <a:path path="circle">
                  <a:fillToRect l="50000" t="50000" r="50000" b="50000"/>
                </a:path>
                <a:tileRect/>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latin typeface="微软雅黑" panose="020B0503020204020204" pitchFamily="34" charset="-122"/>
                  <a:ea typeface="微软雅黑" panose="020B0503020204020204" pitchFamily="34" charset="-122"/>
                </a:endParaRPr>
              </a:p>
            </p:txBody>
          </p:sp>
          <p:pic>
            <p:nvPicPr>
              <p:cNvPr id="12" name="Grafik 11"/>
              <p:cNvPicPr>
                <a:picLocks/>
              </p:cNvPicPr>
              <p:nvPr/>
            </p:nvPicPr>
            <p:blipFill>
              <a:blip r:embed="rId15" cstate="screen">
                <a:extLst>
                  <a:ext uri="{28A0092B-C50C-407E-A947-70E740481C1C}">
                    <a14:useLocalDpi xmlns:a14="http://schemas.microsoft.com/office/drawing/2010/main"/>
                  </a:ext>
                </a:extLst>
              </a:blip>
              <a:stretch>
                <a:fillRect/>
              </a:stretch>
            </p:blipFill>
            <p:spPr>
              <a:xfrm>
                <a:off x="7700387" y="3276116"/>
                <a:ext cx="2431522" cy="2742522"/>
              </a:xfrm>
              <a:prstGeom prst="rect">
                <a:avLst/>
              </a:prstGeom>
              <a:ln>
                <a:noFill/>
              </a:ln>
              <a:effectLst>
                <a:outerShdw blurRad="228600" dist="38100" dir="2700000" algn="tl" rotWithShape="0">
                  <a:prstClr val="black">
                    <a:alpha val="40000"/>
                  </a:prstClr>
                </a:outerShdw>
              </a:effectLst>
            </p:spPr>
          </p:pic>
          <p:sp>
            <p:nvSpPr>
              <p:cNvPr id="31" name="Freihandform 30"/>
              <p:cNvSpPr/>
              <p:nvPr/>
            </p:nvSpPr>
            <p:spPr bwMode="auto">
              <a:xfrm>
                <a:off x="5925292" y="3598020"/>
                <a:ext cx="2660629" cy="1311962"/>
              </a:xfrm>
              <a:custGeom>
                <a:avLst/>
                <a:gdLst>
                  <a:gd name="connsiteX0" fmla="*/ 0 w 5811253"/>
                  <a:gd name="connsiteY0" fmla="*/ 96252 h 2286000"/>
                  <a:gd name="connsiteX1" fmla="*/ 2803358 w 5811253"/>
                  <a:gd name="connsiteY1" fmla="*/ 2286000 h 2286000"/>
                  <a:gd name="connsiteX2" fmla="*/ 5811253 w 5811253"/>
                  <a:gd name="connsiteY2" fmla="*/ 0 h 2286000"/>
                  <a:gd name="connsiteX0" fmla="*/ 0 w 6080063"/>
                  <a:gd name="connsiteY0" fmla="*/ 96252 h 2286000"/>
                  <a:gd name="connsiteX1" fmla="*/ 2803358 w 6080063"/>
                  <a:gd name="connsiteY1" fmla="*/ 2286000 h 2286000"/>
                  <a:gd name="connsiteX2" fmla="*/ 5811253 w 6080063"/>
                  <a:gd name="connsiteY2" fmla="*/ 0 h 2286000"/>
                  <a:gd name="connsiteX0" fmla="*/ 390965 w 6471028"/>
                  <a:gd name="connsiteY0" fmla="*/ 96252 h 2286000"/>
                  <a:gd name="connsiteX1" fmla="*/ 3194323 w 6471028"/>
                  <a:gd name="connsiteY1" fmla="*/ 2286000 h 2286000"/>
                  <a:gd name="connsiteX2" fmla="*/ 6202218 w 6471028"/>
                  <a:gd name="connsiteY2" fmla="*/ 0 h 2286000"/>
                  <a:gd name="connsiteX0" fmla="*/ 389946 w 6470786"/>
                  <a:gd name="connsiteY0" fmla="*/ 96252 h 2286000"/>
                  <a:gd name="connsiteX1" fmla="*/ 3205336 w 6470786"/>
                  <a:gd name="connsiteY1" fmla="*/ 2286000 h 2286000"/>
                  <a:gd name="connsiteX2" fmla="*/ 6201199 w 6470786"/>
                  <a:gd name="connsiteY2" fmla="*/ 0 h 2286000"/>
                  <a:gd name="connsiteX0" fmla="*/ 813320 w 7248498"/>
                  <a:gd name="connsiteY0" fmla="*/ 96252 h 2286036"/>
                  <a:gd name="connsiteX1" fmla="*/ 3628710 w 7248498"/>
                  <a:gd name="connsiteY1" fmla="*/ 2286000 h 2286036"/>
                  <a:gd name="connsiteX2" fmla="*/ 6624573 w 7248498"/>
                  <a:gd name="connsiteY2" fmla="*/ 0 h 2286036"/>
                  <a:gd name="connsiteX0" fmla="*/ 382363 w 5720138"/>
                  <a:gd name="connsiteY0" fmla="*/ 57556 h 2247369"/>
                  <a:gd name="connsiteX1" fmla="*/ 3197753 w 5720138"/>
                  <a:gd name="connsiteY1" fmla="*/ 2247304 h 2247369"/>
                  <a:gd name="connsiteX2" fmla="*/ 5402047 w 5720138"/>
                  <a:gd name="connsiteY2" fmla="*/ 0 h 2247369"/>
                  <a:gd name="connsiteX0" fmla="*/ 472461 w 4735672"/>
                  <a:gd name="connsiteY0" fmla="*/ 173642 h 2247946"/>
                  <a:gd name="connsiteX1" fmla="*/ 2227447 w 4735672"/>
                  <a:gd name="connsiteY1" fmla="*/ 2247304 h 2247946"/>
                  <a:gd name="connsiteX2" fmla="*/ 4431741 w 4735672"/>
                  <a:gd name="connsiteY2" fmla="*/ 0 h 2247946"/>
                  <a:gd name="connsiteX0" fmla="*/ 1296449 w 5559660"/>
                  <a:gd name="connsiteY0" fmla="*/ 173642 h 2247603"/>
                  <a:gd name="connsiteX1" fmla="*/ 3051435 w 5559660"/>
                  <a:gd name="connsiteY1" fmla="*/ 2247304 h 2247603"/>
                  <a:gd name="connsiteX2" fmla="*/ 5255729 w 5559660"/>
                  <a:gd name="connsiteY2" fmla="*/ 0 h 2247603"/>
                  <a:gd name="connsiteX0" fmla="*/ 1142077 w 5405288"/>
                  <a:gd name="connsiteY0" fmla="*/ 173642 h 2247708"/>
                  <a:gd name="connsiteX1" fmla="*/ 2897063 w 5405288"/>
                  <a:gd name="connsiteY1" fmla="*/ 2247304 h 2247708"/>
                  <a:gd name="connsiteX2" fmla="*/ 5101357 w 5405288"/>
                  <a:gd name="connsiteY2" fmla="*/ 0 h 2247708"/>
                  <a:gd name="connsiteX0" fmla="*/ 1142077 w 6123566"/>
                  <a:gd name="connsiteY0" fmla="*/ 173642 h 2247708"/>
                  <a:gd name="connsiteX1" fmla="*/ 2897063 w 6123566"/>
                  <a:gd name="connsiteY1" fmla="*/ 2247304 h 2247708"/>
                  <a:gd name="connsiteX2" fmla="*/ 5101357 w 6123566"/>
                  <a:gd name="connsiteY2" fmla="*/ 0 h 2247708"/>
                  <a:gd name="connsiteX0" fmla="*/ 2011583 w 7768581"/>
                  <a:gd name="connsiteY0" fmla="*/ 173642 h 2247349"/>
                  <a:gd name="connsiteX1" fmla="*/ 3766569 w 7768581"/>
                  <a:gd name="connsiteY1" fmla="*/ 2247304 h 2247349"/>
                  <a:gd name="connsiteX2" fmla="*/ 5970863 w 7768581"/>
                  <a:gd name="connsiteY2" fmla="*/ 0 h 2247349"/>
                  <a:gd name="connsiteX0" fmla="*/ 1158365 w 6690535"/>
                  <a:gd name="connsiteY0" fmla="*/ 76902 h 2150645"/>
                  <a:gd name="connsiteX1" fmla="*/ 2913351 w 6690535"/>
                  <a:gd name="connsiteY1" fmla="*/ 2150564 h 2150645"/>
                  <a:gd name="connsiteX2" fmla="*/ 5742084 w 6690535"/>
                  <a:gd name="connsiteY2" fmla="*/ 0 h 2150645"/>
                  <a:gd name="connsiteX0" fmla="*/ 1162579 w 6666452"/>
                  <a:gd name="connsiteY0" fmla="*/ 18858 h 2150568"/>
                  <a:gd name="connsiteX1" fmla="*/ 2889813 w 6666452"/>
                  <a:gd name="connsiteY1" fmla="*/ 2150564 h 2150568"/>
                  <a:gd name="connsiteX2" fmla="*/ 5718546 w 6666452"/>
                  <a:gd name="connsiteY2" fmla="*/ 0 h 2150568"/>
                  <a:gd name="connsiteX0" fmla="*/ 1433017 w 7136212"/>
                  <a:gd name="connsiteY0" fmla="*/ 18858 h 2150801"/>
                  <a:gd name="connsiteX1" fmla="*/ 3160251 w 7136212"/>
                  <a:gd name="connsiteY1" fmla="*/ 2150564 h 2150801"/>
                  <a:gd name="connsiteX2" fmla="*/ 5988984 w 7136212"/>
                  <a:gd name="connsiteY2" fmla="*/ 0 h 2150801"/>
                  <a:gd name="connsiteX0" fmla="*/ 748609 w 6451803"/>
                  <a:gd name="connsiteY0" fmla="*/ 18858 h 2150897"/>
                  <a:gd name="connsiteX1" fmla="*/ 2475843 w 6451803"/>
                  <a:gd name="connsiteY1" fmla="*/ 2150564 h 2150897"/>
                  <a:gd name="connsiteX2" fmla="*/ 5304576 w 6451803"/>
                  <a:gd name="connsiteY2" fmla="*/ 0 h 2150897"/>
                  <a:gd name="connsiteX0" fmla="*/ 748609 w 5810377"/>
                  <a:gd name="connsiteY0" fmla="*/ 18858 h 2150897"/>
                  <a:gd name="connsiteX1" fmla="*/ 2475843 w 5810377"/>
                  <a:gd name="connsiteY1" fmla="*/ 2150564 h 2150897"/>
                  <a:gd name="connsiteX2" fmla="*/ 5304576 w 5810377"/>
                  <a:gd name="connsiteY2" fmla="*/ 0 h 2150897"/>
                  <a:gd name="connsiteX0" fmla="*/ 748609 w 5849386"/>
                  <a:gd name="connsiteY0" fmla="*/ 18858 h 2150897"/>
                  <a:gd name="connsiteX1" fmla="*/ 2475843 w 5849386"/>
                  <a:gd name="connsiteY1" fmla="*/ 2150564 h 2150897"/>
                  <a:gd name="connsiteX2" fmla="*/ 5304576 w 5849386"/>
                  <a:gd name="connsiteY2" fmla="*/ 0 h 2150897"/>
                  <a:gd name="connsiteX0" fmla="*/ 748609 w 5790965"/>
                  <a:gd name="connsiteY0" fmla="*/ 18858 h 2150897"/>
                  <a:gd name="connsiteX1" fmla="*/ 2475843 w 5790965"/>
                  <a:gd name="connsiteY1" fmla="*/ 2150564 h 2150897"/>
                  <a:gd name="connsiteX2" fmla="*/ 5304576 w 5790965"/>
                  <a:gd name="connsiteY2" fmla="*/ 0 h 2150897"/>
                  <a:gd name="connsiteX0" fmla="*/ 609612 w 5759711"/>
                  <a:gd name="connsiteY0" fmla="*/ 18858 h 2172838"/>
                  <a:gd name="connsiteX1" fmla="*/ 2997944 w 5759711"/>
                  <a:gd name="connsiteY1" fmla="*/ 2172511 h 2172838"/>
                  <a:gd name="connsiteX2" fmla="*/ 5165579 w 5759711"/>
                  <a:gd name="connsiteY2" fmla="*/ 0 h 2172838"/>
                  <a:gd name="connsiteX0" fmla="*/ 604105 w 5760359"/>
                  <a:gd name="connsiteY0" fmla="*/ 18858 h 1909570"/>
                  <a:gd name="connsiteX1" fmla="*/ 3023918 w 5760359"/>
                  <a:gd name="connsiteY1" fmla="*/ 1909149 h 1909570"/>
                  <a:gd name="connsiteX2" fmla="*/ 5160072 w 5760359"/>
                  <a:gd name="connsiteY2" fmla="*/ 0 h 1909570"/>
                  <a:gd name="connsiteX0" fmla="*/ 604105 w 5760359"/>
                  <a:gd name="connsiteY0" fmla="*/ 18858 h 1427220"/>
                  <a:gd name="connsiteX1" fmla="*/ 3023918 w 5760359"/>
                  <a:gd name="connsiteY1" fmla="*/ 1426316 h 1427220"/>
                  <a:gd name="connsiteX2" fmla="*/ 5160072 w 5760359"/>
                  <a:gd name="connsiteY2" fmla="*/ 0 h 1427220"/>
                  <a:gd name="connsiteX0" fmla="*/ 598685 w 5761203"/>
                  <a:gd name="connsiteY0" fmla="*/ 18858 h 1646382"/>
                  <a:gd name="connsiteX1" fmla="*/ 3049979 w 5761203"/>
                  <a:gd name="connsiteY1" fmla="*/ 1645786 h 1646382"/>
                  <a:gd name="connsiteX2" fmla="*/ 5154652 w 5761203"/>
                  <a:gd name="connsiteY2" fmla="*/ 0 h 1646382"/>
                  <a:gd name="connsiteX0" fmla="*/ 428858 w 5370836"/>
                  <a:gd name="connsiteY0" fmla="*/ 216380 h 1844781"/>
                  <a:gd name="connsiteX1" fmla="*/ 2880152 w 5370836"/>
                  <a:gd name="connsiteY1" fmla="*/ 1843308 h 1844781"/>
                  <a:gd name="connsiteX2" fmla="*/ 4953344 w 5370836"/>
                  <a:gd name="connsiteY2" fmla="*/ 0 h 1844781"/>
                  <a:gd name="connsiteX0" fmla="*/ 424412 w 5371476"/>
                  <a:gd name="connsiteY0" fmla="*/ 216380 h 2326996"/>
                  <a:gd name="connsiteX1" fmla="*/ 2922927 w 5371476"/>
                  <a:gd name="connsiteY1" fmla="*/ 2326140 h 2326996"/>
                  <a:gd name="connsiteX2" fmla="*/ 4948898 w 5371476"/>
                  <a:gd name="connsiteY2" fmla="*/ 0 h 2326996"/>
                  <a:gd name="connsiteX0" fmla="*/ 570078 w 5691870"/>
                  <a:gd name="connsiteY0" fmla="*/ 216380 h 2326168"/>
                  <a:gd name="connsiteX1" fmla="*/ 3068593 w 5691870"/>
                  <a:gd name="connsiteY1" fmla="*/ 2326140 h 2326168"/>
                  <a:gd name="connsiteX2" fmla="*/ 5094564 w 5691870"/>
                  <a:gd name="connsiteY2" fmla="*/ 0 h 2326168"/>
                  <a:gd name="connsiteX0" fmla="*/ 570078 w 3068593"/>
                  <a:gd name="connsiteY0" fmla="*/ -1 h 2109760"/>
                  <a:gd name="connsiteX1" fmla="*/ 3068593 w 3068593"/>
                  <a:gd name="connsiteY1" fmla="*/ 2109759 h 2109760"/>
                </a:gdLst>
                <a:ahLst/>
                <a:cxnLst>
                  <a:cxn ang="0">
                    <a:pos x="connsiteX0" y="connsiteY0"/>
                  </a:cxn>
                  <a:cxn ang="0">
                    <a:pos x="connsiteX1" y="connsiteY1"/>
                  </a:cxn>
                </a:cxnLst>
                <a:rect l="l" t="t" r="r" b="b"/>
                <a:pathLst>
                  <a:path w="3068593" h="2109760">
                    <a:moveTo>
                      <a:pt x="570078" y="-1"/>
                    </a:moveTo>
                    <a:cubicBezTo>
                      <a:pt x="-1019732" y="1034933"/>
                      <a:pt x="1008055" y="2101927"/>
                      <a:pt x="3068593" y="2109759"/>
                    </a:cubicBezTo>
                  </a:path>
                </a:pathLst>
              </a:custGeom>
              <a:noFill/>
              <a:ln w="76200" cap="rnd">
                <a:solidFill>
                  <a:srgbClr val="FFFFFF"/>
                </a:solidFill>
                <a:round/>
                <a:headEnd type="none" w="med" len="med"/>
                <a:tailEnd type="arrow" w="med" len="med"/>
              </a:ln>
              <a:effectLst>
                <a:outerShdw blurRad="228600" dist="50800" dir="2700000" algn="ctr" rotWithShape="0">
                  <a:schemeClr val="tx1">
                    <a:alpha val="75000"/>
                  </a:schemeClr>
                </a:outerShdw>
              </a:effectLst>
              <a:extLst>
                <a:ext uri="{909E8E84-426E-40DD-AFC4-6F175D3DCCD1}">
                  <a14:hiddenFill xmlns:a14="http://schemas.microsoft.com/office/drawing/2010/main">
                    <a:solidFill>
                      <a:srgbClr val="BBE0E3"/>
                    </a:solidFill>
                  </a14:hiddenFill>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p:txBody>
          </p:sp>
        </p:grpSp>
        <p:sp>
          <p:nvSpPr>
            <p:cNvPr id="25" name="Rechteck 24"/>
            <p:cNvSpPr/>
            <p:nvPr/>
          </p:nvSpPr>
          <p:spPr bwMode="auto">
            <a:xfrm>
              <a:off x="3278381" y="1414800"/>
              <a:ext cx="5501425" cy="4752000"/>
            </a:xfrm>
            <a:prstGeom prst="rect">
              <a:avLst/>
            </a:prstGeom>
            <a:noFill/>
            <a:ln w="12700">
              <a:solidFill>
                <a:srgbClr val="879BAA"/>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latin typeface="微软雅黑" panose="020B0503020204020204" pitchFamily="34" charset="-122"/>
                <a:ea typeface="微软雅黑" panose="020B0503020204020204" pitchFamily="34" charset="-122"/>
              </a:endParaRPr>
            </a:p>
          </p:txBody>
        </p:sp>
      </p:grpSp>
      <p:sp>
        <p:nvSpPr>
          <p:cNvPr id="45" name="Rectangle 44"/>
          <p:cNvSpPr/>
          <p:nvPr/>
        </p:nvSpPr>
        <p:spPr>
          <a:xfrm>
            <a:off x="806692" y="1413029"/>
            <a:ext cx="9147239" cy="461665"/>
          </a:xfrm>
          <a:prstGeom prst="rect">
            <a:avLst/>
          </a:prstGeom>
          <a:noFill/>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zh-CN" altLang="en-US" sz="2400" b="1" dirty="0">
                <a:ln/>
                <a:solidFill>
                  <a:schemeClr val="accent3"/>
                </a:solidFill>
                <a:latin typeface="宋体" panose="02010600030101010101" pitchFamily="2" charset="-122"/>
                <a:ea typeface="宋体" panose="02010600030101010101" pitchFamily="2" charset="-122"/>
              </a:rPr>
              <a:t>消费</a:t>
            </a:r>
            <a:r>
              <a:rPr lang="zh-CN" altLang="en-US" sz="2400" b="1" dirty="0" smtClean="0">
                <a:ln/>
                <a:solidFill>
                  <a:schemeClr val="accent3"/>
                </a:solidFill>
                <a:latin typeface="宋体" panose="02010600030101010101" pitchFamily="2" charset="-122"/>
                <a:ea typeface="宋体" panose="02010600030101010101" pitchFamily="2" charset="-122"/>
              </a:rPr>
              <a:t>的个性化浪</a:t>
            </a:r>
            <a:r>
              <a:rPr lang="zh-CN" altLang="en-US" sz="2400" b="1" dirty="0">
                <a:ln/>
                <a:solidFill>
                  <a:schemeClr val="accent3"/>
                </a:solidFill>
                <a:latin typeface="宋体" panose="02010600030101010101" pitchFamily="2" charset="-122"/>
                <a:ea typeface="宋体" panose="02010600030101010101" pitchFamily="2" charset="-122"/>
              </a:rPr>
              <a:t>潮要求从大规模生产转向大规模定制</a:t>
            </a:r>
            <a:endParaRPr lang="en-US" sz="2400" b="1" cap="none" spc="0" dirty="0">
              <a:ln/>
              <a:solidFill>
                <a:schemeClr val="accent3"/>
              </a:solidFill>
              <a:effectLst/>
              <a:latin typeface="宋体" panose="02010600030101010101" pitchFamily="2" charset="-122"/>
              <a:ea typeface="宋体" panose="02010600030101010101" pitchFamily="2" charset="-122"/>
            </a:endParaRPr>
          </a:p>
        </p:txBody>
      </p:sp>
    </p:spTree>
    <p:custDataLst>
      <p:tags r:id="rId1"/>
    </p:custDataLst>
    <p:extLst>
      <p:ext uri="{BB962C8B-B14F-4D97-AF65-F5344CB8AC3E}">
        <p14:creationId xmlns:p14="http://schemas.microsoft.com/office/powerpoint/2010/main" val="3879878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kt 25" hidden="1"/>
          <p:cNvGraphicFramePr>
            <a:graphicFrameLocks noChangeAspect="1"/>
          </p:cNvGraphicFramePr>
          <p:nvPr>
            <p:custDataLst>
              <p:tags r:id="rId2"/>
            </p:custDataLst>
            <p:extLst>
              <p:ext uri="{D42A27DB-BD31-4B8C-83A1-F6EECF244321}">
                <p14:modId xmlns:p14="http://schemas.microsoft.com/office/powerpoint/2010/main" val="299753741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223" name="think-cell Slide" r:id="rId7" imgW="360" imgH="360" progId="">
                  <p:embed/>
                </p:oleObj>
              </mc:Choice>
              <mc:Fallback>
                <p:oleObj name="think-cell Slide" r:id="rId7" imgW="360" imgH="360" progId="">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67" name="Titel 1"/>
          <p:cNvSpPr>
            <a:spLocks noGrp="1"/>
          </p:cNvSpPr>
          <p:nvPr>
            <p:ph type="title"/>
            <p:custDataLst>
              <p:tags r:id="rId3"/>
            </p:custDataLst>
          </p:nvPr>
        </p:nvSpPr>
        <p:spPr/>
        <p:txBody>
          <a:bodyPr/>
          <a:lstStyle/>
          <a:p>
            <a:pPr eaLnBrk="1" hangingPunct="1"/>
            <a:r>
              <a:rPr lang="zh-CN" altLang="en-US" dirty="0" smtClean="0">
                <a:latin typeface="SimSun" pitchFamily="2" charset="-122"/>
                <a:ea typeface="SimSun" pitchFamily="2" charset="-122"/>
              </a:rPr>
              <a:t>西门子在全球范围内积极推动工业</a:t>
            </a:r>
            <a:r>
              <a:rPr lang="en-US" altLang="zh-CN" dirty="0" smtClean="0">
                <a:latin typeface="SimSun" pitchFamily="2" charset="-122"/>
                <a:ea typeface="SimSun" pitchFamily="2" charset="-122"/>
              </a:rPr>
              <a:t>4.0</a:t>
            </a:r>
            <a:r>
              <a:rPr lang="zh-CN" altLang="en-US" dirty="0" smtClean="0">
                <a:latin typeface="SimSun" pitchFamily="2" charset="-122"/>
                <a:ea typeface="SimSun" pitchFamily="2" charset="-122"/>
              </a:rPr>
              <a:t>愿景共识</a:t>
            </a:r>
            <a:endParaRPr lang="en-US" altLang="en-US" dirty="0" smtClean="0">
              <a:latin typeface="SimSun" pitchFamily="2" charset="-122"/>
              <a:ea typeface="SimSun" pitchFamily="2" charset="-122"/>
            </a:endParaRPr>
          </a:p>
        </p:txBody>
      </p:sp>
      <p:sp>
        <p:nvSpPr>
          <p:cNvPr id="11268" name="Rectangle 123"/>
          <p:cNvSpPr>
            <a:spLocks noChangeArrowheads="1"/>
          </p:cNvSpPr>
          <p:nvPr>
            <p:custDataLst>
              <p:tags r:id="rId4"/>
            </p:custDataLst>
          </p:nvPr>
        </p:nvSpPr>
        <p:spPr bwMode="gray">
          <a:xfrm>
            <a:off x="5814560" y="6008687"/>
            <a:ext cx="2573337"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18000" rIns="90000" bIns="54000"/>
          <a:lstStyle/>
          <a:p>
            <a:pPr marL="179388" lvl="1" indent="3175" fontAlgn="base">
              <a:spcBef>
                <a:spcPct val="50000"/>
              </a:spcBef>
              <a:spcAft>
                <a:spcPct val="0"/>
              </a:spcAft>
              <a:buClr>
                <a:srgbClr val="000000"/>
              </a:buClr>
              <a:buFont typeface="Wingdings" pitchFamily="2" charset="2"/>
              <a:buNone/>
              <a:tabLst>
                <a:tab pos="84138" algn="l"/>
              </a:tabLst>
            </a:pPr>
            <a:endParaRPr lang="en-US" sz="2000" b="1" dirty="0">
              <a:solidFill>
                <a:srgbClr val="ADBECB"/>
              </a:solidFill>
              <a:latin typeface="微软雅黑" panose="020B0503020204020204" pitchFamily="34" charset="-122"/>
            </a:endParaRPr>
          </a:p>
        </p:txBody>
      </p:sp>
      <p:sp>
        <p:nvSpPr>
          <p:cNvPr id="2" name="Rectangle 1"/>
          <p:cNvSpPr/>
          <p:nvPr/>
        </p:nvSpPr>
        <p:spPr>
          <a:xfrm>
            <a:off x="335455" y="1700785"/>
            <a:ext cx="3650356" cy="3416320"/>
          </a:xfrm>
          <a:prstGeom prst="rect">
            <a:avLst/>
          </a:prstGeom>
        </p:spPr>
        <p:txBody>
          <a:bodyPr wrap="square">
            <a:spAutoFit/>
          </a:bodyPr>
          <a:lstStyle/>
          <a:p>
            <a:pPr marL="180975" indent="-180975">
              <a:spcBef>
                <a:spcPts val="600"/>
              </a:spcBef>
              <a:spcAft>
                <a:spcPts val="600"/>
              </a:spcAft>
              <a:buFont typeface="Arial" pitchFamily="34" charset="0"/>
              <a:buChar char="•"/>
            </a:pPr>
            <a:r>
              <a:rPr lang="zh-CN" altLang="en-US" sz="1600" dirty="0" smtClean="0">
                <a:solidFill>
                  <a:schemeClr val="tx1"/>
                </a:solidFill>
                <a:latin typeface="微软雅黑" panose="020B0503020204020204" pitchFamily="34" charset="-122"/>
                <a:ea typeface="微软雅黑" panose="020B0503020204020204" pitchFamily="34" charset="-122"/>
              </a:rPr>
              <a:t>德国政府为保持德国制造业全球竞争力的战略举措</a:t>
            </a:r>
            <a:endParaRPr lang="en-US" altLang="zh-CN" sz="1600" dirty="0" smtClean="0">
              <a:solidFill>
                <a:schemeClr val="tx1"/>
              </a:solidFill>
              <a:latin typeface="微软雅黑" panose="020B0503020204020204" pitchFamily="34" charset="-122"/>
              <a:ea typeface="微软雅黑" panose="020B0503020204020204" pitchFamily="34" charset="-122"/>
            </a:endParaRPr>
          </a:p>
          <a:p>
            <a:pPr marL="180975" indent="-180975">
              <a:spcBef>
                <a:spcPts val="600"/>
              </a:spcBef>
              <a:spcAft>
                <a:spcPts val="600"/>
              </a:spcAft>
              <a:buFont typeface="Arial" pitchFamily="34" charset="0"/>
              <a:buChar char="•"/>
            </a:pPr>
            <a:r>
              <a:rPr lang="en-US" altLang="zh-CN" sz="1600" dirty="0" smtClean="0">
                <a:solidFill>
                  <a:schemeClr val="tx1"/>
                </a:solidFill>
                <a:latin typeface="微软雅黑" panose="020B0503020204020204" pitchFamily="34" charset="-122"/>
                <a:ea typeface="微软雅黑" panose="020B0503020204020204" pitchFamily="34" charset="-122"/>
              </a:rPr>
              <a:t>20</a:t>
            </a:r>
            <a:r>
              <a:rPr lang="zh-CN" altLang="en-US" sz="1600" dirty="0" smtClean="0">
                <a:solidFill>
                  <a:schemeClr val="tx1"/>
                </a:solidFill>
                <a:latin typeface="微软雅黑" panose="020B0503020204020204" pitchFamily="34" charset="-122"/>
                <a:ea typeface="微软雅黑" panose="020B0503020204020204" pitchFamily="34" charset="-122"/>
              </a:rPr>
              <a:t>多家德国企业、研究机构和大学参与，西门子是两家牵头单位之一</a:t>
            </a:r>
            <a:endParaRPr lang="en-US" altLang="zh-CN" sz="1600" dirty="0" smtClean="0">
              <a:solidFill>
                <a:schemeClr val="tx1"/>
              </a:solidFill>
              <a:latin typeface="微软雅黑" panose="020B0503020204020204" pitchFamily="34" charset="-122"/>
              <a:ea typeface="微软雅黑" panose="020B0503020204020204" pitchFamily="34" charset="-122"/>
            </a:endParaRPr>
          </a:p>
          <a:p>
            <a:pPr marL="180975" indent="-180975">
              <a:spcBef>
                <a:spcPts val="600"/>
              </a:spcBef>
              <a:spcAft>
                <a:spcPts val="600"/>
              </a:spcAft>
              <a:buFont typeface="Arial" pitchFamily="34" charset="0"/>
              <a:buChar char="•"/>
            </a:pPr>
            <a:r>
              <a:rPr lang="zh-CN" altLang="en-US" sz="1600" dirty="0" smtClean="0">
                <a:solidFill>
                  <a:schemeClr val="tx1"/>
                </a:solidFill>
                <a:latin typeface="微软雅黑" panose="020B0503020204020204" pitchFamily="34" charset="-122"/>
                <a:ea typeface="微软雅黑" panose="020B0503020204020204" pitchFamily="34" charset="-122"/>
              </a:rPr>
              <a:t>研究物联网和服务网</a:t>
            </a:r>
            <a:r>
              <a:rPr lang="en-US" altLang="zh-CN" sz="1600" dirty="0" smtClean="0">
                <a:solidFill>
                  <a:schemeClr val="tx1"/>
                </a:solidFill>
                <a:latin typeface="微软雅黑" panose="020B0503020204020204" pitchFamily="34" charset="-122"/>
                <a:ea typeface="微软雅黑" panose="020B0503020204020204" pitchFamily="34" charset="-122"/>
              </a:rPr>
              <a:t>(</a:t>
            </a:r>
            <a:r>
              <a:rPr lang="zh-CN" altLang="en-US" sz="1600" dirty="0" smtClean="0">
                <a:solidFill>
                  <a:schemeClr val="tx1"/>
                </a:solidFill>
                <a:latin typeface="微软雅黑" panose="020B0503020204020204" pitchFamily="34" charset="-122"/>
                <a:ea typeface="微软雅黑" panose="020B0503020204020204" pitchFamily="34" charset="-122"/>
              </a:rPr>
              <a:t>工业互联网</a:t>
            </a:r>
            <a:r>
              <a:rPr lang="en-US" altLang="zh-CN" sz="1600" dirty="0" smtClean="0">
                <a:solidFill>
                  <a:schemeClr val="tx1"/>
                </a:solidFill>
                <a:latin typeface="微软雅黑" panose="020B0503020204020204" pitchFamily="34" charset="-122"/>
                <a:ea typeface="微软雅黑" panose="020B0503020204020204" pitchFamily="34" charset="-122"/>
              </a:rPr>
              <a:t>)</a:t>
            </a:r>
            <a:r>
              <a:rPr lang="zh-CN" altLang="en-US" sz="1600" dirty="0" smtClean="0">
                <a:solidFill>
                  <a:schemeClr val="tx1"/>
                </a:solidFill>
                <a:latin typeface="微软雅黑" panose="020B0503020204020204" pitchFamily="34" charset="-122"/>
                <a:ea typeface="微软雅黑" panose="020B0503020204020204" pitchFamily="34" charset="-122"/>
              </a:rPr>
              <a:t>演进为</a:t>
            </a:r>
            <a:r>
              <a:rPr lang="en-US" altLang="zh-CN" sz="1600" dirty="0" smtClean="0">
                <a:solidFill>
                  <a:schemeClr val="tx1"/>
                </a:solidFill>
                <a:latin typeface="微软雅黑" panose="020B0503020204020204" pitchFamily="34" charset="-122"/>
                <a:ea typeface="微软雅黑" panose="020B0503020204020204" pitchFamily="34" charset="-122"/>
              </a:rPr>
              <a:t>CPS</a:t>
            </a:r>
            <a:r>
              <a:rPr lang="zh-CN" altLang="en-US" sz="1600" dirty="0" smtClean="0">
                <a:solidFill>
                  <a:schemeClr val="tx1"/>
                </a:solidFill>
                <a:latin typeface="微软雅黑" panose="020B0503020204020204" pitchFamily="34" charset="-122"/>
                <a:ea typeface="微软雅黑" panose="020B0503020204020204" pitchFamily="34" charset="-122"/>
              </a:rPr>
              <a:t>信息物理</a:t>
            </a:r>
            <a:r>
              <a:rPr lang="zh-CN" altLang="en-US" sz="1600" dirty="0">
                <a:solidFill>
                  <a:schemeClr val="tx1"/>
                </a:solidFill>
                <a:latin typeface="微软雅黑" panose="020B0503020204020204" pitchFamily="34" charset="-122"/>
                <a:ea typeface="微软雅黑" panose="020B0503020204020204" pitchFamily="34" charset="-122"/>
              </a:rPr>
              <a:t>系</a:t>
            </a:r>
            <a:r>
              <a:rPr lang="zh-CN" altLang="en-US" sz="1600" dirty="0" smtClean="0">
                <a:solidFill>
                  <a:schemeClr val="tx1"/>
                </a:solidFill>
                <a:latin typeface="微软雅黑" panose="020B0503020204020204" pitchFamily="34" charset="-122"/>
                <a:ea typeface="微软雅黑" panose="020B0503020204020204" pitchFamily="34" charset="-122"/>
              </a:rPr>
              <a:t>统后制造业格局和商业模式</a:t>
            </a:r>
            <a:endParaRPr lang="en-US" altLang="zh-CN" sz="1600" dirty="0" smtClean="0">
              <a:solidFill>
                <a:schemeClr val="tx1"/>
              </a:solidFill>
              <a:latin typeface="微软雅黑" panose="020B0503020204020204" pitchFamily="34" charset="-122"/>
              <a:ea typeface="微软雅黑" panose="020B0503020204020204" pitchFamily="34" charset="-122"/>
            </a:endParaRPr>
          </a:p>
          <a:p>
            <a:pPr marL="180975" indent="-180975">
              <a:spcBef>
                <a:spcPts val="600"/>
              </a:spcBef>
              <a:spcAft>
                <a:spcPts val="600"/>
              </a:spcAft>
              <a:buFont typeface="Arial" pitchFamily="34" charset="0"/>
              <a:buChar char="•"/>
            </a:pPr>
            <a:r>
              <a:rPr lang="en-US" altLang="zh-CN" sz="1600" dirty="0" smtClean="0">
                <a:solidFill>
                  <a:schemeClr val="tx1"/>
                </a:solidFill>
                <a:latin typeface="微软雅黑" panose="020B0503020204020204" pitchFamily="34" charset="-122"/>
                <a:ea typeface="微软雅黑" panose="020B0503020204020204" pitchFamily="34" charset="-122"/>
              </a:rPr>
              <a:t>2013</a:t>
            </a:r>
            <a:r>
              <a:rPr lang="zh-CN" altLang="en-US" sz="1600" dirty="0" smtClean="0">
                <a:solidFill>
                  <a:schemeClr val="tx1"/>
                </a:solidFill>
                <a:latin typeface="微软雅黑" panose="020B0503020204020204" pitchFamily="34" charset="-122"/>
                <a:ea typeface="微软雅黑" panose="020B0503020204020204" pitchFamily="34" charset="-122"/>
              </a:rPr>
              <a:t>年</a:t>
            </a:r>
            <a:r>
              <a:rPr lang="en-US" altLang="zh-CN" sz="1600" dirty="0" smtClean="0">
                <a:solidFill>
                  <a:schemeClr val="tx1"/>
                </a:solidFill>
                <a:latin typeface="微软雅黑" panose="020B0503020204020204" pitchFamily="34" charset="-122"/>
                <a:ea typeface="微软雅黑" panose="020B0503020204020204" pitchFamily="34" charset="-122"/>
              </a:rPr>
              <a:t>4</a:t>
            </a:r>
            <a:r>
              <a:rPr lang="zh-CN" altLang="en-US" sz="1600" dirty="0" smtClean="0">
                <a:solidFill>
                  <a:schemeClr val="tx1"/>
                </a:solidFill>
                <a:latin typeface="微软雅黑" panose="020B0503020204020204" pitchFamily="34" charset="-122"/>
                <a:ea typeface="微软雅黑" panose="020B0503020204020204" pitchFamily="34" charset="-122"/>
              </a:rPr>
              <a:t>月汉诺威展会发布白皮书</a:t>
            </a:r>
            <a:endParaRPr lang="en-US" altLang="zh-CN" sz="1600" dirty="0" smtClean="0">
              <a:solidFill>
                <a:schemeClr val="tx1"/>
              </a:solidFill>
              <a:latin typeface="微软雅黑" panose="020B0503020204020204" pitchFamily="34" charset="-122"/>
              <a:ea typeface="微软雅黑" panose="020B0503020204020204" pitchFamily="34" charset="-122"/>
            </a:endParaRPr>
          </a:p>
          <a:p>
            <a:pPr marL="180975" indent="-180975">
              <a:spcBef>
                <a:spcPts val="600"/>
              </a:spcBef>
              <a:spcAft>
                <a:spcPts val="600"/>
              </a:spcAft>
              <a:buFont typeface="Arial" pitchFamily="34" charset="0"/>
              <a:buChar char="•"/>
            </a:pPr>
            <a:r>
              <a:rPr lang="en-US" altLang="zh-CN" sz="1600" dirty="0" smtClean="0">
                <a:solidFill>
                  <a:schemeClr val="tx1"/>
                </a:solidFill>
                <a:latin typeface="微软雅黑" panose="020B0503020204020204" pitchFamily="34" charset="-122"/>
                <a:ea typeface="微软雅黑" panose="020B0503020204020204" pitchFamily="34" charset="-122"/>
              </a:rPr>
              <a:t>2014</a:t>
            </a:r>
            <a:r>
              <a:rPr lang="zh-CN" altLang="en-US" sz="1600" dirty="0" smtClean="0">
                <a:solidFill>
                  <a:schemeClr val="tx1"/>
                </a:solidFill>
                <a:latin typeface="微软雅黑" panose="020B0503020204020204" pitchFamily="34" charset="-122"/>
                <a:ea typeface="微软雅黑" panose="020B0503020204020204" pitchFamily="34" charset="-122"/>
              </a:rPr>
              <a:t>年</a:t>
            </a:r>
            <a:r>
              <a:rPr lang="en-US" altLang="zh-CN" sz="1600" dirty="0">
                <a:solidFill>
                  <a:schemeClr val="tx1"/>
                </a:solidFill>
                <a:latin typeface="微软雅黑" panose="020B0503020204020204" pitchFamily="34" charset="-122"/>
                <a:ea typeface="微软雅黑" panose="020B0503020204020204" pitchFamily="34" charset="-122"/>
              </a:rPr>
              <a:t>3</a:t>
            </a:r>
            <a:r>
              <a:rPr lang="zh-CN" altLang="en-US" sz="1600" dirty="0" smtClean="0">
                <a:solidFill>
                  <a:schemeClr val="tx1"/>
                </a:solidFill>
                <a:latin typeface="微软雅黑" panose="020B0503020204020204" pitchFamily="34" charset="-122"/>
                <a:ea typeface="微软雅黑" panose="020B0503020204020204" pitchFamily="34" charset="-122"/>
              </a:rPr>
              <a:t>月</a:t>
            </a:r>
            <a:r>
              <a:rPr lang="zh-CN" altLang="en-US" sz="1600" dirty="0">
                <a:solidFill>
                  <a:schemeClr val="tx1"/>
                </a:solidFill>
                <a:latin typeface="微软雅黑" panose="020B0503020204020204" pitchFamily="34" charset="-122"/>
                <a:ea typeface="微软雅黑" panose="020B0503020204020204" pitchFamily="34" charset="-122"/>
              </a:rPr>
              <a:t>美国成立</a:t>
            </a:r>
            <a:r>
              <a:rPr lang="en-US" altLang="zh-CN" sz="1600" dirty="0" smtClean="0">
                <a:solidFill>
                  <a:schemeClr val="tx1"/>
                </a:solidFill>
                <a:latin typeface="微软雅黑" panose="020B0503020204020204" pitchFamily="34" charset="-122"/>
                <a:ea typeface="微软雅黑" panose="020B0503020204020204" pitchFamily="34" charset="-122"/>
              </a:rPr>
              <a:t>UI Hub</a:t>
            </a:r>
            <a:r>
              <a:rPr lang="zh-CN" altLang="en-US" sz="1600" dirty="0" smtClean="0">
                <a:solidFill>
                  <a:schemeClr val="tx1"/>
                </a:solidFill>
                <a:latin typeface="微软雅黑" panose="020B0503020204020204" pitchFamily="34" charset="-122"/>
                <a:ea typeface="微软雅黑" panose="020B0503020204020204" pitchFamily="34" charset="-122"/>
              </a:rPr>
              <a:t>，西门子是</a:t>
            </a:r>
            <a:r>
              <a:rPr lang="en-US" altLang="zh-CN" sz="1600" dirty="0" smtClean="0">
                <a:solidFill>
                  <a:schemeClr val="tx1"/>
                </a:solidFill>
                <a:latin typeface="微软雅黑" panose="020B0503020204020204" pitchFamily="34" charset="-122"/>
                <a:ea typeface="微软雅黑" panose="020B0503020204020204" pitchFamily="34" charset="-122"/>
              </a:rPr>
              <a:t>6</a:t>
            </a:r>
            <a:r>
              <a:rPr lang="zh-CN" altLang="en-US" sz="1600" dirty="0" smtClean="0">
                <a:solidFill>
                  <a:schemeClr val="tx1"/>
                </a:solidFill>
                <a:latin typeface="微软雅黑" panose="020B0503020204020204" pitchFamily="34" charset="-122"/>
                <a:ea typeface="微软雅黑" panose="020B0503020204020204" pitchFamily="34" charset="-122"/>
              </a:rPr>
              <a:t>家核心伙伴之一，唯一软件合作伙伴</a:t>
            </a:r>
            <a:endParaRPr lang="en-US" altLang="zh-CN" sz="1600" dirty="0" smtClean="0">
              <a:solidFill>
                <a:schemeClr val="tx1"/>
              </a:solidFill>
              <a:latin typeface="微软雅黑" panose="020B0503020204020204" pitchFamily="34" charset="-122"/>
              <a:ea typeface="微软雅黑" panose="020B0503020204020204" pitchFamily="34" charset="-122"/>
            </a:endParaRPr>
          </a:p>
        </p:txBody>
      </p:sp>
      <p:pic>
        <p:nvPicPr>
          <p:cNvPr id="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37076" y="1423107"/>
            <a:ext cx="7537068" cy="288689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pic>
        <p:nvPicPr>
          <p:cNvPr id="9"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73160" y="1124712"/>
            <a:ext cx="2168621" cy="2206993"/>
          </a:xfrm>
          <a:prstGeom prst="rect">
            <a:avLst/>
          </a:prstGeom>
          <a:noFill/>
          <a:ln w="9525">
            <a:solidFill>
              <a:schemeClr val="bg2">
                <a:lumMod val="40000"/>
                <a:lumOff val="60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descr="西门子 助企业航向工业4.0"/>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15961" y="3757109"/>
            <a:ext cx="4658183" cy="269626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1" name="Picture 10" descr="http://img.mp.itc.cn/upload/20160504/b8a3033fcd93487188a4533dda0b6969_th.png"/>
          <p:cNvPicPr/>
          <p:nvPr/>
        </p:nvPicPr>
        <p:blipFill>
          <a:blip r:embed="rId12">
            <a:extLst>
              <a:ext uri="{28A0092B-C50C-407E-A947-70E740481C1C}">
                <a14:useLocalDpi xmlns:a14="http://schemas.microsoft.com/office/drawing/2010/main" val="0"/>
              </a:ext>
            </a:extLst>
          </a:blip>
          <a:srcRect/>
          <a:stretch>
            <a:fillRect/>
          </a:stretch>
        </p:blipFill>
        <p:spPr bwMode="auto">
          <a:xfrm>
            <a:off x="4237076" y="4309999"/>
            <a:ext cx="3302279" cy="21433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555952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kt 25" hidden="1"/>
          <p:cNvGraphicFramePr>
            <a:graphicFrameLocks noChangeAspect="1"/>
          </p:cNvGraphicFramePr>
          <p:nvPr>
            <p:custDataLst>
              <p:tags r:id="rId2"/>
            </p:custDataLst>
            <p:extLst>
              <p:ext uri="{D42A27DB-BD31-4B8C-83A1-F6EECF244321}">
                <p14:modId xmlns:p14="http://schemas.microsoft.com/office/powerpoint/2010/main" val="4084222901"/>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67" name="Titel 1"/>
          <p:cNvSpPr>
            <a:spLocks noGrp="1"/>
          </p:cNvSpPr>
          <p:nvPr>
            <p:ph type="title"/>
            <p:custDataLst>
              <p:tags r:id="rId3"/>
            </p:custDataLst>
          </p:nvPr>
        </p:nvSpPr>
        <p:spPr/>
        <p:txBody>
          <a:bodyPr/>
          <a:lstStyle/>
          <a:p>
            <a:pPr eaLnBrk="1" hangingPunct="1"/>
            <a:r>
              <a:rPr lang="zh-CN" altLang="en-US" dirty="0"/>
              <a:t>西门子与中国合作伙</a:t>
            </a:r>
            <a:r>
              <a:rPr lang="zh-CN" altLang="en-US" dirty="0" smtClean="0"/>
              <a:t>携</a:t>
            </a:r>
            <a:r>
              <a:rPr lang="zh-CN" altLang="en-US" dirty="0"/>
              <a:t>手推进工业</a:t>
            </a:r>
            <a:r>
              <a:rPr lang="en-US" altLang="zh-CN" dirty="0"/>
              <a:t>4.0</a:t>
            </a:r>
            <a:endParaRPr lang="en-US" altLang="en-US" dirty="0" smtClean="0">
              <a:latin typeface="SimSun" pitchFamily="2" charset="-122"/>
              <a:ea typeface="SimSun" pitchFamily="2" charset="-122"/>
            </a:endParaRPr>
          </a:p>
        </p:txBody>
      </p:sp>
      <p:sp>
        <p:nvSpPr>
          <p:cNvPr id="11268" name="Rectangle 123"/>
          <p:cNvSpPr>
            <a:spLocks noChangeArrowheads="1"/>
          </p:cNvSpPr>
          <p:nvPr>
            <p:custDataLst>
              <p:tags r:id="rId4"/>
            </p:custDataLst>
          </p:nvPr>
        </p:nvSpPr>
        <p:spPr bwMode="gray">
          <a:xfrm>
            <a:off x="5814560" y="6008687"/>
            <a:ext cx="2573337"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18000" rIns="90000" bIns="54000"/>
          <a:lstStyle/>
          <a:p>
            <a:pPr marL="179388" lvl="1" indent="3175" fontAlgn="base">
              <a:spcBef>
                <a:spcPct val="50000"/>
              </a:spcBef>
              <a:spcAft>
                <a:spcPct val="0"/>
              </a:spcAft>
              <a:buClr>
                <a:srgbClr val="000000"/>
              </a:buClr>
              <a:buFont typeface="Wingdings" pitchFamily="2" charset="2"/>
              <a:buNone/>
              <a:tabLst>
                <a:tab pos="84138" algn="l"/>
              </a:tabLst>
            </a:pPr>
            <a:endParaRPr lang="en-US" sz="2000" b="1" dirty="0">
              <a:solidFill>
                <a:srgbClr val="ADBECB"/>
              </a:solidFill>
              <a:latin typeface="微软雅黑" panose="020B0503020204020204" pitchFamily="34" charset="-122"/>
            </a:endParaRPr>
          </a:p>
        </p:txBody>
      </p:sp>
      <p:pic>
        <p:nvPicPr>
          <p:cNvPr id="1536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7431" y="1383963"/>
            <a:ext cx="11264428" cy="4781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9926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bwMode="auto">
          <a:xfrm>
            <a:off x="0" y="1412873"/>
            <a:ext cx="12198350" cy="5162097"/>
          </a:xfrm>
          <a:prstGeom prst="rect">
            <a:avLst/>
          </a:prstGeom>
          <a:solidFill>
            <a:srgbClr val="EBEB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rgbClr val="000000"/>
              </a:solidFill>
            </a:endParaRPr>
          </a:p>
        </p:txBody>
      </p:sp>
      <p:graphicFrame>
        <p:nvGraphicFramePr>
          <p:cNvPr id="37" name="Objekt 36" hidden="1"/>
          <p:cNvGraphicFramePr>
            <a:graphicFrameLocks noChangeAspect="1"/>
          </p:cNvGraphicFramePr>
          <p:nvPr>
            <p:custDataLst>
              <p:tags r:id="rId3"/>
            </p:custDataLst>
            <p:extLst>
              <p:ext uri="{D42A27DB-BD31-4B8C-83A1-F6EECF244321}">
                <p14:modId xmlns:p14="http://schemas.microsoft.com/office/powerpoint/2010/main" val="285776605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3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zh-CN" altLang="en-US" dirty="0">
                <a:solidFill>
                  <a:schemeClr val="tx1"/>
                </a:solidFill>
              </a:rPr>
              <a:t>工</a:t>
            </a:r>
            <a:r>
              <a:rPr lang="zh-CN" altLang="en-US" dirty="0" smtClean="0">
                <a:solidFill>
                  <a:schemeClr val="tx1"/>
                </a:solidFill>
              </a:rPr>
              <a:t>业</a:t>
            </a:r>
            <a:r>
              <a:rPr lang="en-US" altLang="zh-CN" dirty="0" smtClean="0">
                <a:solidFill>
                  <a:schemeClr val="tx1"/>
                </a:solidFill>
              </a:rPr>
              <a:t>4.0</a:t>
            </a:r>
            <a:r>
              <a:rPr lang="zh-CN" altLang="en-US" dirty="0" smtClean="0">
                <a:solidFill>
                  <a:schemeClr val="tx1"/>
                </a:solidFill>
              </a:rPr>
              <a:t>是智能制造的时代</a:t>
            </a:r>
            <a:endParaRPr lang="en-US" dirty="0"/>
          </a:p>
        </p:txBody>
      </p:sp>
      <p:sp>
        <p:nvSpPr>
          <p:cNvPr id="22" name="Rechteck 21"/>
          <p:cNvSpPr/>
          <p:nvPr/>
        </p:nvSpPr>
        <p:spPr bwMode="gray">
          <a:xfrm>
            <a:off x="8915096" y="3686403"/>
            <a:ext cx="3732800" cy="246221"/>
          </a:xfrm>
          <a:prstGeom prst="rect">
            <a:avLst/>
          </a:prstGeom>
        </p:spPr>
        <p:txBody>
          <a:bodyPr wrap="square" lIns="0" tIns="0" rIns="0" bIns="0">
            <a:spAutoFit/>
          </a:bodyPr>
          <a:lstStyle/>
          <a:p>
            <a:pPr>
              <a:spcBef>
                <a:spcPts val="0"/>
              </a:spcBef>
            </a:pPr>
            <a:r>
              <a:rPr lang="zh-CN" altLang="en-US" sz="1600" b="1" dirty="0">
                <a:solidFill>
                  <a:schemeClr val="accent5"/>
                </a:solidFill>
                <a:latin typeface="+mn-ea"/>
                <a:ea typeface="+mn-ea"/>
              </a:rPr>
              <a:t>技术</a:t>
            </a:r>
            <a:endParaRPr lang="en-US" sz="1600" b="1" dirty="0">
              <a:solidFill>
                <a:schemeClr val="accent5"/>
              </a:solidFill>
              <a:latin typeface="+mn-ea"/>
              <a:ea typeface="+mn-ea"/>
            </a:endParaRPr>
          </a:p>
        </p:txBody>
      </p:sp>
      <p:sp>
        <p:nvSpPr>
          <p:cNvPr id="36" name="Textfeld 35"/>
          <p:cNvSpPr txBox="1"/>
          <p:nvPr/>
        </p:nvSpPr>
        <p:spPr>
          <a:xfrm>
            <a:off x="627063" y="6192903"/>
            <a:ext cx="1110882" cy="135422"/>
          </a:xfrm>
          <a:prstGeom prst="rect">
            <a:avLst/>
          </a:prstGeom>
          <a:noFill/>
        </p:spPr>
        <p:txBody>
          <a:bodyPr wrap="none" lIns="0" tIns="0" rIns="0" bIns="0" rtlCol="0">
            <a:spAutoFit/>
          </a:bodyPr>
          <a:lstStyle/>
          <a:p>
            <a:pPr>
              <a:lnSpc>
                <a:spcPct val="110000"/>
              </a:lnSpc>
              <a:spcBef>
                <a:spcPts val="0"/>
              </a:spcBef>
            </a:pPr>
            <a:r>
              <a:rPr lang="en-US" sz="800" dirty="0">
                <a:solidFill>
                  <a:schemeClr val="tx1"/>
                </a:solidFill>
              </a:rPr>
              <a:t>Sources: BITKOM, BCG</a:t>
            </a:r>
          </a:p>
        </p:txBody>
      </p:sp>
      <p:sp>
        <p:nvSpPr>
          <p:cNvPr id="45" name="Rechteck 44"/>
          <p:cNvSpPr/>
          <p:nvPr/>
        </p:nvSpPr>
        <p:spPr bwMode="auto">
          <a:xfrm>
            <a:off x="185518" y="3767439"/>
            <a:ext cx="11517310" cy="461056"/>
          </a:xfrm>
          <a:prstGeom prst="rect">
            <a:avLst/>
          </a:prstGeom>
          <a:solidFill>
            <a:srgbClr val="8CC3D2"/>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1" name="Freihandform 30"/>
          <p:cNvSpPr/>
          <p:nvPr/>
        </p:nvSpPr>
        <p:spPr bwMode="auto">
          <a:xfrm>
            <a:off x="185057" y="1873334"/>
            <a:ext cx="8646128" cy="1894104"/>
          </a:xfrm>
          <a:custGeom>
            <a:avLst/>
            <a:gdLst>
              <a:gd name="connsiteX0" fmla="*/ 0 w 8220075"/>
              <a:gd name="connsiteY0" fmla="*/ 2047875 h 2047875"/>
              <a:gd name="connsiteX1" fmla="*/ 8220075 w 8220075"/>
              <a:gd name="connsiteY1" fmla="*/ 2047875 h 2047875"/>
              <a:gd name="connsiteX2" fmla="*/ 8220075 w 8220075"/>
              <a:gd name="connsiteY2" fmla="*/ 0 h 2047875"/>
              <a:gd name="connsiteX3" fmla="*/ 5800725 w 8220075"/>
              <a:gd name="connsiteY3" fmla="*/ 400050 h 2047875"/>
              <a:gd name="connsiteX4" fmla="*/ 4162425 w 8220075"/>
              <a:gd name="connsiteY4" fmla="*/ 733425 h 2047875"/>
              <a:gd name="connsiteX5" fmla="*/ 3914775 w 8220075"/>
              <a:gd name="connsiteY5" fmla="*/ 904875 h 2047875"/>
              <a:gd name="connsiteX6" fmla="*/ 2057400 w 8220075"/>
              <a:gd name="connsiteY6" fmla="*/ 1181100 h 2047875"/>
              <a:gd name="connsiteX7" fmla="*/ 1733550 w 8220075"/>
              <a:gd name="connsiteY7" fmla="*/ 1333500 h 2047875"/>
              <a:gd name="connsiteX8" fmla="*/ 9525 w 8220075"/>
              <a:gd name="connsiteY8" fmla="*/ 1485900 h 2047875"/>
              <a:gd name="connsiteX9" fmla="*/ 0 w 8220075"/>
              <a:gd name="connsiteY9" fmla="*/ 2047875 h 2047875"/>
              <a:gd name="connsiteX0" fmla="*/ 0 w 8220075"/>
              <a:gd name="connsiteY0" fmla="*/ 1704975 h 1704975"/>
              <a:gd name="connsiteX1" fmla="*/ 8220075 w 8220075"/>
              <a:gd name="connsiteY1" fmla="*/ 1704975 h 1704975"/>
              <a:gd name="connsiteX2" fmla="*/ 6143625 w 8220075"/>
              <a:gd name="connsiteY2" fmla="*/ 0 h 1704975"/>
              <a:gd name="connsiteX3" fmla="*/ 5800725 w 8220075"/>
              <a:gd name="connsiteY3" fmla="*/ 57150 h 1704975"/>
              <a:gd name="connsiteX4" fmla="*/ 4162425 w 8220075"/>
              <a:gd name="connsiteY4" fmla="*/ 390525 h 1704975"/>
              <a:gd name="connsiteX5" fmla="*/ 3914775 w 8220075"/>
              <a:gd name="connsiteY5" fmla="*/ 561975 h 1704975"/>
              <a:gd name="connsiteX6" fmla="*/ 2057400 w 8220075"/>
              <a:gd name="connsiteY6" fmla="*/ 838200 h 1704975"/>
              <a:gd name="connsiteX7" fmla="*/ 1733550 w 8220075"/>
              <a:gd name="connsiteY7" fmla="*/ 990600 h 1704975"/>
              <a:gd name="connsiteX8" fmla="*/ 9525 w 8220075"/>
              <a:gd name="connsiteY8" fmla="*/ 1143000 h 1704975"/>
              <a:gd name="connsiteX9" fmla="*/ 0 w 8220075"/>
              <a:gd name="connsiteY9" fmla="*/ 1704975 h 1704975"/>
              <a:gd name="connsiteX0" fmla="*/ 0 w 6153150"/>
              <a:gd name="connsiteY0" fmla="*/ 1704975 h 1704975"/>
              <a:gd name="connsiteX1" fmla="*/ 6153150 w 6153150"/>
              <a:gd name="connsiteY1" fmla="*/ 1704975 h 1704975"/>
              <a:gd name="connsiteX2" fmla="*/ 6143625 w 6153150"/>
              <a:gd name="connsiteY2" fmla="*/ 0 h 1704975"/>
              <a:gd name="connsiteX3" fmla="*/ 5800725 w 6153150"/>
              <a:gd name="connsiteY3" fmla="*/ 57150 h 1704975"/>
              <a:gd name="connsiteX4" fmla="*/ 4162425 w 6153150"/>
              <a:gd name="connsiteY4" fmla="*/ 390525 h 1704975"/>
              <a:gd name="connsiteX5" fmla="*/ 3914775 w 6153150"/>
              <a:gd name="connsiteY5" fmla="*/ 561975 h 1704975"/>
              <a:gd name="connsiteX6" fmla="*/ 2057400 w 6153150"/>
              <a:gd name="connsiteY6" fmla="*/ 838200 h 1704975"/>
              <a:gd name="connsiteX7" fmla="*/ 1733550 w 6153150"/>
              <a:gd name="connsiteY7" fmla="*/ 990600 h 1704975"/>
              <a:gd name="connsiteX8" fmla="*/ 9525 w 6153150"/>
              <a:gd name="connsiteY8" fmla="*/ 1143000 h 1704975"/>
              <a:gd name="connsiteX9" fmla="*/ 0 w 6153150"/>
              <a:gd name="connsiteY9" fmla="*/ 1704975 h 1704975"/>
              <a:gd name="connsiteX0" fmla="*/ 0 w 6168339"/>
              <a:gd name="connsiteY0" fmla="*/ 1717332 h 1717332"/>
              <a:gd name="connsiteX1" fmla="*/ 6153150 w 6168339"/>
              <a:gd name="connsiteY1" fmla="*/ 1717332 h 1717332"/>
              <a:gd name="connsiteX2" fmla="*/ 6168339 w 6168339"/>
              <a:gd name="connsiteY2" fmla="*/ 0 h 1717332"/>
              <a:gd name="connsiteX3" fmla="*/ 5800725 w 6168339"/>
              <a:gd name="connsiteY3" fmla="*/ 69507 h 1717332"/>
              <a:gd name="connsiteX4" fmla="*/ 4162425 w 6168339"/>
              <a:gd name="connsiteY4" fmla="*/ 402882 h 1717332"/>
              <a:gd name="connsiteX5" fmla="*/ 3914775 w 6168339"/>
              <a:gd name="connsiteY5" fmla="*/ 574332 h 1717332"/>
              <a:gd name="connsiteX6" fmla="*/ 2057400 w 6168339"/>
              <a:gd name="connsiteY6" fmla="*/ 850557 h 1717332"/>
              <a:gd name="connsiteX7" fmla="*/ 1733550 w 6168339"/>
              <a:gd name="connsiteY7" fmla="*/ 1002957 h 1717332"/>
              <a:gd name="connsiteX8" fmla="*/ 9525 w 6168339"/>
              <a:gd name="connsiteY8" fmla="*/ 1155357 h 1717332"/>
              <a:gd name="connsiteX9" fmla="*/ 0 w 6168339"/>
              <a:gd name="connsiteY9" fmla="*/ 1717332 h 1717332"/>
              <a:gd name="connsiteX0" fmla="*/ 0 w 6171686"/>
              <a:gd name="connsiteY0" fmla="*/ 1717332 h 1717332"/>
              <a:gd name="connsiteX1" fmla="*/ 6171686 w 6171686"/>
              <a:gd name="connsiteY1" fmla="*/ 1717332 h 1717332"/>
              <a:gd name="connsiteX2" fmla="*/ 6168339 w 6171686"/>
              <a:gd name="connsiteY2" fmla="*/ 0 h 1717332"/>
              <a:gd name="connsiteX3" fmla="*/ 5800725 w 6171686"/>
              <a:gd name="connsiteY3" fmla="*/ 69507 h 1717332"/>
              <a:gd name="connsiteX4" fmla="*/ 4162425 w 6171686"/>
              <a:gd name="connsiteY4" fmla="*/ 402882 h 1717332"/>
              <a:gd name="connsiteX5" fmla="*/ 3914775 w 6171686"/>
              <a:gd name="connsiteY5" fmla="*/ 574332 h 1717332"/>
              <a:gd name="connsiteX6" fmla="*/ 2057400 w 6171686"/>
              <a:gd name="connsiteY6" fmla="*/ 850557 h 1717332"/>
              <a:gd name="connsiteX7" fmla="*/ 1733550 w 6171686"/>
              <a:gd name="connsiteY7" fmla="*/ 1002957 h 1717332"/>
              <a:gd name="connsiteX8" fmla="*/ 9525 w 6171686"/>
              <a:gd name="connsiteY8" fmla="*/ 1155357 h 1717332"/>
              <a:gd name="connsiteX9" fmla="*/ 0 w 6171686"/>
              <a:gd name="connsiteY9" fmla="*/ 1717332 h 1717332"/>
              <a:gd name="connsiteX0" fmla="*/ 0 w 6171686"/>
              <a:gd name="connsiteY0" fmla="*/ 1717332 h 1717332"/>
              <a:gd name="connsiteX1" fmla="*/ 6171686 w 6171686"/>
              <a:gd name="connsiteY1" fmla="*/ 1717332 h 1717332"/>
              <a:gd name="connsiteX2" fmla="*/ 6168339 w 6171686"/>
              <a:gd name="connsiteY2" fmla="*/ 0 h 1717332"/>
              <a:gd name="connsiteX3" fmla="*/ 5800725 w 6171686"/>
              <a:gd name="connsiteY3" fmla="*/ 69507 h 1717332"/>
              <a:gd name="connsiteX4" fmla="*/ 4162425 w 6171686"/>
              <a:gd name="connsiteY4" fmla="*/ 402882 h 1717332"/>
              <a:gd name="connsiteX5" fmla="*/ 3914775 w 6171686"/>
              <a:gd name="connsiteY5" fmla="*/ 574332 h 1717332"/>
              <a:gd name="connsiteX6" fmla="*/ 2083594 w 6171686"/>
              <a:gd name="connsiteY6" fmla="*/ 857701 h 1717332"/>
              <a:gd name="connsiteX7" fmla="*/ 1733550 w 6171686"/>
              <a:gd name="connsiteY7" fmla="*/ 1002957 h 1717332"/>
              <a:gd name="connsiteX8" fmla="*/ 9525 w 6171686"/>
              <a:gd name="connsiteY8" fmla="*/ 1155357 h 1717332"/>
              <a:gd name="connsiteX9" fmla="*/ 0 w 6171686"/>
              <a:gd name="connsiteY9" fmla="*/ 1717332 h 1717332"/>
              <a:gd name="connsiteX0" fmla="*/ 329 w 6172015"/>
              <a:gd name="connsiteY0" fmla="*/ 1717332 h 1717332"/>
              <a:gd name="connsiteX1" fmla="*/ 6172015 w 6172015"/>
              <a:gd name="connsiteY1" fmla="*/ 1717332 h 1717332"/>
              <a:gd name="connsiteX2" fmla="*/ 6168668 w 6172015"/>
              <a:gd name="connsiteY2" fmla="*/ 0 h 1717332"/>
              <a:gd name="connsiteX3" fmla="*/ 5801054 w 6172015"/>
              <a:gd name="connsiteY3" fmla="*/ 69507 h 1717332"/>
              <a:gd name="connsiteX4" fmla="*/ 4162754 w 6172015"/>
              <a:gd name="connsiteY4" fmla="*/ 402882 h 1717332"/>
              <a:gd name="connsiteX5" fmla="*/ 3915104 w 6172015"/>
              <a:gd name="connsiteY5" fmla="*/ 574332 h 1717332"/>
              <a:gd name="connsiteX6" fmla="*/ 2083923 w 6172015"/>
              <a:gd name="connsiteY6" fmla="*/ 857701 h 1717332"/>
              <a:gd name="connsiteX7" fmla="*/ 1733879 w 6172015"/>
              <a:gd name="connsiteY7" fmla="*/ 1002957 h 1717332"/>
              <a:gd name="connsiteX8" fmla="*/ 0 w 6172015"/>
              <a:gd name="connsiteY8" fmla="*/ 1181615 h 1717332"/>
              <a:gd name="connsiteX9" fmla="*/ 329 w 6172015"/>
              <a:gd name="connsiteY9" fmla="*/ 1717332 h 17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2015" h="1717332">
                <a:moveTo>
                  <a:pt x="329" y="1717332"/>
                </a:moveTo>
                <a:lnTo>
                  <a:pt x="6172015" y="1717332"/>
                </a:lnTo>
                <a:cubicBezTo>
                  <a:pt x="6170899" y="1144888"/>
                  <a:pt x="6169784" y="572444"/>
                  <a:pt x="6168668" y="0"/>
                </a:cubicBezTo>
                <a:lnTo>
                  <a:pt x="5801054" y="69507"/>
                </a:lnTo>
                <a:lnTo>
                  <a:pt x="4162754" y="402882"/>
                </a:lnTo>
                <a:lnTo>
                  <a:pt x="3915104" y="574332"/>
                </a:lnTo>
                <a:lnTo>
                  <a:pt x="2083923" y="857701"/>
                </a:lnTo>
                <a:lnTo>
                  <a:pt x="1733879" y="1002957"/>
                </a:lnTo>
                <a:lnTo>
                  <a:pt x="0" y="1181615"/>
                </a:lnTo>
                <a:cubicBezTo>
                  <a:pt x="110" y="1360187"/>
                  <a:pt x="219" y="1538760"/>
                  <a:pt x="329" y="1717332"/>
                </a:cubicBezTo>
                <a:close/>
              </a:path>
            </a:pathLst>
          </a:cu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3" name="Rechteck 12"/>
          <p:cNvSpPr>
            <a:spLocks/>
          </p:cNvSpPr>
          <p:nvPr/>
        </p:nvSpPr>
        <p:spPr>
          <a:xfrm>
            <a:off x="6435662" y="2964951"/>
            <a:ext cx="1482170" cy="234735"/>
          </a:xfrm>
          <a:prstGeom prst="rect">
            <a:avLst/>
          </a:prstGeom>
        </p:spPr>
        <p:txBody>
          <a:bodyPr wrap="square" lIns="0" tIns="0" rIns="0" bIns="0">
            <a:spAutoFit/>
          </a:bodyPr>
          <a:lstStyle/>
          <a:p>
            <a:pPr fontAlgn="auto">
              <a:spcBef>
                <a:spcPts val="600"/>
              </a:spcBef>
              <a:spcAft>
                <a:spcPts val="0"/>
              </a:spcAft>
              <a:defRPr/>
            </a:pPr>
            <a:r>
              <a:rPr lang="zh-CN" altLang="en-US" sz="1400" kern="0" dirty="0">
                <a:solidFill>
                  <a:schemeClr val="tx2"/>
                </a:solidFill>
                <a:latin typeface="+mn-ea"/>
                <a:ea typeface="+mn-ea"/>
              </a:rPr>
              <a:t>自动化</a:t>
            </a:r>
            <a:endParaRPr lang="en-US" sz="1400" kern="0" dirty="0">
              <a:solidFill>
                <a:schemeClr val="tx2"/>
              </a:solidFill>
              <a:latin typeface="+mn-ea"/>
              <a:ea typeface="+mn-ea"/>
            </a:endParaRPr>
          </a:p>
        </p:txBody>
      </p:sp>
      <p:sp>
        <p:nvSpPr>
          <p:cNvPr id="15" name="Rechteck 14"/>
          <p:cNvSpPr>
            <a:spLocks/>
          </p:cNvSpPr>
          <p:nvPr/>
        </p:nvSpPr>
        <p:spPr>
          <a:xfrm>
            <a:off x="3455052" y="3191244"/>
            <a:ext cx="1914205" cy="234735"/>
          </a:xfrm>
          <a:prstGeom prst="rect">
            <a:avLst/>
          </a:prstGeom>
        </p:spPr>
        <p:txBody>
          <a:bodyPr wrap="square" lIns="0" tIns="0" rIns="0" bIns="0">
            <a:spAutoFit/>
          </a:bodyPr>
          <a:lstStyle/>
          <a:p>
            <a:pPr fontAlgn="auto">
              <a:spcBef>
                <a:spcPts val="600"/>
              </a:spcBef>
              <a:spcAft>
                <a:spcPts val="0"/>
              </a:spcAft>
              <a:defRPr/>
            </a:pPr>
            <a:r>
              <a:rPr lang="zh-CN" altLang="en-US" sz="1400" kern="0" dirty="0">
                <a:solidFill>
                  <a:schemeClr val="tx2"/>
                </a:solidFill>
                <a:latin typeface="+mn-ea"/>
                <a:ea typeface="+mn-ea"/>
              </a:rPr>
              <a:t>电力，大规模生产</a:t>
            </a:r>
            <a:endParaRPr lang="en-US" sz="1400" kern="0" dirty="0">
              <a:solidFill>
                <a:schemeClr val="tx2"/>
              </a:solidFill>
              <a:latin typeface="+mn-ea"/>
              <a:ea typeface="+mn-ea"/>
            </a:endParaRPr>
          </a:p>
        </p:txBody>
      </p:sp>
      <p:sp>
        <p:nvSpPr>
          <p:cNvPr id="4" name="Rechteck 3"/>
          <p:cNvSpPr/>
          <p:nvPr/>
        </p:nvSpPr>
        <p:spPr bwMode="auto">
          <a:xfrm>
            <a:off x="185518" y="2814537"/>
            <a:ext cx="2869316" cy="469107"/>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0" name="Rechteck 29"/>
          <p:cNvSpPr/>
          <p:nvPr/>
        </p:nvSpPr>
        <p:spPr bwMode="auto">
          <a:xfrm>
            <a:off x="8815256" y="1412876"/>
            <a:ext cx="2887572" cy="469107"/>
          </a:xfrm>
          <a:prstGeom prst="rect">
            <a:avLst/>
          </a:prstGeom>
          <a:solidFill>
            <a:schemeClr val="accent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7" name="Rechteck 26"/>
          <p:cNvSpPr/>
          <p:nvPr/>
        </p:nvSpPr>
        <p:spPr bwMode="auto">
          <a:xfrm>
            <a:off x="3054835" y="2351819"/>
            <a:ext cx="2887572" cy="469107"/>
          </a:xfrm>
          <a:prstGeom prst="rect">
            <a:avLst/>
          </a:prstGeom>
          <a:solidFill>
            <a:srgbClr val="C8C8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9" name="Rechteck 28"/>
          <p:cNvSpPr/>
          <p:nvPr/>
        </p:nvSpPr>
        <p:spPr bwMode="auto">
          <a:xfrm>
            <a:off x="5942404" y="1881983"/>
            <a:ext cx="2887572" cy="469107"/>
          </a:xfrm>
          <a:prstGeom prst="rect">
            <a:avLst/>
          </a:prstGeom>
          <a:solidFill>
            <a:srgbClr val="B9B9A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0" name="Rechteck 9"/>
          <p:cNvSpPr>
            <a:spLocks/>
          </p:cNvSpPr>
          <p:nvPr/>
        </p:nvSpPr>
        <p:spPr>
          <a:xfrm>
            <a:off x="9969054" y="1455488"/>
            <a:ext cx="1482170" cy="268268"/>
          </a:xfrm>
          <a:prstGeom prst="rect">
            <a:avLst/>
          </a:prstGeom>
        </p:spPr>
        <p:txBody>
          <a:bodyPr wrap="square" lIns="0" tIns="0" rIns="0" bIns="0">
            <a:spAutoFit/>
          </a:bodyPr>
          <a:lstStyle/>
          <a:p>
            <a:pPr fontAlgn="auto">
              <a:spcBef>
                <a:spcPts val="600"/>
              </a:spcBef>
              <a:spcAft>
                <a:spcPts val="0"/>
              </a:spcAft>
              <a:defRPr/>
            </a:pPr>
            <a:r>
              <a:rPr lang="zh-CN" altLang="en-US" sz="1600" b="1" kern="0" dirty="0" smtClean="0">
                <a:solidFill>
                  <a:schemeClr val="bg1"/>
                </a:solidFill>
                <a:latin typeface="+mn-ea"/>
                <a:ea typeface="+mn-ea"/>
              </a:rPr>
              <a:t>第四次工业革命</a:t>
            </a:r>
            <a:endParaRPr lang="en-US" sz="1600" b="1" kern="0" dirty="0" smtClean="0">
              <a:solidFill>
                <a:schemeClr val="bg1"/>
              </a:solidFill>
              <a:latin typeface="+mn-ea"/>
              <a:ea typeface="+mn-ea"/>
            </a:endParaRPr>
          </a:p>
        </p:txBody>
      </p:sp>
      <p:sp>
        <p:nvSpPr>
          <p:cNvPr id="12" name="Rechteck 11"/>
          <p:cNvSpPr>
            <a:spLocks/>
          </p:cNvSpPr>
          <p:nvPr/>
        </p:nvSpPr>
        <p:spPr>
          <a:xfrm>
            <a:off x="6645105" y="1982402"/>
            <a:ext cx="1482170" cy="268268"/>
          </a:xfrm>
          <a:prstGeom prst="rect">
            <a:avLst/>
          </a:prstGeom>
        </p:spPr>
        <p:txBody>
          <a:bodyPr wrap="square" lIns="0" tIns="0" rIns="0" bIns="0">
            <a:spAutoFit/>
          </a:bodyPr>
          <a:lstStyle/>
          <a:p>
            <a:pPr lvl="0" fontAlgn="auto">
              <a:spcBef>
                <a:spcPts val="600"/>
              </a:spcBef>
              <a:spcAft>
                <a:spcPts val="0"/>
              </a:spcAft>
              <a:defRPr/>
            </a:pPr>
            <a:r>
              <a:rPr lang="zh-CN" altLang="en-US" sz="1600" b="1" kern="0" dirty="0" smtClean="0">
                <a:solidFill>
                  <a:srgbClr val="000000"/>
                </a:solidFill>
                <a:latin typeface="Microsoft YaHei"/>
                <a:ea typeface="Microsoft YaHei"/>
              </a:rPr>
              <a:t>第三次工</a:t>
            </a:r>
            <a:r>
              <a:rPr lang="zh-CN" altLang="en-US" sz="1600" b="1" kern="0" dirty="0">
                <a:solidFill>
                  <a:srgbClr val="000000"/>
                </a:solidFill>
                <a:latin typeface="Microsoft YaHei"/>
                <a:ea typeface="Microsoft YaHei"/>
              </a:rPr>
              <a:t>业革命</a:t>
            </a:r>
            <a:endParaRPr lang="en-US" sz="1600" b="1" kern="0" dirty="0">
              <a:solidFill>
                <a:srgbClr val="000000"/>
              </a:solidFill>
              <a:latin typeface="Microsoft YaHei"/>
              <a:ea typeface="Microsoft YaHei"/>
            </a:endParaRPr>
          </a:p>
        </p:txBody>
      </p:sp>
      <p:sp>
        <p:nvSpPr>
          <p:cNvPr id="14" name="Rechteck 13"/>
          <p:cNvSpPr>
            <a:spLocks/>
          </p:cNvSpPr>
          <p:nvPr/>
        </p:nvSpPr>
        <p:spPr>
          <a:xfrm>
            <a:off x="3789974" y="2425131"/>
            <a:ext cx="1482170" cy="268268"/>
          </a:xfrm>
          <a:prstGeom prst="rect">
            <a:avLst/>
          </a:prstGeom>
        </p:spPr>
        <p:txBody>
          <a:bodyPr wrap="square" lIns="0" tIns="0" rIns="0" bIns="0">
            <a:spAutoFit/>
          </a:bodyPr>
          <a:lstStyle/>
          <a:p>
            <a:pPr lvl="0" fontAlgn="auto">
              <a:spcBef>
                <a:spcPts val="600"/>
              </a:spcBef>
              <a:spcAft>
                <a:spcPts val="0"/>
              </a:spcAft>
              <a:defRPr/>
            </a:pPr>
            <a:r>
              <a:rPr lang="zh-CN" altLang="en-US" sz="1600" b="1" kern="0" dirty="0" smtClean="0">
                <a:solidFill>
                  <a:srgbClr val="000000"/>
                </a:solidFill>
                <a:latin typeface="Microsoft YaHei"/>
                <a:ea typeface="Microsoft YaHei"/>
              </a:rPr>
              <a:t>第二次工</a:t>
            </a:r>
            <a:r>
              <a:rPr lang="zh-CN" altLang="en-US" sz="1600" b="1" kern="0" dirty="0">
                <a:solidFill>
                  <a:srgbClr val="000000"/>
                </a:solidFill>
                <a:latin typeface="Microsoft YaHei"/>
                <a:ea typeface="Microsoft YaHei"/>
              </a:rPr>
              <a:t>业革命</a:t>
            </a:r>
            <a:endParaRPr lang="en-US" sz="1600" b="1" kern="0" dirty="0">
              <a:solidFill>
                <a:srgbClr val="000000"/>
              </a:solidFill>
              <a:latin typeface="Microsoft YaHei"/>
              <a:ea typeface="Microsoft YaHei"/>
            </a:endParaRPr>
          </a:p>
        </p:txBody>
      </p:sp>
      <p:sp>
        <p:nvSpPr>
          <p:cNvPr id="16" name="Rechteck 15"/>
          <p:cNvSpPr>
            <a:spLocks/>
          </p:cNvSpPr>
          <p:nvPr/>
        </p:nvSpPr>
        <p:spPr>
          <a:xfrm>
            <a:off x="913166" y="2919140"/>
            <a:ext cx="1482170" cy="268268"/>
          </a:xfrm>
          <a:prstGeom prst="rect">
            <a:avLst/>
          </a:prstGeom>
        </p:spPr>
        <p:txBody>
          <a:bodyPr wrap="square" lIns="0" tIns="0" rIns="0" bIns="0">
            <a:spAutoFit/>
          </a:bodyPr>
          <a:lstStyle/>
          <a:p>
            <a:pPr fontAlgn="auto">
              <a:spcBef>
                <a:spcPts val="600"/>
              </a:spcBef>
              <a:spcAft>
                <a:spcPts val="0"/>
              </a:spcAft>
              <a:defRPr/>
            </a:pPr>
            <a:r>
              <a:rPr lang="zh-CN" altLang="en-US" sz="1600" b="1" kern="0" dirty="0" smtClean="0">
                <a:solidFill>
                  <a:schemeClr val="tx2"/>
                </a:solidFill>
                <a:latin typeface="+mn-ea"/>
                <a:ea typeface="+mn-ea"/>
              </a:rPr>
              <a:t>第一次工业革命</a:t>
            </a:r>
            <a:endParaRPr lang="en-US" sz="1600" b="1" kern="0" dirty="0" smtClean="0">
              <a:solidFill>
                <a:schemeClr val="tx2"/>
              </a:solidFill>
              <a:latin typeface="+mn-ea"/>
              <a:ea typeface="+mn-ea"/>
            </a:endParaRPr>
          </a:p>
        </p:txBody>
      </p:sp>
      <p:sp>
        <p:nvSpPr>
          <p:cNvPr id="17" name="Rechteck 16"/>
          <p:cNvSpPr>
            <a:spLocks/>
          </p:cNvSpPr>
          <p:nvPr/>
        </p:nvSpPr>
        <p:spPr>
          <a:xfrm>
            <a:off x="856528" y="3400888"/>
            <a:ext cx="1812446" cy="234735"/>
          </a:xfrm>
          <a:prstGeom prst="rect">
            <a:avLst/>
          </a:prstGeom>
        </p:spPr>
        <p:txBody>
          <a:bodyPr wrap="square" lIns="0" tIns="0" rIns="0" bIns="0">
            <a:spAutoFit/>
          </a:bodyPr>
          <a:lstStyle/>
          <a:p>
            <a:pPr fontAlgn="auto">
              <a:spcBef>
                <a:spcPts val="600"/>
              </a:spcBef>
              <a:spcAft>
                <a:spcPts val="0"/>
              </a:spcAft>
              <a:defRPr/>
            </a:pPr>
            <a:r>
              <a:rPr lang="zh-CN" altLang="en-US" sz="1400" kern="0" dirty="0">
                <a:solidFill>
                  <a:schemeClr val="tx2"/>
                </a:solidFill>
                <a:latin typeface="+mn-ea"/>
                <a:ea typeface="+mn-ea"/>
              </a:rPr>
              <a:t>蒸汽</a:t>
            </a:r>
            <a:r>
              <a:rPr lang="zh-CN" altLang="en-US" sz="1400" kern="0" dirty="0" smtClean="0">
                <a:solidFill>
                  <a:schemeClr val="tx2"/>
                </a:solidFill>
                <a:latin typeface="+mn-ea"/>
                <a:ea typeface="+mn-ea"/>
              </a:rPr>
              <a:t>机，机械化</a:t>
            </a:r>
            <a:endParaRPr lang="en-US" sz="1400" kern="0" dirty="0" smtClean="0">
              <a:solidFill>
                <a:schemeClr val="tx2"/>
              </a:solidFill>
              <a:latin typeface="+mn-ea"/>
              <a:ea typeface="+mn-ea"/>
            </a:endParaRPr>
          </a:p>
        </p:txBody>
      </p:sp>
      <p:sp>
        <p:nvSpPr>
          <p:cNvPr id="20" name="Rechteck 19"/>
          <p:cNvSpPr/>
          <p:nvPr/>
        </p:nvSpPr>
        <p:spPr bwMode="gray">
          <a:xfrm>
            <a:off x="537151" y="4697420"/>
            <a:ext cx="6505646" cy="1240742"/>
          </a:xfrm>
          <a:prstGeom prst="rect">
            <a:avLst/>
          </a:prstGeom>
          <a:noFill/>
        </p:spPr>
        <p:txBody>
          <a:bodyPr wrap="square" lIns="0" tIns="0" rIns="0" bIns="0">
            <a:spAutoFit/>
          </a:bodyPr>
          <a:lstStyle/>
          <a:p>
            <a:pPr marL="180975" indent="-180975" algn="l">
              <a:spcBef>
                <a:spcPts val="600"/>
              </a:spcBef>
              <a:spcAft>
                <a:spcPts val="600"/>
              </a:spcAft>
              <a:buClr>
                <a:schemeClr val="accent1"/>
              </a:buClr>
              <a:buFont typeface="Arial" pitchFamily="34" charset="0"/>
              <a:buChar char="•"/>
            </a:pPr>
            <a:r>
              <a:rPr lang="zh-CN" altLang="en-US" b="1" dirty="0" smtClean="0">
                <a:solidFill>
                  <a:schemeClr val="accent5"/>
                </a:solidFill>
                <a:latin typeface="+mn-lt"/>
                <a:ea typeface="+mn-ea"/>
              </a:rPr>
              <a:t>人、设备和系统实现智能互联</a:t>
            </a:r>
            <a:endParaRPr lang="en-US" altLang="zh-CN" b="1" dirty="0" smtClean="0">
              <a:solidFill>
                <a:schemeClr val="accent5"/>
              </a:solidFill>
              <a:latin typeface="+mn-lt"/>
              <a:ea typeface="+mn-ea"/>
            </a:endParaRPr>
          </a:p>
          <a:p>
            <a:pPr marL="180975" indent="-180975" algn="l">
              <a:spcBef>
                <a:spcPts val="600"/>
              </a:spcBef>
              <a:spcAft>
                <a:spcPts val="600"/>
              </a:spcAft>
              <a:buClr>
                <a:schemeClr val="accent1"/>
              </a:buClr>
              <a:buFont typeface="Arial" pitchFamily="34" charset="0"/>
              <a:buChar char="•"/>
            </a:pPr>
            <a:r>
              <a:rPr lang="zh-CN" altLang="en-US" b="1" dirty="0" smtClean="0">
                <a:solidFill>
                  <a:schemeClr val="accent5"/>
                </a:solidFill>
                <a:latin typeface="+mn-lt"/>
                <a:ea typeface="+mn-ea"/>
              </a:rPr>
              <a:t>所有信息实现在整个价值链的实时共享</a:t>
            </a:r>
            <a:endParaRPr lang="en-US" b="1" dirty="0" smtClean="0">
              <a:solidFill>
                <a:schemeClr val="accent5"/>
              </a:solidFill>
              <a:latin typeface="+mn-lt"/>
              <a:ea typeface="+mn-ea"/>
            </a:endParaRPr>
          </a:p>
          <a:p>
            <a:pPr marL="180975" indent="-180975" algn="l">
              <a:spcBef>
                <a:spcPts val="600"/>
              </a:spcBef>
              <a:spcAft>
                <a:spcPts val="600"/>
              </a:spcAft>
              <a:buClr>
                <a:schemeClr val="accent1"/>
              </a:buClr>
              <a:buFont typeface="Arial" pitchFamily="34" charset="0"/>
              <a:buChar char="•"/>
            </a:pPr>
            <a:r>
              <a:rPr lang="zh-CN" altLang="en-US" b="1" dirty="0" smtClean="0">
                <a:solidFill>
                  <a:schemeClr val="accent5"/>
                </a:solidFill>
                <a:latin typeface="+mn-lt"/>
                <a:ea typeface="+mn-ea"/>
              </a:rPr>
              <a:t>价值链按照用户需求实现动态的自我组织和优化</a:t>
            </a:r>
            <a:endParaRPr lang="en-US" b="1" dirty="0" smtClean="0">
              <a:solidFill>
                <a:schemeClr val="accent5"/>
              </a:solidFill>
              <a:latin typeface="+mn-lt"/>
              <a:ea typeface="+mn-ea"/>
            </a:endParaRPr>
          </a:p>
        </p:txBody>
      </p:sp>
      <p:sp>
        <p:nvSpPr>
          <p:cNvPr id="21" name="Rechteck 20"/>
          <p:cNvSpPr/>
          <p:nvPr/>
        </p:nvSpPr>
        <p:spPr bwMode="gray">
          <a:xfrm>
            <a:off x="537151" y="3889981"/>
            <a:ext cx="4924760" cy="268268"/>
          </a:xfrm>
          <a:prstGeom prst="rect">
            <a:avLst/>
          </a:prstGeom>
        </p:spPr>
        <p:txBody>
          <a:bodyPr wrap="square" lIns="0" tIns="0" rIns="0" bIns="0">
            <a:spAutoFit/>
          </a:bodyPr>
          <a:lstStyle/>
          <a:p>
            <a:pPr algn="l">
              <a:spcBef>
                <a:spcPts val="0"/>
              </a:spcBef>
            </a:pPr>
            <a:r>
              <a:rPr lang="zh-CN" altLang="en-US" sz="1600" b="1" dirty="0" smtClean="0">
                <a:solidFill>
                  <a:schemeClr val="accent5"/>
                </a:solidFill>
                <a:latin typeface="+mn-ea"/>
                <a:ea typeface="+mn-ea"/>
              </a:rPr>
              <a:t>特征</a:t>
            </a:r>
            <a:endParaRPr lang="en-US" sz="1600" b="1" dirty="0">
              <a:solidFill>
                <a:schemeClr val="accent5"/>
              </a:solidFill>
              <a:latin typeface="+mn-ea"/>
              <a:ea typeface="+mn-ea"/>
            </a:endParaRPr>
          </a:p>
        </p:txBody>
      </p:sp>
      <p:sp>
        <p:nvSpPr>
          <p:cNvPr id="32" name="Rechteck 31"/>
          <p:cNvSpPr/>
          <p:nvPr/>
        </p:nvSpPr>
        <p:spPr bwMode="auto">
          <a:xfrm>
            <a:off x="8817803" y="1881982"/>
            <a:ext cx="2885028" cy="1862459"/>
          </a:xfrm>
          <a:prstGeom prst="rect">
            <a:avLst/>
          </a:prstGeom>
          <a:solidFill>
            <a:srgbClr val="3C91AF"/>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1" name="Rechteck 10"/>
          <p:cNvSpPr>
            <a:spLocks/>
          </p:cNvSpPr>
          <p:nvPr/>
        </p:nvSpPr>
        <p:spPr>
          <a:xfrm>
            <a:off x="9227969" y="2603936"/>
            <a:ext cx="1482170" cy="268268"/>
          </a:xfrm>
          <a:prstGeom prst="rect">
            <a:avLst/>
          </a:prstGeom>
        </p:spPr>
        <p:txBody>
          <a:bodyPr wrap="square" lIns="0" tIns="0" rIns="0" bIns="0">
            <a:spAutoFit/>
          </a:bodyPr>
          <a:lstStyle/>
          <a:p>
            <a:pPr fontAlgn="auto">
              <a:spcBef>
                <a:spcPts val="600"/>
              </a:spcBef>
              <a:spcAft>
                <a:spcPts val="0"/>
              </a:spcAft>
              <a:defRPr/>
            </a:pPr>
            <a:r>
              <a:rPr lang="zh-CN" altLang="en-US" sz="1600" b="1" kern="0" dirty="0" smtClean="0">
                <a:solidFill>
                  <a:schemeClr val="bg1"/>
                </a:solidFill>
                <a:latin typeface="+mn-ea"/>
                <a:ea typeface="+mn-ea"/>
              </a:rPr>
              <a:t>数字化，智能化</a:t>
            </a:r>
            <a:endParaRPr lang="en-US" sz="1600" b="1" kern="0" dirty="0" smtClean="0">
              <a:solidFill>
                <a:schemeClr val="bg1"/>
              </a:solidFill>
              <a:latin typeface="+mn-ea"/>
              <a:ea typeface="+mn-ea"/>
            </a:endParaRPr>
          </a:p>
        </p:txBody>
      </p:sp>
      <p:sp>
        <p:nvSpPr>
          <p:cNvPr id="33" name="Gleichschenkliges Dreieck 32"/>
          <p:cNvSpPr/>
          <p:nvPr/>
        </p:nvSpPr>
        <p:spPr bwMode="auto">
          <a:xfrm rot="5400000">
            <a:off x="2989031" y="2884610"/>
            <a:ext cx="464838" cy="333229"/>
          </a:xfrm>
          <a:prstGeom prst="triangle">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2" name="Gleichschenkliges Dreieck 41"/>
          <p:cNvSpPr/>
          <p:nvPr/>
        </p:nvSpPr>
        <p:spPr bwMode="auto">
          <a:xfrm rot="5400000">
            <a:off x="5874227" y="2418045"/>
            <a:ext cx="469583" cy="333229"/>
          </a:xfrm>
          <a:prstGeom prst="triangle">
            <a:avLst/>
          </a:prstGeom>
          <a:solidFill>
            <a:srgbClr val="C8C8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3" name="Gleichschenkliges Dreieck 42"/>
          <p:cNvSpPr/>
          <p:nvPr/>
        </p:nvSpPr>
        <p:spPr bwMode="auto">
          <a:xfrm rot="5400000">
            <a:off x="8749863" y="1949922"/>
            <a:ext cx="469108" cy="333229"/>
          </a:xfrm>
          <a:prstGeom prst="triangle">
            <a:avLst/>
          </a:prstGeom>
          <a:solidFill>
            <a:srgbClr val="B9B9A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cxnSp>
        <p:nvCxnSpPr>
          <p:cNvPr id="18" name="Gerade Verbindung mit Pfeil 17"/>
          <p:cNvCxnSpPr>
            <a:stCxn id="31" idx="0"/>
          </p:cNvCxnSpPr>
          <p:nvPr/>
        </p:nvCxnSpPr>
        <p:spPr bwMode="auto">
          <a:xfrm flipV="1">
            <a:off x="185518" y="3754392"/>
            <a:ext cx="11517311" cy="13046"/>
          </a:xfrm>
          <a:prstGeom prst="straightConnector1">
            <a:avLst/>
          </a:prstGeom>
          <a:solidFill>
            <a:schemeClr val="tx2"/>
          </a:solidFill>
          <a:ln w="19050" cap="flat" cmpd="sng" algn="ctr">
            <a:solidFill>
              <a:schemeClr val="bg1"/>
            </a:solidFill>
            <a:prstDash val="solid"/>
            <a:round/>
            <a:headEnd type="none" w="med" len="med"/>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Rechteck 48"/>
          <p:cNvSpPr/>
          <p:nvPr/>
        </p:nvSpPr>
        <p:spPr>
          <a:xfrm>
            <a:off x="8915247" y="1412876"/>
            <a:ext cx="977618" cy="368869"/>
          </a:xfrm>
          <a:prstGeom prst="rect">
            <a:avLst/>
          </a:prstGeom>
        </p:spPr>
        <p:txBody>
          <a:bodyPr wrap="none">
            <a:spAutoFit/>
          </a:bodyPr>
          <a:lstStyle/>
          <a:p>
            <a:r>
              <a:rPr lang="zh-CN" altLang="en-US" sz="1600" b="1" kern="0" dirty="0" smtClean="0">
                <a:solidFill>
                  <a:schemeClr val="bg1"/>
                </a:solidFill>
                <a:latin typeface="+mn-lt"/>
                <a:ea typeface="+mn-ea"/>
              </a:rPr>
              <a:t>工业</a:t>
            </a:r>
            <a:r>
              <a:rPr lang="en-US" altLang="zh-CN" sz="1600" b="1" kern="0" dirty="0" smtClean="0">
                <a:solidFill>
                  <a:schemeClr val="bg1"/>
                </a:solidFill>
                <a:latin typeface="+mn-lt"/>
                <a:ea typeface="+mn-ea"/>
              </a:rPr>
              <a:t>4.0</a:t>
            </a:r>
            <a:r>
              <a:rPr lang="en-US" sz="1600" b="1" kern="0" dirty="0" smtClean="0">
                <a:solidFill>
                  <a:schemeClr val="bg1"/>
                </a:solidFill>
                <a:latin typeface="+mn-lt"/>
                <a:ea typeface="+mn-ea"/>
              </a:rPr>
              <a:t> </a:t>
            </a:r>
            <a:endParaRPr lang="en-US" sz="1100" dirty="0">
              <a:solidFill>
                <a:schemeClr val="bg1"/>
              </a:solidFill>
              <a:latin typeface="+mn-lt"/>
              <a:ea typeface="+mn-ea"/>
            </a:endParaRPr>
          </a:p>
        </p:txBody>
      </p:sp>
      <p:pic>
        <p:nvPicPr>
          <p:cNvPr id="34" name="Picture 3" descr="C:\Users\z003beja\Desktop\Bild1.png"/>
          <p:cNvPicPr>
            <a:picLocks noChangeAspect="1" noChangeArrowheads="1"/>
          </p:cNvPicPr>
          <p:nvPr/>
        </p:nvPicPr>
        <p:blipFill>
          <a:blip r:embed="rId8"/>
          <a:srcRect/>
          <a:stretch>
            <a:fillRect/>
          </a:stretch>
        </p:blipFill>
        <p:spPr bwMode="auto">
          <a:xfrm>
            <a:off x="7980339" y="4357887"/>
            <a:ext cx="2993024" cy="2108227"/>
          </a:xfrm>
          <a:prstGeom prst="rect">
            <a:avLst/>
          </a:prstGeom>
          <a:noFill/>
        </p:spPr>
      </p:pic>
      <p:sp>
        <p:nvSpPr>
          <p:cNvPr id="3" name="TextBox 2"/>
          <p:cNvSpPr txBox="1"/>
          <p:nvPr/>
        </p:nvSpPr>
        <p:spPr>
          <a:xfrm>
            <a:off x="7844857" y="4376374"/>
            <a:ext cx="732548"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大数据分析</a:t>
            </a:r>
            <a:endParaRPr lang="en-US" sz="1100" b="1" dirty="0" smtClean="0">
              <a:solidFill>
                <a:schemeClr val="tx1"/>
              </a:solidFill>
              <a:latin typeface="+mn-lt"/>
              <a:ea typeface="+mn-ea"/>
            </a:endParaRPr>
          </a:p>
        </p:txBody>
      </p:sp>
      <p:sp>
        <p:nvSpPr>
          <p:cNvPr id="38" name="TextBox 37"/>
          <p:cNvSpPr txBox="1"/>
          <p:nvPr/>
        </p:nvSpPr>
        <p:spPr>
          <a:xfrm>
            <a:off x="7467417" y="4854812"/>
            <a:ext cx="586038"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增强现实</a:t>
            </a:r>
            <a:endParaRPr lang="en-US" sz="1100" b="1" dirty="0" smtClean="0">
              <a:solidFill>
                <a:schemeClr val="tx1"/>
              </a:solidFill>
              <a:latin typeface="+mn-lt"/>
              <a:ea typeface="+mn-ea"/>
            </a:endParaRPr>
          </a:p>
        </p:txBody>
      </p:sp>
      <p:sp>
        <p:nvSpPr>
          <p:cNvPr id="39" name="TextBox 38"/>
          <p:cNvSpPr txBox="1"/>
          <p:nvPr/>
        </p:nvSpPr>
        <p:spPr>
          <a:xfrm>
            <a:off x="7382995" y="5416136"/>
            <a:ext cx="586038"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增材制造</a:t>
            </a:r>
            <a:endParaRPr lang="en-US" sz="1100" b="1" dirty="0" smtClean="0">
              <a:solidFill>
                <a:schemeClr val="tx1"/>
              </a:solidFill>
              <a:latin typeface="+mn-lt"/>
              <a:ea typeface="+mn-ea"/>
            </a:endParaRPr>
          </a:p>
        </p:txBody>
      </p:sp>
      <p:sp>
        <p:nvSpPr>
          <p:cNvPr id="40" name="TextBox 39"/>
          <p:cNvSpPr txBox="1"/>
          <p:nvPr/>
        </p:nvSpPr>
        <p:spPr>
          <a:xfrm>
            <a:off x="8053455" y="5923014"/>
            <a:ext cx="439529"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云计算</a:t>
            </a:r>
            <a:endParaRPr lang="en-US" sz="1100" b="1" dirty="0" smtClean="0">
              <a:solidFill>
                <a:schemeClr val="tx1"/>
              </a:solidFill>
              <a:latin typeface="+mn-lt"/>
              <a:ea typeface="+mn-ea"/>
            </a:endParaRPr>
          </a:p>
        </p:txBody>
      </p:sp>
      <p:sp>
        <p:nvSpPr>
          <p:cNvPr id="44" name="TextBox 43"/>
          <p:cNvSpPr txBox="1"/>
          <p:nvPr/>
        </p:nvSpPr>
        <p:spPr>
          <a:xfrm>
            <a:off x="10578560" y="4383292"/>
            <a:ext cx="732548"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智能机器人</a:t>
            </a:r>
            <a:endParaRPr lang="en-US" sz="1100" b="1" dirty="0" smtClean="0">
              <a:solidFill>
                <a:schemeClr val="tx1"/>
              </a:solidFill>
              <a:latin typeface="+mn-lt"/>
              <a:ea typeface="+mn-ea"/>
            </a:endParaRPr>
          </a:p>
        </p:txBody>
      </p:sp>
      <p:sp>
        <p:nvSpPr>
          <p:cNvPr id="50" name="TextBox 49"/>
          <p:cNvSpPr txBox="1"/>
          <p:nvPr/>
        </p:nvSpPr>
        <p:spPr>
          <a:xfrm>
            <a:off x="10873664" y="4875531"/>
            <a:ext cx="293020"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仿真</a:t>
            </a:r>
            <a:endParaRPr lang="en-US" sz="1100" b="1" dirty="0" smtClean="0">
              <a:solidFill>
                <a:schemeClr val="tx1"/>
              </a:solidFill>
              <a:latin typeface="+mn-lt"/>
              <a:ea typeface="+mn-ea"/>
            </a:endParaRPr>
          </a:p>
        </p:txBody>
      </p:sp>
      <p:sp>
        <p:nvSpPr>
          <p:cNvPr id="51" name="TextBox 50"/>
          <p:cNvSpPr txBox="1"/>
          <p:nvPr/>
        </p:nvSpPr>
        <p:spPr>
          <a:xfrm>
            <a:off x="11031947" y="5213257"/>
            <a:ext cx="1033484" cy="405757"/>
          </a:xfrm>
          <a:prstGeom prst="rect">
            <a:avLst/>
          </a:prstGeom>
          <a:noFill/>
        </p:spPr>
        <p:txBody>
          <a:bodyPr wrap="square" lIns="0" tIns="0" rIns="0" bIns="0" rtlCol="0">
            <a:spAutoFit/>
          </a:bodyPr>
          <a:lstStyle/>
          <a:p>
            <a:pPr>
              <a:lnSpc>
                <a:spcPct val="110000"/>
              </a:lnSpc>
              <a:spcBef>
                <a:spcPts val="0"/>
              </a:spcBef>
            </a:pPr>
            <a:r>
              <a:rPr lang="zh-CN" altLang="en-US" sz="1100" b="1" dirty="0" smtClean="0">
                <a:solidFill>
                  <a:schemeClr val="tx1"/>
                </a:solidFill>
                <a:latin typeface="+mn-lt"/>
                <a:ea typeface="+mn-ea"/>
              </a:rPr>
              <a:t>基于软件实现纵向、横向集成</a:t>
            </a:r>
            <a:endParaRPr lang="en-US" sz="1100" b="1" dirty="0" smtClean="0">
              <a:solidFill>
                <a:schemeClr val="tx1"/>
              </a:solidFill>
              <a:latin typeface="+mn-lt"/>
              <a:ea typeface="+mn-ea"/>
            </a:endParaRPr>
          </a:p>
        </p:txBody>
      </p:sp>
      <p:sp>
        <p:nvSpPr>
          <p:cNvPr id="52" name="TextBox 51"/>
          <p:cNvSpPr txBox="1"/>
          <p:nvPr/>
        </p:nvSpPr>
        <p:spPr>
          <a:xfrm>
            <a:off x="10680343" y="6161452"/>
            <a:ext cx="732548" cy="188417"/>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工业互联网</a:t>
            </a:r>
            <a:endParaRPr lang="en-US" sz="1100" b="1" dirty="0" smtClean="0">
              <a:solidFill>
                <a:schemeClr val="tx1"/>
              </a:solidFill>
              <a:latin typeface="+mn-lt"/>
              <a:ea typeface="+mn-ea"/>
            </a:endParaRPr>
          </a:p>
        </p:txBody>
      </p:sp>
      <p:sp>
        <p:nvSpPr>
          <p:cNvPr id="41" name="TextBox 40"/>
          <p:cNvSpPr txBox="1"/>
          <p:nvPr/>
        </p:nvSpPr>
        <p:spPr>
          <a:xfrm>
            <a:off x="9259353" y="6328325"/>
            <a:ext cx="564257" cy="172932"/>
          </a:xfrm>
          <a:prstGeom prst="rect">
            <a:avLst/>
          </a:prstGeom>
          <a:noFill/>
        </p:spPr>
        <p:txBody>
          <a:bodyPr wrap="none" lIns="0" tIns="0" rIns="0" bIns="0" rtlCol="0">
            <a:spAutoFit/>
          </a:bodyPr>
          <a:lstStyle/>
          <a:p>
            <a:pPr>
              <a:lnSpc>
                <a:spcPct val="110000"/>
              </a:lnSpc>
              <a:spcBef>
                <a:spcPts val="0"/>
              </a:spcBef>
            </a:pPr>
            <a:r>
              <a:rPr lang="zh-CN" altLang="en-US" sz="1100" b="1" dirty="0" smtClean="0">
                <a:solidFill>
                  <a:schemeClr val="tx1"/>
                </a:solidFill>
                <a:latin typeface="+mn-lt"/>
                <a:ea typeface="+mn-ea"/>
              </a:rPr>
              <a:t>工业安全</a:t>
            </a:r>
            <a:endParaRPr lang="en-US" sz="1100" b="1" dirty="0" smtClean="0">
              <a:solidFill>
                <a:schemeClr val="tx1"/>
              </a:solidFill>
              <a:latin typeface="+mn-lt"/>
              <a:ea typeface="+mn-ea"/>
            </a:endParaRPr>
          </a:p>
        </p:txBody>
      </p:sp>
    </p:spTree>
    <p:custDataLst>
      <p:tags r:id="rId2"/>
    </p:custDataLst>
    <p:extLst>
      <p:ext uri="{BB962C8B-B14F-4D97-AF65-F5344CB8AC3E}">
        <p14:creationId xmlns:p14="http://schemas.microsoft.com/office/powerpoint/2010/main" val="245232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支</a:t>
            </a:r>
            <a:r>
              <a:rPr lang="zh-CN" altLang="en-US" dirty="0"/>
              <a:t>持关键技术的独特能力</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491" y="1700784"/>
            <a:ext cx="10439400" cy="441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5593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NAVBARONTHISSLIDE" val="True"/>
  <p:tag name="CDT_OLDSLIDEHIDDEN" val="False"/>
  <p:tag name="CDT_OLDSLIDEINDEX" val="13"/>
  <p:tag name="CDT_DESIGNS_NAME" val="Siemens 2013 – 16:9"/>
  <p:tag name="CDT_MASTERS_NAME" val="Free Content + Navigation"/>
  <p:tag name="CDT_LAYOUT_TYPE" val="32"/>
  <p:tag name="CDT_INTERSECT_SLIDE"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RyKtC0MiEqLXOEeySPa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MElrNADtE.l.rVe1a2f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dk4WH9.ikyK.RI76xjk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MElrNADtE.l.rVe1a2f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dk4WH9.ikyK.RI76xjkuw"/>
</p:tagLst>
</file>

<file path=ppt/tags/tag1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2"/>
  <p:tag name="CDT_NAVBARONTHISSLIDE" val="True"/>
  <p:tag name="CDT_INTERSECT_SLIDE" val="Fals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0"/>
  <p:tag name="CDT_DESIGNS_NAME" val="Siemens 2013 – 16:9"/>
  <p:tag name="CDT_MASTERS_NAME" val="Free Content"/>
  <p:tag name="CDT_LAYOUT_TYPE" val="11"/>
  <p:tag name="CDT_INTERSECT_SLIDE" val="False"/>
  <p:tag name="CDT_NAVBARONTHISSLIDE"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bW8LHXx8_kq43BnqE1G1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H64h915_ECElQfbJqbt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Tgu4wXfFEKLpNxsDq6p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t0SV4pMM0Srpv2N3Ggv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mgENVnkvkmSrekJaPzQ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78Q9hlgIUmlVsbAhlf4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gsWtKEyiUyItJefflTk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gsWtKEyiUyItJefflTk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vuVaQ8miEWX7GIORRgu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vuVaQ8miEWX7GIORRgu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vuVaQ8miEWX7GIORRguT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vuVaQ8miEWX7GIORRguTA"/>
</p:tagLst>
</file>

<file path=ppt/tags/tag4.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False"/>
  <p:tag name="CDT_AUTODIALOG" val="2"/>
  <p:tag name="CDT_TARGETSHAPE_NEW" val="14"/>
  <p:tag name="CDT_PROT" val="3"/>
  <p:tag name="CDT_PROT_TOP" val="0"/>
  <p:tag name="CDT_PROT_LEFT" val="0"/>
  <p:tag name="CDT_PROT_WIDTH" val="720"/>
  <p:tag name="CDT_PROT_HEIGHT" val="406,08"/>
</p:tagLst>
</file>

<file path=ppt/tags/tag4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
  <p:tag name="CDT_TITLE2" val=""/>
  <p:tag name="CDT_TITLE3" val=""/>
  <p:tag name="CDT_DESIGNS_NAME" val="Siemens 2013 – 4:3"/>
  <p:tag name="CDT_MASTERS_NAME" val="Free Content"/>
  <p:tag name="CDT_LAYOUT_TYPE" val="11"/>
  <p:tag name="CDT_INTERSECT_SLIDE" val="False"/>
  <p:tag name="CDT_NAVBARONTHISSLIDE" val="True"/>
</p:tagLst>
</file>

<file path=ppt/tags/tag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 Navigation"/>
  <p:tag name="CDT_LAYOUT_TYPE" val="32"/>
  <p:tag name="CDT_OLDSLIDEHIDDEN" val="False"/>
  <p:tag name="CDT_OLDSLIDEINDEX" val="2"/>
  <p:tag name="CDT_INTERSECT_SLIDE" val="False"/>
  <p:tag name="CDT_NAVBARONTHISSLIDE"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RyKtC0MiEqLXOEeySPa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RyKtC0MiEqLXOEeySPa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RyKtC0MiEqLXOEeySPa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RyKtC0MiEqLXOEeySPaoA"/>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sp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ADBECB"/>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themeOverride>
</file>

<file path=docProps/app.xml><?xml version="1.0" encoding="utf-8"?>
<Properties xmlns="http://schemas.openxmlformats.org/officeDocument/2006/extended-properties" xmlns:vt="http://schemas.openxmlformats.org/officeDocument/2006/docPropsVTypes">
  <Template>SIM_PPT_2007_16x9_ENG_V1.pptx</Template>
  <TotalTime>17217</TotalTime>
  <Words>3116</Words>
  <Application>Microsoft Office PowerPoint</Application>
  <PresentationFormat>Custom</PresentationFormat>
  <Paragraphs>331</Paragraphs>
  <Slides>18</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Siemens 2013 – 16:9</vt:lpstr>
      <vt:lpstr>think-cell Slide</vt:lpstr>
      <vt:lpstr>  Siemens PLM Software </vt:lpstr>
      <vt:lpstr>西门子业务集团架构 扁平的、市场驱动的组织架构</vt:lpstr>
      <vt:lpstr> 西门子数字化工厂集团简介</vt:lpstr>
      <vt:lpstr>Siemens PLM Software 在全球</vt:lpstr>
      <vt:lpstr>互联网正在造就商业变革，并向制造业提出了新的挑战------用户参与的个性化定制</vt:lpstr>
      <vt:lpstr>西门子在全球范围内积极推动工业4.0愿景共识</vt:lpstr>
      <vt:lpstr>西门子与中国合作伙携手推进工业4.0</vt:lpstr>
      <vt:lpstr>工业4.0是智能制造的时代</vt:lpstr>
      <vt:lpstr>支持关键技术的独特能力</vt:lpstr>
      <vt:lpstr>通往工业4.0之路</vt:lpstr>
      <vt:lpstr>西门子数字化企业平台引领企业智能制造转型 唯一一家有能力一站式提供智能制造核心技术</vt:lpstr>
      <vt:lpstr>纵向集成（离散制造业部分）</vt:lpstr>
      <vt:lpstr>PLM/ERP/MES集成</vt:lpstr>
      <vt:lpstr>西门子数字化企业软件涵盖产品开发及生产全过程的整体性理念 </vt:lpstr>
      <vt:lpstr>虚拟世界与实体世界无缝映射是智能制造的核心理念</vt:lpstr>
      <vt:lpstr>虚拟生产的价值</vt:lpstr>
      <vt:lpstr>PowerPoint Presentation</vt:lpstr>
      <vt:lpstr>谢谢！  </vt:lpstr>
    </vt:vector>
  </TitlesOfParts>
  <Company>Siemens AG</Company>
  <LinksUpToDate>false</LinksUpToDate>
  <SharedDoc>false</SharedDoc>
  <HyperlinkBase>www.siemens.com</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Corporate Design PowerPoint-Templates</dc:title>
  <dc:creator>Denny Welle</dc:creator>
  <cp:lastModifiedBy>Jian, Jackie</cp:lastModifiedBy>
  <cp:revision>265</cp:revision>
  <cp:lastPrinted>2012-10-29T09:59:01Z</cp:lastPrinted>
  <dcterms:created xsi:type="dcterms:W3CDTF">2006-04-07T10:01:45Z</dcterms:created>
  <dcterms:modified xsi:type="dcterms:W3CDTF">2017-03-14T03:29:25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January 2013</vt:lpwstr>
  </property>
  <property fmtid="{D5CDD505-2E9C-101B-9397-08002B2CF9AE}" pid="4" name="Office version">
    <vt:lpwstr>2007/2010</vt:lpwstr>
  </property>
  <property fmtid="{D5CDD505-2E9C-101B-9397-08002B2CF9AE}" pid="5" name="Release version">
    <vt:lpwstr>1,0</vt:lpwstr>
  </property>
</Properties>
</file>